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Default Extension="emf" ContentType="image/x-emf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6" r:id="rId2"/>
    <p:sldId id="314" r:id="rId3"/>
    <p:sldId id="332" r:id="rId4"/>
    <p:sldId id="333" r:id="rId5"/>
    <p:sldId id="303" r:id="rId6"/>
    <p:sldId id="294" r:id="rId7"/>
    <p:sldId id="301" r:id="rId8"/>
    <p:sldId id="299" r:id="rId9"/>
    <p:sldId id="296" r:id="rId10"/>
    <p:sldId id="322" r:id="rId11"/>
    <p:sldId id="323" r:id="rId12"/>
    <p:sldId id="324" r:id="rId13"/>
    <p:sldId id="325" r:id="rId14"/>
    <p:sldId id="326" r:id="rId15"/>
    <p:sldId id="327" r:id="rId16"/>
    <p:sldId id="328" r:id="rId17"/>
    <p:sldId id="329" r:id="rId18"/>
    <p:sldId id="330" r:id="rId19"/>
    <p:sldId id="331" r:id="rId20"/>
    <p:sldId id="300" r:id="rId21"/>
  </p:sldIdLst>
  <p:sldSz cx="9144000" cy="6858000" type="screen4x3"/>
  <p:notesSz cx="6794500" cy="99314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/>
        <a:cs typeface="Arial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Arial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Arial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Arial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ＭＳ Ｐゴシック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99"/>
    <a:srgbClr val="7F7F7F"/>
    <a:srgbClr val="FFA030"/>
    <a:srgbClr val="DDDDDD"/>
    <a:srgbClr val="B2B2B2"/>
    <a:srgbClr val="FF0000"/>
    <a:srgbClr val="00B0F0"/>
    <a:srgbClr val="00B0FF"/>
    <a:srgbClr val="1C3E80"/>
    <a:srgbClr val="041A7D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20334" autoAdjust="0"/>
    <p:restoredTop sz="93993" autoAdjust="0"/>
  </p:normalViewPr>
  <p:slideViewPr>
    <p:cSldViewPr>
      <p:cViewPr>
        <p:scale>
          <a:sx n="90" d="100"/>
          <a:sy n="90" d="100"/>
        </p:scale>
        <p:origin x="-1378" y="-62"/>
      </p:cViewPr>
      <p:guideLst>
        <p:guide orient="horz" pos="754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024" cy="497126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7891" y="1"/>
            <a:ext cx="2945024" cy="497126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3D8869F2-6F30-4557-983A-408771A70364}" type="datetimeFigureOut">
              <a:rPr lang="sv-SE" smtClean="0"/>
              <a:pPr/>
              <a:t>2009-10-12</a:t>
            </a:fld>
            <a:endParaRPr lang="sv-S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2688"/>
            <a:ext cx="2945024" cy="49712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7891" y="9432688"/>
            <a:ext cx="2945024" cy="49712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E195EDB7-1EF4-4AE8-BA88-19A3ECCD3411}" type="slidenum">
              <a:rPr lang="sv-SE" smtClean="0"/>
              <a:pPr/>
              <a:t>‹#›</a:t>
            </a:fld>
            <a:endParaRPr lang="sv-S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5024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cs typeface="ＭＳ Ｐゴシック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477" y="1"/>
            <a:ext cx="2945024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cs typeface="ＭＳ Ｐゴシック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4400" y="744538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040" y="4717137"/>
            <a:ext cx="4982422" cy="4469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1" tIns="45710" rIns="91421" bIns="457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4274"/>
            <a:ext cx="2945024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1" tIns="45710" rIns="91421" bIns="4571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>
                <a:cs typeface="ＭＳ Ｐゴシック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477" y="9434274"/>
            <a:ext cx="2945024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1" tIns="45710" rIns="91421" bIns="4571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cs typeface="ＭＳ Ｐゴシック"/>
              </a:defRPr>
            </a:lvl1pPr>
          </a:lstStyle>
          <a:p>
            <a:pPr>
              <a:defRPr/>
            </a:pPr>
            <a:fld id="{0F14D2A8-989D-4402-B336-EE803223DF5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ＭＳ Ｐゴシック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ＭＳ Ｐゴシック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ＭＳ Ｐゴシック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ＭＳ Ｐゴシック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pitchFamily="34" charset="-128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CBC461C-30F0-49D6-9297-F34FD2286DE7}" type="slidenum">
              <a:rPr lang="de-DE" smtClean="0"/>
              <a:pPr/>
              <a:t>1</a:t>
            </a:fld>
            <a:endParaRPr lang="de-DE" smtClean="0"/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4400" y="744538"/>
            <a:ext cx="4965700" cy="3724275"/>
          </a:xfrm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charset="0"/>
              <a:ea typeface="ＭＳ Ｐゴシック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744538"/>
            <a:ext cx="4965700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6BC5AEB-AA45-4AD5-BD79-6F3905AC35B1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14D2A8-989D-4402-B336-EE803223DF58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14D2A8-989D-4402-B336-EE803223DF58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14D2A8-989D-4402-B336-EE803223DF58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14D2A8-989D-4402-B336-EE803223DF58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14D2A8-989D-4402-B336-EE803223DF58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14D2A8-989D-4402-B336-EE803223DF58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744538"/>
            <a:ext cx="4965700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14D2A8-989D-4402-B336-EE803223DF58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744538"/>
            <a:ext cx="4965700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14D2A8-989D-4402-B336-EE803223DF58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744538"/>
            <a:ext cx="4965700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14D2A8-989D-4402-B336-EE803223DF58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de-DE" smtClean="0">
              <a:ea typeface="ＭＳ Ｐゴシック"/>
              <a:cs typeface="ＭＳ Ｐゴシック"/>
            </a:endParaRPr>
          </a:p>
          <a:p>
            <a:endParaRPr lang="de-DE" smtClean="0"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1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744538"/>
            <a:ext cx="4965700" cy="3724275"/>
          </a:xfrm>
          <a:ln/>
        </p:spPr>
      </p:sp>
      <p:sp>
        <p:nvSpPr>
          <p:cNvPr id="4608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sv-SE" smtClean="0">
              <a:latin typeface="Arial" charset="0"/>
              <a:ea typeface="ＭＳ Ｐゴシック"/>
            </a:endParaRPr>
          </a:p>
        </p:txBody>
      </p:sp>
      <p:sp>
        <p:nvSpPr>
          <p:cNvPr id="4608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F3C5725-3961-4A88-B2F9-9686300FD835}" type="slidenum">
              <a:rPr lang="de-DE" smtClean="0"/>
              <a:pPr/>
              <a:t>20</a:t>
            </a:fld>
            <a:endParaRPr lang="de-DE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F701533-5A3C-48A2-A38D-DDD8DA9EA39E}" type="slidenum">
              <a:rPr lang="de-DE" smtClean="0"/>
              <a:pPr>
                <a:defRPr/>
              </a:pPr>
              <a:t>3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F701533-5A3C-48A2-A38D-DDD8DA9EA39E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744538"/>
            <a:ext cx="4965700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F14D2A8-989D-4402-B336-EE803223DF58}" type="slidenum">
              <a:rPr lang="de-DE" smtClean="0"/>
              <a:pPr>
                <a:defRPr/>
              </a:pPr>
              <a:t>5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744538"/>
            <a:ext cx="4965700" cy="3724275"/>
          </a:xfrm>
          <a:ln/>
        </p:spPr>
      </p:sp>
      <p:sp>
        <p:nvSpPr>
          <p:cNvPr id="2253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sv-SE" smtClean="0">
              <a:latin typeface="Arial" charset="0"/>
              <a:ea typeface="ＭＳ Ｐゴシック"/>
            </a:endParaRPr>
          </a:p>
        </p:txBody>
      </p:sp>
      <p:sp>
        <p:nvSpPr>
          <p:cNvPr id="2253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E2D0C74-E0BE-4292-8349-DECF7BC0C629}" type="slidenum">
              <a:rPr lang="de-DE" smtClean="0"/>
              <a:pPr/>
              <a:t>6</a:t>
            </a:fld>
            <a:endParaRPr lang="de-DE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744538"/>
            <a:ext cx="4965700" cy="3724275"/>
          </a:xfrm>
          <a:ln/>
        </p:spPr>
      </p:sp>
      <p:sp>
        <p:nvSpPr>
          <p:cNvPr id="3481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sv-SE" smtClean="0">
              <a:latin typeface="Arial" charset="0"/>
              <a:ea typeface="ＭＳ Ｐゴシック"/>
            </a:endParaRPr>
          </a:p>
        </p:txBody>
      </p:sp>
      <p:sp>
        <p:nvSpPr>
          <p:cNvPr id="3481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6B06088-1A4C-41BB-BBE7-D3DF5D278AA7}" type="slidenum">
              <a:rPr lang="de-DE" smtClean="0"/>
              <a:pPr/>
              <a:t>7</a:t>
            </a:fld>
            <a:endParaRPr lang="de-DE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4400" y="744538"/>
            <a:ext cx="4965700" cy="3724275"/>
          </a:xfrm>
          <a:ln/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charset="0"/>
              <a:ea typeface="ＭＳ Ｐゴシック"/>
            </a:endParaRPr>
          </a:p>
        </p:txBody>
      </p:sp>
      <p:sp>
        <p:nvSpPr>
          <p:cNvPr id="24579" name="Footer Placeholder 3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de-DE" smtClean="0"/>
              <a:t>/21</a:t>
            </a:r>
          </a:p>
        </p:txBody>
      </p:sp>
      <p:sp>
        <p:nvSpPr>
          <p:cNvPr id="24580" name="Slide Number Placeholder 4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A7AE08B-6ECB-4CA5-B212-C5B9C8642246}" type="slidenum">
              <a:rPr lang="de-DE" smtClean="0"/>
              <a:pPr/>
              <a:t>8</a:t>
            </a:fld>
            <a:endParaRPr lang="de-DE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4400" y="744538"/>
            <a:ext cx="4965700" cy="3724275"/>
          </a:xfrm>
          <a:ln/>
        </p:spPr>
      </p:sp>
      <p:sp>
        <p:nvSpPr>
          <p:cNvPr id="28674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sv-SE" smtClean="0">
              <a:latin typeface="Arial" charset="0"/>
              <a:ea typeface="ＭＳ Ｐゴシック"/>
            </a:endParaRPr>
          </a:p>
        </p:txBody>
      </p:sp>
      <p:sp>
        <p:nvSpPr>
          <p:cNvPr id="2867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653C310-B4F0-41AF-B7A9-9DA70348855C}" type="slidenum">
              <a:rPr lang="de-DE" smtClean="0"/>
              <a:pPr/>
              <a:t>9</a:t>
            </a:fld>
            <a:endParaRPr 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0.07.07 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WPD Präsentationsmaste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7A65F-66A9-4A94-877F-CDD90C7EF8C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0.07.07 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WPD Präsentationsmaste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CBD0A0-8B02-4C70-B5D9-CBFEDCD84EB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85800"/>
            <a:ext cx="1943100" cy="54102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5676900" cy="54102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0.07.07 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WPD Präsentationsmaste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3EA0CA-256C-4302-B224-F256155C2AA8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5800" y="685800"/>
            <a:ext cx="5638800" cy="685800"/>
          </a:xfrm>
        </p:spPr>
        <p:txBody>
          <a:bodyPr/>
          <a:lstStyle/>
          <a:p>
            <a:r>
              <a:rPr lang="en-US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0.07.07 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WPD Präsentationsmaste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3A1A4E-60D1-4726-A231-4A1400F4320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WPD Präsentationsmaster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1CF381-448F-45BC-9D16-69254CF0395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0.07.07 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WPD Präsentationsmaste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E4FE37-E7DB-4B06-B090-A3E72C875BC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WPD Präsentationsmaster</a:t>
            </a: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C54E58-A0D4-4634-BA97-661825BA2AB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0.07.07 </a:t>
            </a: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WPD Präsentationsmaster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2BC4EB-538C-4A2C-BF9B-BADF37713CE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0.07.07 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WPD Präsentationsmaster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FEB5D2-4C2D-49C6-A787-A69D47117CD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0.07.07 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WPD Präsentationsmaster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939677-0692-45F4-B8B7-CBF5CFF0274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0.07.07 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WPD Präsentationsmaster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4B5E82-0B40-4F7A-91EB-3A86C7C4E35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10.07.07 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WPD Präsentationsmaster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EA86D9-21E4-4FFC-8FBE-6C0539CC575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85800"/>
            <a:ext cx="56388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br>
              <a:rPr lang="de-DE" smtClean="0"/>
            </a:br>
            <a:r>
              <a:rPr lang="de-DE" smtClean="0"/>
              <a:t>zweizeilig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de-DE"/>
              <a:t>10.07.07 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0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de-DE"/>
              <a:t>WPD Präsentationsmaster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000">
                <a:solidFill>
                  <a:schemeClr val="bg2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CB517D8C-482C-4EF3-9A8C-C1618EAC5D2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031" name="Rectangle 7"/>
          <p:cNvSpPr>
            <a:spLocks noChangeArrowheads="1"/>
          </p:cNvSpPr>
          <p:nvPr userDrawn="1"/>
        </p:nvSpPr>
        <p:spPr bwMode="auto">
          <a:xfrm>
            <a:off x="8702675" y="3370263"/>
            <a:ext cx="1841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>
              <a:defRPr/>
            </a:pPr>
            <a:endParaRPr lang="en-US"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61" r:id="rId2"/>
    <p:sldLayoutId id="2147483652" r:id="rId3"/>
    <p:sldLayoutId id="214748366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sldNum="0"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bg2"/>
          </a:solidFill>
          <a:latin typeface="+mj-lt"/>
          <a:ea typeface="+mj-ea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pitchFamily="34" charset="0"/>
          <a:ea typeface="ＭＳ Ｐゴシック" pitchFamily="34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pitchFamily="34" charset="0"/>
          <a:ea typeface="ＭＳ Ｐゴシック" pitchFamily="34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pitchFamily="34" charset="0"/>
          <a:ea typeface="ＭＳ Ｐゴシック" pitchFamily="34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pitchFamily="34" charset="0"/>
          <a:ea typeface="ＭＳ Ｐゴシック" pitchFamily="34" charset="-128"/>
          <a:cs typeface="ＭＳ Ｐゴシック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pitchFamily="34" charset="0"/>
          <a:ea typeface="ＭＳ Ｐゴシック" pitchFamily="34" charset="-128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pitchFamily="34" charset="0"/>
          <a:ea typeface="ＭＳ Ｐゴシック" pitchFamily="34" charset="-128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pitchFamily="34" charset="0"/>
          <a:ea typeface="ＭＳ Ｐゴシック" pitchFamily="34" charset="-128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bg2"/>
          </a:solidFill>
          <a:latin typeface="Arial" pitchFamily="34" charset="0"/>
          <a:ea typeface="ＭＳ Ｐゴシック" pitchFamily="34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ＭＳ Ｐゴシック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+mn-ea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+mn-ea"/>
          <a:cs typeface="ＭＳ Ｐゴシック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10" Type="http://schemas.openxmlformats.org/officeDocument/2006/relationships/image" Target="../media/image67.png"/><Relationship Id="rId4" Type="http://schemas.openxmlformats.org/officeDocument/2006/relationships/image" Target="../media/image61.png"/><Relationship Id="rId9" Type="http://schemas.openxmlformats.org/officeDocument/2006/relationships/image" Target="../media/image6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0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mailto:a.berge@wpd.de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www.wpd.de/" TargetMode="External"/><Relationship Id="rId4" Type="http://schemas.openxmlformats.org/officeDocument/2006/relationships/hyperlink" Target="mailto:m.lehnhoff@wpd.de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6.png"/><Relationship Id="rId18" Type="http://schemas.openxmlformats.org/officeDocument/2006/relationships/image" Target="../media/image11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5.png"/><Relationship Id="rId17" Type="http://schemas.openxmlformats.org/officeDocument/2006/relationships/image" Target="../media/image10.png"/><Relationship Id="rId2" Type="http://schemas.openxmlformats.org/officeDocument/2006/relationships/tags" Target="../tags/tag2.xml"/><Relationship Id="rId16" Type="http://schemas.openxmlformats.org/officeDocument/2006/relationships/image" Target="../media/image9.emf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4.png"/><Relationship Id="rId5" Type="http://schemas.openxmlformats.org/officeDocument/2006/relationships/tags" Target="../tags/tag5.xml"/><Relationship Id="rId15" Type="http://schemas.openxmlformats.org/officeDocument/2006/relationships/image" Target="../media/image8.png"/><Relationship Id="rId10" Type="http://schemas.openxmlformats.org/officeDocument/2006/relationships/notesSlide" Target="../notesSlides/notesSlide3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13" Type="http://schemas.openxmlformats.org/officeDocument/2006/relationships/image" Target="../media/image16.png"/><Relationship Id="rId3" Type="http://schemas.openxmlformats.org/officeDocument/2006/relationships/tags" Target="../tags/tag11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15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image" Target="../media/image14.emf"/><Relationship Id="rId5" Type="http://schemas.openxmlformats.org/officeDocument/2006/relationships/tags" Target="../tags/tag13.xml"/><Relationship Id="rId10" Type="http://schemas.openxmlformats.org/officeDocument/2006/relationships/image" Target="../media/image13.emf"/><Relationship Id="rId4" Type="http://schemas.openxmlformats.org/officeDocument/2006/relationships/tags" Target="../tags/tag12.xml"/><Relationship Id="rId9" Type="http://schemas.openxmlformats.org/officeDocument/2006/relationships/image" Target="../media/image12.jpeg"/><Relationship Id="rId1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13" Type="http://schemas.openxmlformats.org/officeDocument/2006/relationships/image" Target="../media/image30.emf"/><Relationship Id="rId18" Type="http://schemas.openxmlformats.org/officeDocument/2006/relationships/image" Target="../media/image35.emf"/><Relationship Id="rId26" Type="http://schemas.openxmlformats.org/officeDocument/2006/relationships/image" Target="../media/image43.png"/><Relationship Id="rId3" Type="http://schemas.openxmlformats.org/officeDocument/2006/relationships/image" Target="../media/image20.png"/><Relationship Id="rId21" Type="http://schemas.openxmlformats.org/officeDocument/2006/relationships/image" Target="../media/image38.emf"/><Relationship Id="rId34" Type="http://schemas.openxmlformats.org/officeDocument/2006/relationships/image" Target="../media/image51.emf"/><Relationship Id="rId7" Type="http://schemas.openxmlformats.org/officeDocument/2006/relationships/image" Target="../media/image24.png"/><Relationship Id="rId12" Type="http://schemas.openxmlformats.org/officeDocument/2006/relationships/image" Target="../media/image29.emf"/><Relationship Id="rId17" Type="http://schemas.openxmlformats.org/officeDocument/2006/relationships/image" Target="../media/image34.emf"/><Relationship Id="rId25" Type="http://schemas.openxmlformats.org/officeDocument/2006/relationships/image" Target="../media/image42.png"/><Relationship Id="rId33" Type="http://schemas.openxmlformats.org/officeDocument/2006/relationships/image" Target="../media/image50.emf"/><Relationship Id="rId38" Type="http://schemas.openxmlformats.org/officeDocument/2006/relationships/image" Target="../media/image55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3.emf"/><Relationship Id="rId20" Type="http://schemas.openxmlformats.org/officeDocument/2006/relationships/image" Target="../media/image37.emf"/><Relationship Id="rId29" Type="http://schemas.openxmlformats.org/officeDocument/2006/relationships/image" Target="../media/image46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28.emf"/><Relationship Id="rId24" Type="http://schemas.openxmlformats.org/officeDocument/2006/relationships/image" Target="../media/image41.png"/><Relationship Id="rId32" Type="http://schemas.openxmlformats.org/officeDocument/2006/relationships/image" Target="../media/image49.emf"/><Relationship Id="rId37" Type="http://schemas.openxmlformats.org/officeDocument/2006/relationships/image" Target="../media/image54.emf"/><Relationship Id="rId5" Type="http://schemas.openxmlformats.org/officeDocument/2006/relationships/image" Target="../media/image22.png"/><Relationship Id="rId15" Type="http://schemas.openxmlformats.org/officeDocument/2006/relationships/image" Target="../media/image32.emf"/><Relationship Id="rId23" Type="http://schemas.openxmlformats.org/officeDocument/2006/relationships/image" Target="../media/image40.emf"/><Relationship Id="rId28" Type="http://schemas.openxmlformats.org/officeDocument/2006/relationships/image" Target="../media/image45.emf"/><Relationship Id="rId36" Type="http://schemas.openxmlformats.org/officeDocument/2006/relationships/image" Target="../media/image53.emf"/><Relationship Id="rId10" Type="http://schemas.openxmlformats.org/officeDocument/2006/relationships/image" Target="../media/image27.emf"/><Relationship Id="rId19" Type="http://schemas.openxmlformats.org/officeDocument/2006/relationships/image" Target="../media/image36.emf"/><Relationship Id="rId31" Type="http://schemas.openxmlformats.org/officeDocument/2006/relationships/image" Target="../media/image48.emf"/><Relationship Id="rId4" Type="http://schemas.openxmlformats.org/officeDocument/2006/relationships/image" Target="../media/image21.png"/><Relationship Id="rId9" Type="http://schemas.openxmlformats.org/officeDocument/2006/relationships/image" Target="../media/image26.emf"/><Relationship Id="rId14" Type="http://schemas.openxmlformats.org/officeDocument/2006/relationships/image" Target="../media/image31.emf"/><Relationship Id="rId22" Type="http://schemas.openxmlformats.org/officeDocument/2006/relationships/image" Target="../media/image39.emf"/><Relationship Id="rId27" Type="http://schemas.openxmlformats.org/officeDocument/2006/relationships/image" Target="../media/image44.png"/><Relationship Id="rId30" Type="http://schemas.openxmlformats.org/officeDocument/2006/relationships/image" Target="../media/image47.emf"/><Relationship Id="rId35" Type="http://schemas.openxmlformats.org/officeDocument/2006/relationships/image" Target="../media/image52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ight Arrow 3"/>
          <p:cNvSpPr>
            <a:spLocks noChangeArrowheads="1"/>
          </p:cNvSpPr>
          <p:nvPr/>
        </p:nvSpPr>
        <p:spPr bwMode="auto">
          <a:xfrm>
            <a:off x="928688" y="5214938"/>
            <a:ext cx="7858125" cy="1143000"/>
          </a:xfrm>
          <a:prstGeom prst="rightArrow">
            <a:avLst>
              <a:gd name="adj1" fmla="val 50000"/>
              <a:gd name="adj2" fmla="val 50003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endParaRPr lang="sv-SE">
              <a:cs typeface="ＭＳ Ｐゴシック"/>
            </a:endParaRPr>
          </a:p>
        </p:txBody>
      </p:sp>
      <p:sp>
        <p:nvSpPr>
          <p:cNvPr id="1536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36625" y="4786313"/>
            <a:ext cx="7772400" cy="3124200"/>
          </a:xfrm>
        </p:spPr>
        <p:txBody>
          <a:bodyPr/>
          <a:lstStyle/>
          <a:p>
            <a:pPr eaLnBrk="1" hangingPunct="1"/>
            <a:r>
              <a:rPr lang="de-DE" sz="2800" b="1" smtClean="0">
                <a:solidFill>
                  <a:srgbClr val="041A7D"/>
                </a:solidFill>
              </a:rPr>
              <a:t/>
            </a:r>
            <a:br>
              <a:rPr lang="de-DE" sz="2800" b="1" smtClean="0">
                <a:solidFill>
                  <a:srgbClr val="041A7D"/>
                </a:solidFill>
              </a:rPr>
            </a:br>
            <a:r>
              <a:rPr lang="de-DE" sz="2800" b="1" smtClean="0">
                <a:solidFill>
                  <a:srgbClr val="041A7D"/>
                </a:solidFill>
              </a:rPr>
              <a:t/>
            </a:r>
            <a:br>
              <a:rPr lang="de-DE" sz="2800" b="1" smtClean="0">
                <a:solidFill>
                  <a:srgbClr val="041A7D"/>
                </a:solidFill>
              </a:rPr>
            </a:br>
            <a:r>
              <a:rPr lang="de-DE" sz="1600" b="1" smtClean="0">
                <a:solidFill>
                  <a:srgbClr val="041A7D"/>
                </a:solidFill>
              </a:rPr>
              <a:t>development – project management – procurement – construction – operation</a:t>
            </a:r>
            <a:r>
              <a:rPr lang="de-DE" sz="1600" smtClean="0"/>
              <a:t/>
            </a:r>
            <a:br>
              <a:rPr lang="de-DE" sz="1600" smtClean="0"/>
            </a:br>
            <a:endParaRPr lang="de-DE" sz="1600" smtClean="0"/>
          </a:p>
        </p:txBody>
      </p:sp>
      <p:pic>
        <p:nvPicPr>
          <p:cNvPr id="15364" name="Picture 2" descr="C:\Users\achber\AppData\Local\Microsoft\Windows\Temporary Internet Files\Content.Outlook\QSY0P6DV\DSCN611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28688" y="1071563"/>
            <a:ext cx="2714625" cy="3617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65" name="TextBox 5"/>
          <p:cNvSpPr txBox="1">
            <a:spLocks noChangeArrowheads="1"/>
          </p:cNvSpPr>
          <p:nvPr/>
        </p:nvSpPr>
        <p:spPr bwMode="auto">
          <a:xfrm>
            <a:off x="928688" y="1071563"/>
            <a:ext cx="113188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sv-SE" sz="1200">
                <a:solidFill>
                  <a:schemeClr val="bg1"/>
                </a:solidFill>
                <a:cs typeface="ＭＳ Ｐゴシック"/>
              </a:rPr>
              <a:t>Installation of </a:t>
            </a:r>
          </a:p>
          <a:p>
            <a:r>
              <a:rPr lang="sv-SE" sz="1200">
                <a:solidFill>
                  <a:schemeClr val="bg1"/>
                </a:solidFill>
                <a:cs typeface="ＭＳ Ｐゴシック"/>
              </a:rPr>
              <a:t>FINO II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357688" y="3059113"/>
            <a:ext cx="3094037" cy="7016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sv-SE" sz="4000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rPr>
              <a:t>wpd offshor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 algn="r">
              <a:defRPr sz="1600">
                <a:solidFill>
                  <a:srgbClr val="003399"/>
                </a:solidFill>
              </a:defRPr>
            </a:lvl1pPr>
          </a:lstStyle>
          <a:p>
            <a:pPr>
              <a:defRPr/>
            </a:pPr>
            <a:r>
              <a:rPr lang="de-DE" sz="1200" dirty="0" smtClean="0"/>
              <a:t>M. Lehnhoff - </a:t>
            </a:r>
            <a:fld id="{9B14A407-9605-4482-A08C-36DA899A9178}" type="slidenum">
              <a:rPr lang="de-DE" sz="1200" smtClean="0"/>
              <a:pPr>
                <a:defRPr/>
              </a:pPr>
              <a:t>10</a:t>
            </a:fld>
            <a:endParaRPr lang="de-DE" sz="1200" dirty="0"/>
          </a:p>
        </p:txBody>
      </p:sp>
      <p:grpSp>
        <p:nvGrpSpPr>
          <p:cNvPr id="2" name="Group 63"/>
          <p:cNvGrpSpPr/>
          <p:nvPr/>
        </p:nvGrpSpPr>
        <p:grpSpPr>
          <a:xfrm>
            <a:off x="521549" y="782000"/>
            <a:ext cx="5048407" cy="1452136"/>
            <a:chOff x="682625" y="2933694"/>
            <a:chExt cx="7759717" cy="2232025"/>
          </a:xfrm>
        </p:grpSpPr>
        <p:sp>
          <p:nvSpPr>
            <p:cNvPr id="46" name="Rectangle 11"/>
            <p:cNvSpPr>
              <a:spLocks noChangeArrowheads="1"/>
            </p:cNvSpPr>
            <p:nvPr/>
          </p:nvSpPr>
          <p:spPr bwMode="auto">
            <a:xfrm>
              <a:off x="682625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sz="1000" b="1" dirty="0">
                  <a:solidFill>
                    <a:schemeClr val="bg1"/>
                  </a:solidFill>
                </a:rPr>
                <a:t>Project</a:t>
              </a:r>
            </a:p>
            <a:p>
              <a:pPr algn="ctr" eaLnBrk="0" hangingPunct="0">
                <a:defRPr/>
              </a:pPr>
              <a:r>
                <a:rPr lang="de-DE" sz="1000" b="1" dirty="0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47" name="Rectangle 12"/>
            <p:cNvSpPr>
              <a:spLocks noChangeArrowheads="1"/>
            </p:cNvSpPr>
            <p:nvPr/>
          </p:nvSpPr>
          <p:spPr bwMode="auto">
            <a:xfrm>
              <a:off x="2266950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IRPP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auto">
            <a:xfrm>
              <a:off x="3854450" y="3292469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</a:rPr>
                <a:t>Service</a:t>
              </a:r>
              <a:endParaRPr lang="de-DE" sz="1000" b="1" dirty="0">
                <a:solidFill>
                  <a:schemeClr val="bg1"/>
                </a:solidFill>
              </a:endParaRPr>
            </a:p>
          </p:txBody>
        </p:sp>
        <p:cxnSp>
          <p:nvCxnSpPr>
            <p:cNvPr id="50" name="AutoShape 17"/>
            <p:cNvCxnSpPr>
              <a:cxnSpLocks noChangeShapeType="1"/>
              <a:endCxn id="46" idx="0"/>
            </p:cNvCxnSpPr>
            <p:nvPr/>
          </p:nvCxnSpPr>
          <p:spPr bwMode="auto">
            <a:xfrm rot="5400000">
              <a:off x="2808287" y="1528757"/>
              <a:ext cx="358775" cy="3168650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1" name="AutoShape 18"/>
            <p:cNvCxnSpPr>
              <a:cxnSpLocks noChangeShapeType="1"/>
              <a:stCxn id="47" idx="0"/>
            </p:cNvCxnSpPr>
            <p:nvPr/>
          </p:nvCxnSpPr>
          <p:spPr bwMode="auto">
            <a:xfrm rot="16200000">
              <a:off x="3600450" y="2320919"/>
              <a:ext cx="358775" cy="1584325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2" name="AutoShape 22"/>
            <p:cNvCxnSpPr>
              <a:cxnSpLocks noChangeShapeType="1"/>
              <a:endCxn id="48" idx="0"/>
            </p:cNvCxnSpPr>
            <p:nvPr/>
          </p:nvCxnSpPr>
          <p:spPr bwMode="auto">
            <a:xfrm rot="16200000" flipH="1">
              <a:off x="4394200" y="3111494"/>
              <a:ext cx="358775" cy="3175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53" name="Rectangle 12"/>
            <p:cNvSpPr>
              <a:spLocks noChangeArrowheads="1"/>
            </p:cNvSpPr>
            <p:nvPr/>
          </p:nvSpPr>
          <p:spPr bwMode="auto">
            <a:xfrm>
              <a:off x="701658" y="4444994"/>
              <a:ext cx="1441450" cy="720725"/>
            </a:xfrm>
            <a:prstGeom prst="rect">
              <a:avLst/>
            </a:prstGeom>
            <a:solidFill>
              <a:srgbClr val="003399"/>
            </a:solidFill>
            <a:ln w="9525" algn="ctr">
              <a:solidFill>
                <a:srgbClr val="1C3E80"/>
              </a:solidFill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ject</a:t>
              </a:r>
              <a:endParaRPr lang="en-GB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 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4" name="Rectangle 13"/>
            <p:cNvSpPr>
              <a:spLocks noChangeArrowheads="1"/>
            </p:cNvSpPr>
            <p:nvPr/>
          </p:nvSpPr>
          <p:spPr bwMode="auto">
            <a:xfrm>
              <a:off x="2285984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Design Basis</a:t>
              </a:r>
              <a:b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</a:b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&amp; Certific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5429256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Construction</a:t>
              </a:r>
            </a:p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/>
          </p:nvSpPr>
          <p:spPr bwMode="auto">
            <a:xfrm>
              <a:off x="7000892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Oper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57" name="AutoShape 23"/>
            <p:cNvCxnSpPr>
              <a:cxnSpLocks noChangeShapeType="1"/>
              <a:stCxn id="48" idx="2"/>
              <a:endCxn id="54" idx="0"/>
            </p:cNvCxnSpPr>
            <p:nvPr/>
          </p:nvCxnSpPr>
          <p:spPr bwMode="auto">
            <a:xfrm rot="5400000">
              <a:off x="3575042" y="3444861"/>
              <a:ext cx="431800" cy="156846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8" name="AutoShape 24"/>
            <p:cNvCxnSpPr>
              <a:cxnSpLocks noChangeShapeType="1"/>
              <a:stCxn id="48" idx="2"/>
              <a:endCxn id="61" idx="0"/>
            </p:cNvCxnSpPr>
            <p:nvPr/>
          </p:nvCxnSpPr>
          <p:spPr bwMode="auto">
            <a:xfrm rot="16200000" flipH="1">
              <a:off x="4368791" y="4219578"/>
              <a:ext cx="415938" cy="317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9" name="AutoShape 25"/>
            <p:cNvCxnSpPr>
              <a:cxnSpLocks noChangeShapeType="1"/>
              <a:stCxn id="48" idx="2"/>
              <a:endCxn id="55" idx="0"/>
            </p:cNvCxnSpPr>
            <p:nvPr/>
          </p:nvCxnSpPr>
          <p:spPr bwMode="auto">
            <a:xfrm rot="16200000" flipH="1">
              <a:off x="5146678" y="3441691"/>
              <a:ext cx="431800" cy="157480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60" name="AutoShape 26"/>
            <p:cNvCxnSpPr>
              <a:cxnSpLocks noChangeShapeType="1"/>
              <a:stCxn id="48" idx="2"/>
              <a:endCxn id="56" idx="0"/>
            </p:cNvCxnSpPr>
            <p:nvPr/>
          </p:nvCxnSpPr>
          <p:spPr bwMode="auto">
            <a:xfrm rot="16200000" flipH="1">
              <a:off x="5932496" y="2655873"/>
              <a:ext cx="431800" cy="314644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61" name="Rectangle 14"/>
            <p:cNvSpPr>
              <a:spLocks noChangeArrowheads="1"/>
            </p:cNvSpPr>
            <p:nvPr/>
          </p:nvSpPr>
          <p:spPr bwMode="auto">
            <a:xfrm>
              <a:off x="3857620" y="4429132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cur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62" name="Gewinkelte Verbindung 26"/>
            <p:cNvCxnSpPr>
              <a:stCxn id="48" idx="2"/>
              <a:endCxn id="53" idx="0"/>
            </p:cNvCxnSpPr>
            <p:nvPr/>
          </p:nvCxnSpPr>
          <p:spPr bwMode="auto">
            <a:xfrm rot="5400000">
              <a:off x="2782879" y="2652698"/>
              <a:ext cx="431800" cy="315279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lum bright="30000"/>
          </a:blip>
          <a:srcRect/>
          <a:stretch>
            <a:fillRect/>
          </a:stretch>
        </p:blipFill>
        <p:spPr bwMode="auto">
          <a:xfrm>
            <a:off x="4357686" y="4143380"/>
            <a:ext cx="3286148" cy="19481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extBox 26"/>
          <p:cNvSpPr txBox="1"/>
          <p:nvPr/>
        </p:nvSpPr>
        <p:spPr>
          <a:xfrm>
            <a:off x="500034" y="2949333"/>
            <a:ext cx="7715304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udget planning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ime Scheduling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source planning and set up of project team, </a:t>
            </a:r>
            <a:b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ork packages and responsibilities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dentification of requirements and constraints of project and market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nagement of resources and project team with spirit and commitment</a:t>
            </a:r>
          </a:p>
        </p:txBody>
      </p:sp>
      <p:sp>
        <p:nvSpPr>
          <p:cNvPr id="25" name="Rectangle 2"/>
          <p:cNvSpPr>
            <a:spLocks noGrp="1" noChangeArrowheads="1"/>
          </p:cNvSpPr>
          <p:nvPr>
            <p:ph type="title"/>
          </p:nvPr>
        </p:nvSpPr>
        <p:spPr>
          <a:xfrm>
            <a:off x="428596" y="2536730"/>
            <a:ext cx="5638800" cy="400048"/>
          </a:xfrm>
        </p:spPr>
        <p:txBody>
          <a:bodyPr/>
          <a:lstStyle/>
          <a:p>
            <a:pPr eaLnBrk="1" hangingPunct="1"/>
            <a:r>
              <a:rPr lang="de-DE" dirty="0" smtClean="0">
                <a:solidFill>
                  <a:srgbClr val="1C3E80"/>
                </a:solidFill>
              </a:rPr>
              <a:t>Project Management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 cstate="print">
            <a:lum bright="40000"/>
          </a:blip>
          <a:srcRect r="23684"/>
          <a:stretch>
            <a:fillRect/>
          </a:stretch>
        </p:blipFill>
        <p:spPr bwMode="auto">
          <a:xfrm>
            <a:off x="6072198" y="2357430"/>
            <a:ext cx="2257427" cy="1475294"/>
          </a:xfrm>
          <a:prstGeom prst="rect">
            <a:avLst/>
          </a:prstGeom>
          <a:solidFill>
            <a:schemeClr val="bg1">
              <a:alpha val="60000"/>
            </a:schemeClr>
          </a:solidFill>
          <a:ln w="9525">
            <a:noFill/>
            <a:miter lim="800000"/>
            <a:headEnd/>
            <a:tailEnd/>
          </a:ln>
        </p:spPr>
      </p:pic>
      <p:sp>
        <p:nvSpPr>
          <p:cNvPr id="26" name="Rectangle 11"/>
          <p:cNvSpPr>
            <a:spLocks noChangeArrowheads="1"/>
          </p:cNvSpPr>
          <p:nvPr/>
        </p:nvSpPr>
        <p:spPr bwMode="auto">
          <a:xfrm>
            <a:off x="2602982" y="285728"/>
            <a:ext cx="928694" cy="506411"/>
          </a:xfrm>
          <a:prstGeom prst="rect">
            <a:avLst/>
          </a:prstGeom>
          <a:solidFill>
            <a:srgbClr val="7F7F7F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pd offshore</a:t>
            </a:r>
            <a:endParaRPr lang="de-DE" sz="10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Rectangle 4"/>
          <p:cNvSpPr txBox="1">
            <a:spLocks noChangeArrowheads="1"/>
          </p:cNvSpPr>
          <p:nvPr/>
        </p:nvSpPr>
        <p:spPr>
          <a:xfrm>
            <a:off x="685800" y="628652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 sz="1600">
                <a:solidFill>
                  <a:srgbClr val="003399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15.09.2009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11"/>
          <p:cNvSpPr>
            <a:spLocks noChangeArrowheads="1"/>
          </p:cNvSpPr>
          <p:nvPr/>
        </p:nvSpPr>
        <p:spPr bwMode="auto">
          <a:xfrm>
            <a:off x="2602982" y="285728"/>
            <a:ext cx="928694" cy="506411"/>
          </a:xfrm>
          <a:prstGeom prst="rect">
            <a:avLst/>
          </a:prstGeom>
          <a:solidFill>
            <a:srgbClr val="7F7F7F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pd offshore</a:t>
            </a:r>
            <a:endParaRPr lang="de-DE" sz="10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Rectangle 4"/>
          <p:cNvSpPr txBox="1">
            <a:spLocks noChangeArrowheads="1"/>
          </p:cNvSpPr>
          <p:nvPr/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 sz="1600">
                <a:solidFill>
                  <a:srgbClr val="003399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15.09.2009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24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 algn="r">
              <a:defRPr sz="1600">
                <a:solidFill>
                  <a:srgbClr val="003399"/>
                </a:solidFill>
              </a:defRPr>
            </a:lvl1pPr>
          </a:lstStyle>
          <a:p>
            <a:pPr>
              <a:defRPr/>
            </a:pPr>
            <a:r>
              <a:rPr lang="de-DE" sz="1200" dirty="0" smtClean="0"/>
              <a:t>M. Lehnhoff - </a:t>
            </a:r>
            <a:fld id="{9B14A407-9605-4482-A08C-36DA899A9178}" type="slidenum">
              <a:rPr lang="de-DE" sz="1200" smtClean="0"/>
              <a:pPr>
                <a:defRPr/>
              </a:pPr>
              <a:t>11</a:t>
            </a:fld>
            <a:endParaRPr lang="de-DE" sz="1200" dirty="0"/>
          </a:p>
        </p:txBody>
      </p:sp>
      <p:grpSp>
        <p:nvGrpSpPr>
          <p:cNvPr id="2" name="Group 63"/>
          <p:cNvGrpSpPr/>
          <p:nvPr/>
        </p:nvGrpSpPr>
        <p:grpSpPr>
          <a:xfrm>
            <a:off x="521549" y="782000"/>
            <a:ext cx="5048407" cy="1452136"/>
            <a:chOff x="682625" y="2933694"/>
            <a:chExt cx="7759717" cy="2232025"/>
          </a:xfrm>
        </p:grpSpPr>
        <p:sp>
          <p:nvSpPr>
            <p:cNvPr id="46" name="Rectangle 11"/>
            <p:cNvSpPr>
              <a:spLocks noChangeArrowheads="1"/>
            </p:cNvSpPr>
            <p:nvPr/>
          </p:nvSpPr>
          <p:spPr bwMode="auto">
            <a:xfrm>
              <a:off x="682625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sz="1000" b="1" dirty="0">
                  <a:solidFill>
                    <a:schemeClr val="bg1"/>
                  </a:solidFill>
                </a:rPr>
                <a:t>Project</a:t>
              </a:r>
            </a:p>
            <a:p>
              <a:pPr algn="ctr" eaLnBrk="0" hangingPunct="0">
                <a:defRPr/>
              </a:pPr>
              <a:r>
                <a:rPr lang="de-DE" sz="1000" b="1" dirty="0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47" name="Rectangle 12"/>
            <p:cNvSpPr>
              <a:spLocks noChangeArrowheads="1"/>
            </p:cNvSpPr>
            <p:nvPr/>
          </p:nvSpPr>
          <p:spPr bwMode="auto">
            <a:xfrm>
              <a:off x="2266950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IRPP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auto">
            <a:xfrm>
              <a:off x="3854450" y="3292469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Service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cxnSp>
          <p:nvCxnSpPr>
            <p:cNvPr id="50" name="AutoShape 17"/>
            <p:cNvCxnSpPr>
              <a:cxnSpLocks noChangeShapeType="1"/>
              <a:endCxn id="46" idx="0"/>
            </p:cNvCxnSpPr>
            <p:nvPr/>
          </p:nvCxnSpPr>
          <p:spPr bwMode="auto">
            <a:xfrm rot="5400000">
              <a:off x="2808287" y="1528757"/>
              <a:ext cx="358775" cy="3168650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1" name="AutoShape 18"/>
            <p:cNvCxnSpPr>
              <a:cxnSpLocks noChangeShapeType="1"/>
              <a:stCxn id="47" idx="0"/>
            </p:cNvCxnSpPr>
            <p:nvPr/>
          </p:nvCxnSpPr>
          <p:spPr bwMode="auto">
            <a:xfrm rot="16200000">
              <a:off x="3600450" y="2320919"/>
              <a:ext cx="358775" cy="1584325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2" name="AutoShape 22"/>
            <p:cNvCxnSpPr>
              <a:cxnSpLocks noChangeShapeType="1"/>
              <a:endCxn id="48" idx="0"/>
            </p:cNvCxnSpPr>
            <p:nvPr/>
          </p:nvCxnSpPr>
          <p:spPr bwMode="auto">
            <a:xfrm rot="16200000" flipH="1">
              <a:off x="4394200" y="3111494"/>
              <a:ext cx="358775" cy="3175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53" name="Rectangle 12"/>
            <p:cNvSpPr>
              <a:spLocks noChangeArrowheads="1"/>
            </p:cNvSpPr>
            <p:nvPr/>
          </p:nvSpPr>
          <p:spPr bwMode="auto">
            <a:xfrm>
              <a:off x="701658" y="4444994"/>
              <a:ext cx="1441450" cy="720725"/>
            </a:xfrm>
            <a:prstGeom prst="rect">
              <a:avLst/>
            </a:prstGeom>
            <a:solidFill>
              <a:srgbClr val="003399"/>
            </a:solidFill>
            <a:ln w="9525" algn="ctr">
              <a:solidFill>
                <a:srgbClr val="1C3E80"/>
              </a:solidFill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ject</a:t>
              </a:r>
              <a:endParaRPr lang="en-GB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 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4" name="Rectangle 13"/>
            <p:cNvSpPr>
              <a:spLocks noChangeArrowheads="1"/>
            </p:cNvSpPr>
            <p:nvPr/>
          </p:nvSpPr>
          <p:spPr bwMode="auto">
            <a:xfrm>
              <a:off x="2285984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Design Basis</a:t>
              </a:r>
              <a:b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</a:b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&amp; Certific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5429256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Construction</a:t>
              </a:r>
            </a:p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/>
          </p:nvSpPr>
          <p:spPr bwMode="auto">
            <a:xfrm>
              <a:off x="7000892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Oper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57" name="AutoShape 23"/>
            <p:cNvCxnSpPr>
              <a:cxnSpLocks noChangeShapeType="1"/>
              <a:stCxn id="48" idx="2"/>
              <a:endCxn id="54" idx="0"/>
            </p:cNvCxnSpPr>
            <p:nvPr/>
          </p:nvCxnSpPr>
          <p:spPr bwMode="auto">
            <a:xfrm rot="5400000">
              <a:off x="3575042" y="3444861"/>
              <a:ext cx="431800" cy="156846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8" name="AutoShape 24"/>
            <p:cNvCxnSpPr>
              <a:cxnSpLocks noChangeShapeType="1"/>
              <a:stCxn id="48" idx="2"/>
              <a:endCxn id="61" idx="0"/>
            </p:cNvCxnSpPr>
            <p:nvPr/>
          </p:nvCxnSpPr>
          <p:spPr bwMode="auto">
            <a:xfrm rot="16200000" flipH="1">
              <a:off x="4368791" y="4219578"/>
              <a:ext cx="415938" cy="317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9" name="AutoShape 25"/>
            <p:cNvCxnSpPr>
              <a:cxnSpLocks noChangeShapeType="1"/>
              <a:stCxn id="48" idx="2"/>
              <a:endCxn id="55" idx="0"/>
            </p:cNvCxnSpPr>
            <p:nvPr/>
          </p:nvCxnSpPr>
          <p:spPr bwMode="auto">
            <a:xfrm rot="16200000" flipH="1">
              <a:off x="5146678" y="3441691"/>
              <a:ext cx="431800" cy="157480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60" name="AutoShape 26"/>
            <p:cNvCxnSpPr>
              <a:cxnSpLocks noChangeShapeType="1"/>
              <a:stCxn id="48" idx="2"/>
              <a:endCxn id="56" idx="0"/>
            </p:cNvCxnSpPr>
            <p:nvPr/>
          </p:nvCxnSpPr>
          <p:spPr bwMode="auto">
            <a:xfrm rot="16200000" flipH="1">
              <a:off x="5932496" y="2655873"/>
              <a:ext cx="431800" cy="314644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61" name="Rectangle 14"/>
            <p:cNvSpPr>
              <a:spLocks noChangeArrowheads="1"/>
            </p:cNvSpPr>
            <p:nvPr/>
          </p:nvSpPr>
          <p:spPr bwMode="auto">
            <a:xfrm>
              <a:off x="3857620" y="4429132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cur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62" name="Gewinkelte Verbindung 26"/>
            <p:cNvCxnSpPr>
              <a:stCxn id="48" idx="2"/>
              <a:endCxn id="53" idx="0"/>
            </p:cNvCxnSpPr>
            <p:nvPr/>
          </p:nvCxnSpPr>
          <p:spPr bwMode="auto">
            <a:xfrm rot="5400000">
              <a:off x="2782879" y="2652698"/>
              <a:ext cx="431800" cy="315279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7" name="TextBox 26"/>
          <p:cNvSpPr txBox="1"/>
          <p:nvPr/>
        </p:nvSpPr>
        <p:spPr>
          <a:xfrm>
            <a:off x="500034" y="2949333"/>
            <a:ext cx="7715304" cy="22236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re Competences in all work packages of an offshore wind farm:</a:t>
            </a:r>
          </a:p>
          <a:p>
            <a:pPr marL="728663" lvl="1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eotechnical know-how</a:t>
            </a:r>
          </a:p>
          <a:p>
            <a:pPr marL="728663" lvl="1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oundation concepts</a:t>
            </a:r>
          </a:p>
          <a:p>
            <a:pPr marL="728663" lvl="1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ind turbine technology</a:t>
            </a:r>
          </a:p>
          <a:p>
            <a:pPr marL="728663" lvl="1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ffshore transformer station for structural as well as electrical design</a:t>
            </a:r>
          </a:p>
          <a:p>
            <a:pPr marL="728663" lvl="1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ter array grid </a:t>
            </a:r>
          </a:p>
        </p:txBody>
      </p:sp>
      <p:sp>
        <p:nvSpPr>
          <p:cNvPr id="25" name="Rectangle 2"/>
          <p:cNvSpPr>
            <a:spLocks noGrp="1" noChangeArrowheads="1"/>
          </p:cNvSpPr>
          <p:nvPr>
            <p:ph type="title"/>
          </p:nvPr>
        </p:nvSpPr>
        <p:spPr>
          <a:xfrm>
            <a:off x="428596" y="2536730"/>
            <a:ext cx="5638800" cy="400048"/>
          </a:xfrm>
        </p:spPr>
        <p:txBody>
          <a:bodyPr/>
          <a:lstStyle/>
          <a:p>
            <a:pPr eaLnBrk="1" hangingPunct="1"/>
            <a:r>
              <a:rPr lang="de-DE" dirty="0" smtClean="0">
                <a:solidFill>
                  <a:srgbClr val="1C3E80"/>
                </a:solidFill>
              </a:rPr>
              <a:t>Project Managemen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Box 40"/>
          <p:cNvSpPr txBox="1"/>
          <p:nvPr/>
        </p:nvSpPr>
        <p:spPr>
          <a:xfrm>
            <a:off x="500034" y="2949333"/>
            <a:ext cx="771530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ermission management and Compliance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nagement of EIA studies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ertification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ark Concept and Layout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operation with transmission system operator</a:t>
            </a:r>
          </a:p>
        </p:txBody>
      </p:sp>
      <p:grpSp>
        <p:nvGrpSpPr>
          <p:cNvPr id="2" name="Group 33"/>
          <p:cNvGrpSpPr/>
          <p:nvPr/>
        </p:nvGrpSpPr>
        <p:grpSpPr>
          <a:xfrm>
            <a:off x="5072066" y="2051582"/>
            <a:ext cx="3714776" cy="1953481"/>
            <a:chOff x="3929058" y="4190163"/>
            <a:chExt cx="4500594" cy="2024919"/>
          </a:xfrm>
        </p:grpSpPr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 t="7088" r="3226" b="4310"/>
            <a:stretch>
              <a:fillRect/>
            </a:stretch>
          </p:blipFill>
          <p:spPr bwMode="auto">
            <a:xfrm>
              <a:off x="4286248" y="4286256"/>
              <a:ext cx="4000528" cy="1785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0" name="Freeform 29"/>
            <p:cNvSpPr/>
            <p:nvPr/>
          </p:nvSpPr>
          <p:spPr bwMode="auto">
            <a:xfrm>
              <a:off x="3929058" y="4214818"/>
              <a:ext cx="4500594" cy="2000264"/>
            </a:xfrm>
            <a:custGeom>
              <a:avLst/>
              <a:gdLst>
                <a:gd name="connsiteX0" fmla="*/ 0 w 3356149"/>
                <a:gd name="connsiteY0" fmla="*/ 1416817 h 1426865"/>
                <a:gd name="connsiteX1" fmla="*/ 3346101 w 3356149"/>
                <a:gd name="connsiteY1" fmla="*/ 0 h 1426865"/>
                <a:gd name="connsiteX2" fmla="*/ 3356149 w 3356149"/>
                <a:gd name="connsiteY2" fmla="*/ 1426865 h 1426865"/>
                <a:gd name="connsiteX3" fmla="*/ 0 w 3356149"/>
                <a:gd name="connsiteY3" fmla="*/ 1416817 h 142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56149" h="1426865">
                  <a:moveTo>
                    <a:pt x="0" y="1416817"/>
                  </a:moveTo>
                  <a:lnTo>
                    <a:pt x="3346101" y="0"/>
                  </a:lnTo>
                  <a:cubicBezTo>
                    <a:pt x="3349450" y="475622"/>
                    <a:pt x="3352800" y="951243"/>
                    <a:pt x="3356149" y="1426865"/>
                  </a:cubicBezTo>
                  <a:lnTo>
                    <a:pt x="0" y="1416817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sv-SE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33" name="Freeform 32"/>
            <p:cNvSpPr/>
            <p:nvPr/>
          </p:nvSpPr>
          <p:spPr bwMode="auto">
            <a:xfrm>
              <a:off x="4143372" y="4190163"/>
              <a:ext cx="785817" cy="1953481"/>
            </a:xfrm>
            <a:custGeom>
              <a:avLst/>
              <a:gdLst>
                <a:gd name="connsiteX0" fmla="*/ 542611 w 542611"/>
                <a:gd name="connsiteY0" fmla="*/ 20096 h 1899138"/>
                <a:gd name="connsiteX1" fmla="*/ 0 w 542611"/>
                <a:gd name="connsiteY1" fmla="*/ 1899138 h 1899138"/>
                <a:gd name="connsiteX2" fmla="*/ 0 w 542611"/>
                <a:gd name="connsiteY2" fmla="*/ 0 h 1899138"/>
                <a:gd name="connsiteX3" fmla="*/ 542611 w 542611"/>
                <a:gd name="connsiteY3" fmla="*/ 20096 h 1899138"/>
                <a:gd name="connsiteX0" fmla="*/ 542611 w 542611"/>
                <a:gd name="connsiteY0" fmla="*/ 20096 h 1953481"/>
                <a:gd name="connsiteX1" fmla="*/ 98657 w 542611"/>
                <a:gd name="connsiteY1" fmla="*/ 1953481 h 1953481"/>
                <a:gd name="connsiteX2" fmla="*/ 0 w 542611"/>
                <a:gd name="connsiteY2" fmla="*/ 0 h 1953481"/>
                <a:gd name="connsiteX3" fmla="*/ 542611 w 542611"/>
                <a:gd name="connsiteY3" fmla="*/ 20096 h 19534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2611" h="1953481">
                  <a:moveTo>
                    <a:pt x="542611" y="20096"/>
                  </a:moveTo>
                  <a:lnTo>
                    <a:pt x="98657" y="1953481"/>
                  </a:lnTo>
                  <a:lnTo>
                    <a:pt x="0" y="0"/>
                  </a:lnTo>
                  <a:lnTo>
                    <a:pt x="542611" y="20096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hangingPunct="0"/>
              <a:endParaRPr lang="sv-SE" smtClean="0">
                <a:latin typeface="Arial" pitchFamily="34" charset="0"/>
              </a:endParaRPr>
            </a:p>
          </p:txBody>
        </p:sp>
      </p:grp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29520" y="3071810"/>
            <a:ext cx="1028764" cy="135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 algn="r">
              <a:defRPr sz="1600">
                <a:solidFill>
                  <a:srgbClr val="003399"/>
                </a:solidFill>
              </a:defRPr>
            </a:lvl1pPr>
          </a:lstStyle>
          <a:p>
            <a:pPr>
              <a:defRPr/>
            </a:pPr>
            <a:r>
              <a:rPr lang="de-DE" sz="1200" dirty="0" smtClean="0"/>
              <a:t>M. Lehnhoff - </a:t>
            </a:r>
            <a:fld id="{9B14A407-9605-4482-A08C-36DA899A9178}" type="slidenum">
              <a:rPr lang="de-DE" sz="1200" smtClean="0"/>
              <a:pPr>
                <a:defRPr/>
              </a:pPr>
              <a:t>12</a:t>
            </a:fld>
            <a:endParaRPr lang="de-DE" sz="1200" dirty="0"/>
          </a:p>
        </p:txBody>
      </p:sp>
      <p:grpSp>
        <p:nvGrpSpPr>
          <p:cNvPr id="3" name="Group 63"/>
          <p:cNvGrpSpPr/>
          <p:nvPr/>
        </p:nvGrpSpPr>
        <p:grpSpPr>
          <a:xfrm>
            <a:off x="521549" y="782000"/>
            <a:ext cx="5048407" cy="1452136"/>
            <a:chOff x="682625" y="2933694"/>
            <a:chExt cx="7759717" cy="2232025"/>
          </a:xfrm>
        </p:grpSpPr>
        <p:sp>
          <p:nvSpPr>
            <p:cNvPr id="46" name="Rectangle 11"/>
            <p:cNvSpPr>
              <a:spLocks noChangeArrowheads="1"/>
            </p:cNvSpPr>
            <p:nvPr/>
          </p:nvSpPr>
          <p:spPr bwMode="auto">
            <a:xfrm>
              <a:off x="682625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sz="1000" b="1">
                  <a:solidFill>
                    <a:schemeClr val="bg1"/>
                  </a:solidFill>
                </a:rPr>
                <a:t>Project</a:t>
              </a:r>
            </a:p>
            <a:p>
              <a:pPr algn="ctr" eaLnBrk="0" hangingPunct="0">
                <a:defRPr/>
              </a:pPr>
              <a:r>
                <a:rPr lang="de-DE" sz="1000" b="1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47" name="Rectangle 12"/>
            <p:cNvSpPr>
              <a:spLocks noChangeArrowheads="1"/>
            </p:cNvSpPr>
            <p:nvPr/>
          </p:nvSpPr>
          <p:spPr bwMode="auto">
            <a:xfrm>
              <a:off x="2266950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IRPP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auto">
            <a:xfrm>
              <a:off x="3854450" y="3292469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Service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cxnSp>
          <p:nvCxnSpPr>
            <p:cNvPr id="50" name="AutoShape 17"/>
            <p:cNvCxnSpPr>
              <a:cxnSpLocks noChangeShapeType="1"/>
              <a:endCxn id="46" idx="0"/>
            </p:cNvCxnSpPr>
            <p:nvPr/>
          </p:nvCxnSpPr>
          <p:spPr bwMode="auto">
            <a:xfrm rot="5400000">
              <a:off x="2808287" y="1528757"/>
              <a:ext cx="358775" cy="3168650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1" name="AutoShape 18"/>
            <p:cNvCxnSpPr>
              <a:cxnSpLocks noChangeShapeType="1"/>
              <a:stCxn id="47" idx="0"/>
            </p:cNvCxnSpPr>
            <p:nvPr/>
          </p:nvCxnSpPr>
          <p:spPr bwMode="auto">
            <a:xfrm rot="16200000">
              <a:off x="3600450" y="2320919"/>
              <a:ext cx="358775" cy="1584325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2" name="AutoShape 22"/>
            <p:cNvCxnSpPr>
              <a:cxnSpLocks noChangeShapeType="1"/>
              <a:endCxn id="48" idx="0"/>
            </p:cNvCxnSpPr>
            <p:nvPr/>
          </p:nvCxnSpPr>
          <p:spPr bwMode="auto">
            <a:xfrm rot="16200000" flipH="1">
              <a:off x="4394200" y="3111494"/>
              <a:ext cx="358775" cy="3175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53" name="Rectangle 12"/>
            <p:cNvSpPr>
              <a:spLocks noChangeArrowheads="1"/>
            </p:cNvSpPr>
            <p:nvPr/>
          </p:nvSpPr>
          <p:spPr bwMode="auto">
            <a:xfrm>
              <a:off x="701658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ject</a:t>
              </a:r>
              <a:endParaRPr lang="en-GB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 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4" name="Rectangle 13"/>
            <p:cNvSpPr>
              <a:spLocks noChangeArrowheads="1"/>
            </p:cNvSpPr>
            <p:nvPr/>
          </p:nvSpPr>
          <p:spPr bwMode="auto">
            <a:xfrm>
              <a:off x="2285984" y="4444994"/>
              <a:ext cx="1441450" cy="720725"/>
            </a:xfrm>
            <a:prstGeom prst="rect">
              <a:avLst/>
            </a:prstGeom>
            <a:solidFill>
              <a:srgbClr val="003399"/>
            </a:solidFill>
            <a:ln w="9525" algn="ctr">
              <a:solidFill>
                <a:srgbClr val="1C3E80"/>
              </a:solidFill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Design Basis</a:t>
              </a:r>
              <a:b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</a:b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&amp; Certific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5429256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Construction</a:t>
              </a:r>
            </a:p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/>
          </p:nvSpPr>
          <p:spPr bwMode="auto">
            <a:xfrm>
              <a:off x="7000892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Oper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57" name="AutoShape 23"/>
            <p:cNvCxnSpPr>
              <a:cxnSpLocks noChangeShapeType="1"/>
              <a:stCxn id="48" idx="2"/>
              <a:endCxn id="54" idx="0"/>
            </p:cNvCxnSpPr>
            <p:nvPr/>
          </p:nvCxnSpPr>
          <p:spPr bwMode="auto">
            <a:xfrm rot="5400000">
              <a:off x="3575042" y="3444861"/>
              <a:ext cx="431800" cy="156846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8" name="AutoShape 24"/>
            <p:cNvCxnSpPr>
              <a:cxnSpLocks noChangeShapeType="1"/>
              <a:stCxn id="48" idx="2"/>
              <a:endCxn id="61" idx="0"/>
            </p:cNvCxnSpPr>
            <p:nvPr/>
          </p:nvCxnSpPr>
          <p:spPr bwMode="auto">
            <a:xfrm rot="16200000" flipH="1">
              <a:off x="4368791" y="4219578"/>
              <a:ext cx="415938" cy="317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9" name="AutoShape 25"/>
            <p:cNvCxnSpPr>
              <a:cxnSpLocks noChangeShapeType="1"/>
              <a:stCxn id="48" idx="2"/>
              <a:endCxn id="55" idx="0"/>
            </p:cNvCxnSpPr>
            <p:nvPr/>
          </p:nvCxnSpPr>
          <p:spPr bwMode="auto">
            <a:xfrm rot="16200000" flipH="1">
              <a:off x="5146678" y="3441691"/>
              <a:ext cx="431800" cy="157480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60" name="AutoShape 26"/>
            <p:cNvCxnSpPr>
              <a:cxnSpLocks noChangeShapeType="1"/>
              <a:stCxn id="48" idx="2"/>
              <a:endCxn id="56" idx="0"/>
            </p:cNvCxnSpPr>
            <p:nvPr/>
          </p:nvCxnSpPr>
          <p:spPr bwMode="auto">
            <a:xfrm rot="16200000" flipH="1">
              <a:off x="5932496" y="2655873"/>
              <a:ext cx="431800" cy="314644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61" name="Rectangle 14"/>
            <p:cNvSpPr>
              <a:spLocks noChangeArrowheads="1"/>
            </p:cNvSpPr>
            <p:nvPr/>
          </p:nvSpPr>
          <p:spPr bwMode="auto">
            <a:xfrm>
              <a:off x="3857620" y="4429132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cur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62" name="Gewinkelte Verbindung 26"/>
            <p:cNvCxnSpPr>
              <a:stCxn id="48" idx="2"/>
              <a:endCxn id="53" idx="0"/>
            </p:cNvCxnSpPr>
            <p:nvPr/>
          </p:nvCxnSpPr>
          <p:spPr bwMode="auto">
            <a:xfrm rot="5400000">
              <a:off x="2782879" y="2652698"/>
              <a:ext cx="431800" cy="315279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72462" y="2714620"/>
            <a:ext cx="697152" cy="823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10726" y="5214950"/>
            <a:ext cx="514013" cy="461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29520" y="5000636"/>
            <a:ext cx="435850" cy="452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358082" y="5500702"/>
            <a:ext cx="371464" cy="576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858016" y="5786454"/>
            <a:ext cx="492394" cy="406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215074" y="4714884"/>
            <a:ext cx="560121" cy="1042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>
          <a:xfrm>
            <a:off x="428596" y="2536730"/>
            <a:ext cx="5638800" cy="400048"/>
          </a:xfrm>
        </p:spPr>
        <p:txBody>
          <a:bodyPr/>
          <a:lstStyle/>
          <a:p>
            <a:pPr eaLnBrk="1" hangingPunct="1"/>
            <a:r>
              <a:rPr lang="de-DE" dirty="0" smtClean="0">
                <a:solidFill>
                  <a:srgbClr val="1C3E80"/>
                </a:solidFill>
              </a:rPr>
              <a:t>Design Basis &amp; Certification</a:t>
            </a:r>
          </a:p>
        </p:txBody>
      </p:sp>
      <p:sp>
        <p:nvSpPr>
          <p:cNvPr id="43" name="Rectangle 11"/>
          <p:cNvSpPr>
            <a:spLocks noChangeArrowheads="1"/>
          </p:cNvSpPr>
          <p:nvPr/>
        </p:nvSpPr>
        <p:spPr bwMode="auto">
          <a:xfrm>
            <a:off x="2602982" y="285728"/>
            <a:ext cx="928694" cy="506411"/>
          </a:xfrm>
          <a:prstGeom prst="rect">
            <a:avLst/>
          </a:prstGeom>
          <a:solidFill>
            <a:srgbClr val="7F7F7F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pd offshore</a:t>
            </a:r>
            <a:endParaRPr lang="de-DE" sz="10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5" name="Rectangle 4"/>
          <p:cNvSpPr txBox="1">
            <a:spLocks noChangeArrowheads="1"/>
          </p:cNvSpPr>
          <p:nvPr/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 sz="1600">
                <a:solidFill>
                  <a:srgbClr val="003399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15.09.2009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 algn="r">
              <a:defRPr sz="1600">
                <a:solidFill>
                  <a:srgbClr val="003399"/>
                </a:solidFill>
              </a:defRPr>
            </a:lvl1pPr>
          </a:lstStyle>
          <a:p>
            <a:pPr>
              <a:defRPr/>
            </a:pPr>
            <a:r>
              <a:rPr lang="de-DE" sz="1200" dirty="0" smtClean="0"/>
              <a:t>M. Lehnhoff - </a:t>
            </a:r>
            <a:fld id="{9B14A407-9605-4482-A08C-36DA899A9178}" type="slidenum">
              <a:rPr lang="de-DE" sz="1200" smtClean="0"/>
              <a:pPr>
                <a:defRPr/>
              </a:pPr>
              <a:t>13</a:t>
            </a:fld>
            <a:endParaRPr lang="de-DE" sz="1200" dirty="0"/>
          </a:p>
        </p:txBody>
      </p:sp>
      <p:grpSp>
        <p:nvGrpSpPr>
          <p:cNvPr id="2" name="Group 63"/>
          <p:cNvGrpSpPr/>
          <p:nvPr/>
        </p:nvGrpSpPr>
        <p:grpSpPr>
          <a:xfrm>
            <a:off x="521549" y="782000"/>
            <a:ext cx="5048407" cy="1452136"/>
            <a:chOff x="682625" y="2933694"/>
            <a:chExt cx="7759717" cy="2232025"/>
          </a:xfrm>
        </p:grpSpPr>
        <p:sp>
          <p:nvSpPr>
            <p:cNvPr id="46" name="Rectangle 11"/>
            <p:cNvSpPr>
              <a:spLocks noChangeArrowheads="1"/>
            </p:cNvSpPr>
            <p:nvPr/>
          </p:nvSpPr>
          <p:spPr bwMode="auto">
            <a:xfrm>
              <a:off x="682625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sz="1000" b="1" dirty="0">
                  <a:solidFill>
                    <a:schemeClr val="bg1"/>
                  </a:solidFill>
                </a:rPr>
                <a:t>Project</a:t>
              </a:r>
            </a:p>
            <a:p>
              <a:pPr algn="ctr" eaLnBrk="0" hangingPunct="0">
                <a:defRPr/>
              </a:pPr>
              <a:r>
                <a:rPr lang="de-DE" sz="1000" b="1" dirty="0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47" name="Rectangle 12"/>
            <p:cNvSpPr>
              <a:spLocks noChangeArrowheads="1"/>
            </p:cNvSpPr>
            <p:nvPr/>
          </p:nvSpPr>
          <p:spPr bwMode="auto">
            <a:xfrm>
              <a:off x="2266950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IRPP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auto">
            <a:xfrm>
              <a:off x="3854450" y="3292469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Service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cxnSp>
          <p:nvCxnSpPr>
            <p:cNvPr id="50" name="AutoShape 17"/>
            <p:cNvCxnSpPr>
              <a:cxnSpLocks noChangeShapeType="1"/>
              <a:endCxn id="46" idx="0"/>
            </p:cNvCxnSpPr>
            <p:nvPr/>
          </p:nvCxnSpPr>
          <p:spPr bwMode="auto">
            <a:xfrm rot="5400000">
              <a:off x="2808287" y="1528757"/>
              <a:ext cx="358775" cy="3168650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1" name="AutoShape 18"/>
            <p:cNvCxnSpPr>
              <a:cxnSpLocks noChangeShapeType="1"/>
              <a:stCxn id="47" idx="0"/>
            </p:cNvCxnSpPr>
            <p:nvPr/>
          </p:nvCxnSpPr>
          <p:spPr bwMode="auto">
            <a:xfrm rot="16200000">
              <a:off x="3600450" y="2320919"/>
              <a:ext cx="358775" cy="1584325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2" name="AutoShape 22"/>
            <p:cNvCxnSpPr>
              <a:cxnSpLocks noChangeShapeType="1"/>
              <a:endCxn id="48" idx="0"/>
            </p:cNvCxnSpPr>
            <p:nvPr/>
          </p:nvCxnSpPr>
          <p:spPr bwMode="auto">
            <a:xfrm rot="16200000" flipH="1">
              <a:off x="4394200" y="3111494"/>
              <a:ext cx="358775" cy="3175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53" name="Rectangle 12"/>
            <p:cNvSpPr>
              <a:spLocks noChangeArrowheads="1"/>
            </p:cNvSpPr>
            <p:nvPr/>
          </p:nvSpPr>
          <p:spPr bwMode="auto">
            <a:xfrm>
              <a:off x="701658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ject</a:t>
              </a:r>
              <a:endParaRPr lang="en-GB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 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4" name="Rectangle 13"/>
            <p:cNvSpPr>
              <a:spLocks noChangeArrowheads="1"/>
            </p:cNvSpPr>
            <p:nvPr/>
          </p:nvSpPr>
          <p:spPr bwMode="auto">
            <a:xfrm>
              <a:off x="2285984" y="4444994"/>
              <a:ext cx="1441450" cy="720725"/>
            </a:xfrm>
            <a:prstGeom prst="rect">
              <a:avLst/>
            </a:prstGeom>
            <a:solidFill>
              <a:srgbClr val="003399"/>
            </a:solidFill>
            <a:ln w="9525" algn="ctr">
              <a:solidFill>
                <a:srgbClr val="1C3E80"/>
              </a:solidFill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Design Basis</a:t>
              </a:r>
              <a:b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</a:b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&amp; Certific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5429256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Construction</a:t>
              </a:r>
            </a:p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/>
          </p:nvSpPr>
          <p:spPr bwMode="auto">
            <a:xfrm>
              <a:off x="7000892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Oper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57" name="AutoShape 23"/>
            <p:cNvCxnSpPr>
              <a:cxnSpLocks noChangeShapeType="1"/>
              <a:stCxn id="48" idx="2"/>
              <a:endCxn id="54" idx="0"/>
            </p:cNvCxnSpPr>
            <p:nvPr/>
          </p:nvCxnSpPr>
          <p:spPr bwMode="auto">
            <a:xfrm rot="5400000">
              <a:off x="3575042" y="3444861"/>
              <a:ext cx="431800" cy="156846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8" name="AutoShape 24"/>
            <p:cNvCxnSpPr>
              <a:cxnSpLocks noChangeShapeType="1"/>
              <a:stCxn id="48" idx="2"/>
              <a:endCxn id="61" idx="0"/>
            </p:cNvCxnSpPr>
            <p:nvPr/>
          </p:nvCxnSpPr>
          <p:spPr bwMode="auto">
            <a:xfrm rot="16200000" flipH="1">
              <a:off x="4368791" y="4219578"/>
              <a:ext cx="415938" cy="317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9" name="AutoShape 25"/>
            <p:cNvCxnSpPr>
              <a:cxnSpLocks noChangeShapeType="1"/>
              <a:stCxn id="48" idx="2"/>
              <a:endCxn id="55" idx="0"/>
            </p:cNvCxnSpPr>
            <p:nvPr/>
          </p:nvCxnSpPr>
          <p:spPr bwMode="auto">
            <a:xfrm rot="16200000" flipH="1">
              <a:off x="5146678" y="3441691"/>
              <a:ext cx="431800" cy="157480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60" name="AutoShape 26"/>
            <p:cNvCxnSpPr>
              <a:cxnSpLocks noChangeShapeType="1"/>
              <a:stCxn id="48" idx="2"/>
              <a:endCxn id="56" idx="0"/>
            </p:cNvCxnSpPr>
            <p:nvPr/>
          </p:nvCxnSpPr>
          <p:spPr bwMode="auto">
            <a:xfrm rot="16200000" flipH="1">
              <a:off x="5932496" y="2655873"/>
              <a:ext cx="431800" cy="314644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61" name="Rectangle 14"/>
            <p:cNvSpPr>
              <a:spLocks noChangeArrowheads="1"/>
            </p:cNvSpPr>
            <p:nvPr/>
          </p:nvSpPr>
          <p:spPr bwMode="auto">
            <a:xfrm>
              <a:off x="3857620" y="4429132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cur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62" name="Gewinkelte Verbindung 26"/>
            <p:cNvCxnSpPr>
              <a:stCxn id="48" idx="2"/>
              <a:endCxn id="53" idx="0"/>
            </p:cNvCxnSpPr>
            <p:nvPr/>
          </p:nvCxnSpPr>
          <p:spPr bwMode="auto">
            <a:xfrm rot="5400000">
              <a:off x="2782879" y="2652698"/>
              <a:ext cx="431800" cy="315279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86578" y="4214818"/>
            <a:ext cx="1890702" cy="1529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143636" y="714356"/>
            <a:ext cx="738961" cy="3436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Rectangle 2"/>
          <p:cNvSpPr>
            <a:spLocks noGrp="1" noChangeArrowheads="1"/>
          </p:cNvSpPr>
          <p:nvPr>
            <p:ph type="title"/>
          </p:nvPr>
        </p:nvSpPr>
        <p:spPr>
          <a:xfrm>
            <a:off x="428596" y="2536730"/>
            <a:ext cx="5638800" cy="400048"/>
          </a:xfrm>
        </p:spPr>
        <p:txBody>
          <a:bodyPr/>
          <a:lstStyle/>
          <a:p>
            <a:pPr eaLnBrk="1" hangingPunct="1"/>
            <a:r>
              <a:rPr lang="de-DE" dirty="0" smtClean="0">
                <a:solidFill>
                  <a:srgbClr val="1C3E80"/>
                </a:solidFill>
              </a:rPr>
              <a:t>Design Basis &amp; Certification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00034" y="2949333"/>
            <a:ext cx="3714776" cy="25006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ports on site conditions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upervision of soil investigation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asic Reports on site conditions and technical concept 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sign Basis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ject certification management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endParaRPr lang="sv-SE" sz="1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86248" y="2428868"/>
            <a:ext cx="1660764" cy="2159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Rectangle 11"/>
          <p:cNvSpPr>
            <a:spLocks noChangeArrowheads="1"/>
          </p:cNvSpPr>
          <p:nvPr/>
        </p:nvSpPr>
        <p:spPr bwMode="auto">
          <a:xfrm>
            <a:off x="2602982" y="285728"/>
            <a:ext cx="928694" cy="506411"/>
          </a:xfrm>
          <a:prstGeom prst="rect">
            <a:avLst/>
          </a:prstGeom>
          <a:solidFill>
            <a:srgbClr val="7F7F7F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pd offshore</a:t>
            </a:r>
            <a:endParaRPr lang="de-DE" sz="10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Rectangle 4"/>
          <p:cNvSpPr txBox="1">
            <a:spLocks noChangeArrowheads="1"/>
          </p:cNvSpPr>
          <p:nvPr/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 sz="1600">
                <a:solidFill>
                  <a:srgbClr val="003399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15.09.2009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 algn="r">
              <a:defRPr sz="1600">
                <a:solidFill>
                  <a:srgbClr val="003399"/>
                </a:solidFill>
              </a:defRPr>
            </a:lvl1pPr>
          </a:lstStyle>
          <a:p>
            <a:pPr>
              <a:defRPr/>
            </a:pPr>
            <a:r>
              <a:rPr lang="de-DE" sz="1200" dirty="0" smtClean="0"/>
              <a:t>M. Lehnhoff - </a:t>
            </a:r>
            <a:fld id="{9B14A407-9605-4482-A08C-36DA899A9178}" type="slidenum">
              <a:rPr lang="de-DE" sz="1200" smtClean="0"/>
              <a:pPr>
                <a:defRPr/>
              </a:pPr>
              <a:t>14</a:t>
            </a:fld>
            <a:endParaRPr lang="de-DE" sz="1200" dirty="0"/>
          </a:p>
        </p:txBody>
      </p:sp>
      <p:grpSp>
        <p:nvGrpSpPr>
          <p:cNvPr id="2" name="Group 63"/>
          <p:cNvGrpSpPr/>
          <p:nvPr/>
        </p:nvGrpSpPr>
        <p:grpSpPr>
          <a:xfrm>
            <a:off x="521549" y="782000"/>
            <a:ext cx="5048407" cy="1452136"/>
            <a:chOff x="682625" y="2933694"/>
            <a:chExt cx="7759717" cy="2232025"/>
          </a:xfrm>
        </p:grpSpPr>
        <p:sp>
          <p:nvSpPr>
            <p:cNvPr id="46" name="Rectangle 11"/>
            <p:cNvSpPr>
              <a:spLocks noChangeArrowheads="1"/>
            </p:cNvSpPr>
            <p:nvPr/>
          </p:nvSpPr>
          <p:spPr bwMode="auto">
            <a:xfrm>
              <a:off x="682625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sz="1000" b="1">
                  <a:solidFill>
                    <a:schemeClr val="bg1"/>
                  </a:solidFill>
                </a:rPr>
                <a:t>Project</a:t>
              </a:r>
            </a:p>
            <a:p>
              <a:pPr algn="ctr" eaLnBrk="0" hangingPunct="0">
                <a:defRPr/>
              </a:pPr>
              <a:r>
                <a:rPr lang="de-DE" sz="1000" b="1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47" name="Rectangle 12"/>
            <p:cNvSpPr>
              <a:spLocks noChangeArrowheads="1"/>
            </p:cNvSpPr>
            <p:nvPr/>
          </p:nvSpPr>
          <p:spPr bwMode="auto">
            <a:xfrm>
              <a:off x="2266950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IRPP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auto">
            <a:xfrm>
              <a:off x="3854450" y="3292469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Service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cxnSp>
          <p:nvCxnSpPr>
            <p:cNvPr id="50" name="AutoShape 17"/>
            <p:cNvCxnSpPr>
              <a:cxnSpLocks noChangeShapeType="1"/>
              <a:endCxn id="46" idx="0"/>
            </p:cNvCxnSpPr>
            <p:nvPr/>
          </p:nvCxnSpPr>
          <p:spPr bwMode="auto">
            <a:xfrm rot="5400000">
              <a:off x="2808287" y="1528757"/>
              <a:ext cx="358775" cy="3168650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1" name="AutoShape 18"/>
            <p:cNvCxnSpPr>
              <a:cxnSpLocks noChangeShapeType="1"/>
              <a:stCxn id="47" idx="0"/>
            </p:cNvCxnSpPr>
            <p:nvPr/>
          </p:nvCxnSpPr>
          <p:spPr bwMode="auto">
            <a:xfrm rot="16200000">
              <a:off x="3600450" y="2320919"/>
              <a:ext cx="358775" cy="1584325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2" name="AutoShape 22"/>
            <p:cNvCxnSpPr>
              <a:cxnSpLocks noChangeShapeType="1"/>
              <a:endCxn id="48" idx="0"/>
            </p:cNvCxnSpPr>
            <p:nvPr/>
          </p:nvCxnSpPr>
          <p:spPr bwMode="auto">
            <a:xfrm rot="16200000" flipH="1">
              <a:off x="4394200" y="3111494"/>
              <a:ext cx="358775" cy="3175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53" name="Rectangle 12"/>
            <p:cNvSpPr>
              <a:spLocks noChangeArrowheads="1"/>
            </p:cNvSpPr>
            <p:nvPr/>
          </p:nvSpPr>
          <p:spPr bwMode="auto">
            <a:xfrm>
              <a:off x="701658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ject</a:t>
              </a:r>
              <a:endParaRPr lang="en-GB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 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4" name="Rectangle 13"/>
            <p:cNvSpPr>
              <a:spLocks noChangeArrowheads="1"/>
            </p:cNvSpPr>
            <p:nvPr/>
          </p:nvSpPr>
          <p:spPr bwMode="auto">
            <a:xfrm>
              <a:off x="2285984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Design Basis</a:t>
              </a:r>
              <a:b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</a:b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&amp; Certific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5429256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Construction</a:t>
              </a:r>
            </a:p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/>
          </p:nvSpPr>
          <p:spPr bwMode="auto">
            <a:xfrm>
              <a:off x="7000892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Oper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57" name="AutoShape 23"/>
            <p:cNvCxnSpPr>
              <a:cxnSpLocks noChangeShapeType="1"/>
              <a:stCxn id="48" idx="2"/>
              <a:endCxn id="54" idx="0"/>
            </p:cNvCxnSpPr>
            <p:nvPr/>
          </p:nvCxnSpPr>
          <p:spPr bwMode="auto">
            <a:xfrm rot="5400000">
              <a:off x="3575042" y="3444861"/>
              <a:ext cx="431800" cy="156846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8" name="AutoShape 24"/>
            <p:cNvCxnSpPr>
              <a:cxnSpLocks noChangeShapeType="1"/>
              <a:stCxn id="48" idx="2"/>
              <a:endCxn id="61" idx="0"/>
            </p:cNvCxnSpPr>
            <p:nvPr/>
          </p:nvCxnSpPr>
          <p:spPr bwMode="auto">
            <a:xfrm rot="16200000" flipH="1">
              <a:off x="4368791" y="4219578"/>
              <a:ext cx="415938" cy="317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9" name="AutoShape 25"/>
            <p:cNvCxnSpPr>
              <a:cxnSpLocks noChangeShapeType="1"/>
              <a:stCxn id="48" idx="2"/>
              <a:endCxn id="55" idx="0"/>
            </p:cNvCxnSpPr>
            <p:nvPr/>
          </p:nvCxnSpPr>
          <p:spPr bwMode="auto">
            <a:xfrm rot="16200000" flipH="1">
              <a:off x="5146678" y="3441691"/>
              <a:ext cx="431800" cy="157480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60" name="AutoShape 26"/>
            <p:cNvCxnSpPr>
              <a:cxnSpLocks noChangeShapeType="1"/>
              <a:stCxn id="48" idx="2"/>
              <a:endCxn id="56" idx="0"/>
            </p:cNvCxnSpPr>
            <p:nvPr/>
          </p:nvCxnSpPr>
          <p:spPr bwMode="auto">
            <a:xfrm rot="16200000" flipH="1">
              <a:off x="5932496" y="2655873"/>
              <a:ext cx="431800" cy="314644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61" name="Rectangle 14"/>
            <p:cNvSpPr>
              <a:spLocks noChangeArrowheads="1"/>
            </p:cNvSpPr>
            <p:nvPr/>
          </p:nvSpPr>
          <p:spPr bwMode="auto">
            <a:xfrm>
              <a:off x="3857620" y="4429132"/>
              <a:ext cx="1441450" cy="720725"/>
            </a:xfrm>
            <a:prstGeom prst="rect">
              <a:avLst/>
            </a:prstGeom>
            <a:solidFill>
              <a:srgbClr val="003399"/>
            </a:solidFill>
            <a:ln w="9525" algn="ctr">
              <a:solidFill>
                <a:srgbClr val="1C3E80"/>
              </a:solidFill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cur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62" name="Gewinkelte Verbindung 26"/>
            <p:cNvCxnSpPr>
              <a:stCxn id="48" idx="2"/>
              <a:endCxn id="53" idx="0"/>
            </p:cNvCxnSpPr>
            <p:nvPr/>
          </p:nvCxnSpPr>
          <p:spPr bwMode="auto">
            <a:xfrm rot="5400000">
              <a:off x="2782879" y="2652698"/>
              <a:ext cx="431800" cy="315279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29388" y="3286124"/>
            <a:ext cx="1876718" cy="16732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Rectangle 2"/>
          <p:cNvSpPr>
            <a:spLocks noGrp="1" noChangeArrowheads="1"/>
          </p:cNvSpPr>
          <p:nvPr>
            <p:ph type="title"/>
          </p:nvPr>
        </p:nvSpPr>
        <p:spPr>
          <a:xfrm>
            <a:off x="428596" y="2536730"/>
            <a:ext cx="5638800" cy="400048"/>
          </a:xfrm>
        </p:spPr>
        <p:txBody>
          <a:bodyPr/>
          <a:lstStyle/>
          <a:p>
            <a:pPr eaLnBrk="1" hangingPunct="1"/>
            <a:r>
              <a:rPr lang="de-DE" dirty="0" smtClean="0">
                <a:solidFill>
                  <a:srgbClr val="1C3E80"/>
                </a:solidFill>
              </a:rPr>
              <a:t>Procurement &amp; Contract Managemen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00034" y="2949333"/>
            <a:ext cx="828680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ulti-contracting or EPC Concept 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dentifcation of applicable rules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stablishing of ITTs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rket Analysis and evaluation of alternatives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egal Management of contracts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ract Management</a:t>
            </a:r>
          </a:p>
          <a:p>
            <a:pPr marL="728663" lvl="1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terface Management	</a:t>
            </a:r>
          </a:p>
          <a:p>
            <a:pPr marL="728663" lvl="1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isk Analysis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pliance of all contracts and procedures to the permission and applicable rules and regulations</a:t>
            </a:r>
          </a:p>
        </p:txBody>
      </p:sp>
      <p:sp>
        <p:nvSpPr>
          <p:cNvPr id="28" name="Rectangle 11"/>
          <p:cNvSpPr>
            <a:spLocks noChangeArrowheads="1"/>
          </p:cNvSpPr>
          <p:nvPr/>
        </p:nvSpPr>
        <p:spPr bwMode="auto">
          <a:xfrm>
            <a:off x="2602982" y="285728"/>
            <a:ext cx="928694" cy="506411"/>
          </a:xfrm>
          <a:prstGeom prst="rect">
            <a:avLst/>
          </a:prstGeom>
          <a:solidFill>
            <a:srgbClr val="7F7F7F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pd offshore</a:t>
            </a:r>
            <a:endParaRPr lang="de-DE" sz="10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Rectangle 4"/>
          <p:cNvSpPr txBox="1">
            <a:spLocks noChangeArrowheads="1"/>
          </p:cNvSpPr>
          <p:nvPr/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 sz="1600">
                <a:solidFill>
                  <a:srgbClr val="003399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15.09.2009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Grafik 2" descr="B1_OSS_3D_3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43438" y="2714620"/>
            <a:ext cx="4116385" cy="30875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 algn="r">
              <a:defRPr sz="1600">
                <a:solidFill>
                  <a:srgbClr val="003399"/>
                </a:solidFill>
              </a:defRPr>
            </a:lvl1pPr>
          </a:lstStyle>
          <a:p>
            <a:pPr>
              <a:defRPr/>
            </a:pPr>
            <a:r>
              <a:rPr lang="de-DE" sz="1200" dirty="0" smtClean="0"/>
              <a:t>M. Lehnhoff - </a:t>
            </a:r>
            <a:fld id="{9B14A407-9605-4482-A08C-36DA899A9178}" type="slidenum">
              <a:rPr lang="de-DE" sz="1200" smtClean="0"/>
              <a:pPr>
                <a:defRPr/>
              </a:pPr>
              <a:t>15</a:t>
            </a:fld>
            <a:endParaRPr lang="de-DE" sz="1200" dirty="0"/>
          </a:p>
        </p:txBody>
      </p:sp>
      <p:grpSp>
        <p:nvGrpSpPr>
          <p:cNvPr id="2" name="Group 63"/>
          <p:cNvGrpSpPr/>
          <p:nvPr/>
        </p:nvGrpSpPr>
        <p:grpSpPr>
          <a:xfrm>
            <a:off x="521549" y="782000"/>
            <a:ext cx="5048407" cy="1452136"/>
            <a:chOff x="682625" y="2933694"/>
            <a:chExt cx="7759717" cy="2232025"/>
          </a:xfrm>
        </p:grpSpPr>
        <p:sp>
          <p:nvSpPr>
            <p:cNvPr id="46" name="Rectangle 11"/>
            <p:cNvSpPr>
              <a:spLocks noChangeArrowheads="1"/>
            </p:cNvSpPr>
            <p:nvPr/>
          </p:nvSpPr>
          <p:spPr bwMode="auto">
            <a:xfrm>
              <a:off x="682625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sz="1000" b="1" dirty="0">
                  <a:solidFill>
                    <a:schemeClr val="bg1"/>
                  </a:solidFill>
                </a:rPr>
                <a:t>Project</a:t>
              </a:r>
            </a:p>
            <a:p>
              <a:pPr algn="ctr" eaLnBrk="0" hangingPunct="0">
                <a:defRPr/>
              </a:pPr>
              <a:r>
                <a:rPr lang="de-DE" sz="1000" b="1" dirty="0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47" name="Rectangle 12"/>
            <p:cNvSpPr>
              <a:spLocks noChangeArrowheads="1"/>
            </p:cNvSpPr>
            <p:nvPr/>
          </p:nvSpPr>
          <p:spPr bwMode="auto">
            <a:xfrm>
              <a:off x="2266950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IRPP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auto">
            <a:xfrm>
              <a:off x="3854450" y="3292469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Service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cxnSp>
          <p:nvCxnSpPr>
            <p:cNvPr id="50" name="AutoShape 17"/>
            <p:cNvCxnSpPr>
              <a:cxnSpLocks noChangeShapeType="1"/>
              <a:endCxn id="46" idx="0"/>
            </p:cNvCxnSpPr>
            <p:nvPr/>
          </p:nvCxnSpPr>
          <p:spPr bwMode="auto">
            <a:xfrm rot="5400000">
              <a:off x="2808287" y="1528757"/>
              <a:ext cx="358775" cy="3168650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1" name="AutoShape 18"/>
            <p:cNvCxnSpPr>
              <a:cxnSpLocks noChangeShapeType="1"/>
              <a:stCxn id="47" idx="0"/>
            </p:cNvCxnSpPr>
            <p:nvPr/>
          </p:nvCxnSpPr>
          <p:spPr bwMode="auto">
            <a:xfrm rot="16200000">
              <a:off x="3600450" y="2320919"/>
              <a:ext cx="358775" cy="1584325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2" name="AutoShape 22"/>
            <p:cNvCxnSpPr>
              <a:cxnSpLocks noChangeShapeType="1"/>
              <a:endCxn id="48" idx="0"/>
            </p:cNvCxnSpPr>
            <p:nvPr/>
          </p:nvCxnSpPr>
          <p:spPr bwMode="auto">
            <a:xfrm rot="16200000" flipH="1">
              <a:off x="4394200" y="3111494"/>
              <a:ext cx="358775" cy="3175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53" name="Rectangle 12"/>
            <p:cNvSpPr>
              <a:spLocks noChangeArrowheads="1"/>
            </p:cNvSpPr>
            <p:nvPr/>
          </p:nvSpPr>
          <p:spPr bwMode="auto">
            <a:xfrm>
              <a:off x="701658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ject</a:t>
              </a:r>
              <a:endParaRPr lang="en-GB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 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4" name="Rectangle 13"/>
            <p:cNvSpPr>
              <a:spLocks noChangeArrowheads="1"/>
            </p:cNvSpPr>
            <p:nvPr/>
          </p:nvSpPr>
          <p:spPr bwMode="auto">
            <a:xfrm>
              <a:off x="2285984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Design Basis</a:t>
              </a:r>
              <a:b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</a:b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&amp; Certific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5429256" y="4444994"/>
              <a:ext cx="1441450" cy="720725"/>
            </a:xfrm>
            <a:prstGeom prst="rect">
              <a:avLst/>
            </a:prstGeom>
            <a:solidFill>
              <a:srgbClr val="003399"/>
            </a:solidFill>
            <a:ln w="9525" algn="ctr">
              <a:solidFill>
                <a:srgbClr val="1C3E80"/>
              </a:solidFill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Construction</a:t>
              </a:r>
            </a:p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/>
          </p:nvSpPr>
          <p:spPr bwMode="auto">
            <a:xfrm>
              <a:off x="7000892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Oper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57" name="AutoShape 23"/>
            <p:cNvCxnSpPr>
              <a:cxnSpLocks noChangeShapeType="1"/>
              <a:stCxn id="48" idx="2"/>
              <a:endCxn id="54" idx="0"/>
            </p:cNvCxnSpPr>
            <p:nvPr/>
          </p:nvCxnSpPr>
          <p:spPr bwMode="auto">
            <a:xfrm rot="5400000">
              <a:off x="3575042" y="3444861"/>
              <a:ext cx="431800" cy="156846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8" name="AutoShape 24"/>
            <p:cNvCxnSpPr>
              <a:cxnSpLocks noChangeShapeType="1"/>
              <a:stCxn id="48" idx="2"/>
              <a:endCxn id="61" idx="0"/>
            </p:cNvCxnSpPr>
            <p:nvPr/>
          </p:nvCxnSpPr>
          <p:spPr bwMode="auto">
            <a:xfrm rot="16200000" flipH="1">
              <a:off x="4368791" y="4219578"/>
              <a:ext cx="415938" cy="317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9" name="AutoShape 25"/>
            <p:cNvCxnSpPr>
              <a:cxnSpLocks noChangeShapeType="1"/>
              <a:stCxn id="48" idx="2"/>
              <a:endCxn id="55" idx="0"/>
            </p:cNvCxnSpPr>
            <p:nvPr/>
          </p:nvCxnSpPr>
          <p:spPr bwMode="auto">
            <a:xfrm rot="16200000" flipH="1">
              <a:off x="5146678" y="3441691"/>
              <a:ext cx="431800" cy="157480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60" name="AutoShape 26"/>
            <p:cNvCxnSpPr>
              <a:cxnSpLocks noChangeShapeType="1"/>
              <a:stCxn id="48" idx="2"/>
              <a:endCxn id="56" idx="0"/>
            </p:cNvCxnSpPr>
            <p:nvPr/>
          </p:nvCxnSpPr>
          <p:spPr bwMode="auto">
            <a:xfrm rot="16200000" flipH="1">
              <a:off x="5932496" y="2655873"/>
              <a:ext cx="431800" cy="314644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61" name="Rectangle 14"/>
            <p:cNvSpPr>
              <a:spLocks noChangeArrowheads="1"/>
            </p:cNvSpPr>
            <p:nvPr/>
          </p:nvSpPr>
          <p:spPr bwMode="auto">
            <a:xfrm>
              <a:off x="3857620" y="4429132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curement</a:t>
              </a:r>
              <a:endParaRPr lang="de-DE" sz="1000" b="1" dirty="0" smtClean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62" name="Gewinkelte Verbindung 26"/>
            <p:cNvCxnSpPr>
              <a:stCxn id="48" idx="2"/>
              <a:endCxn id="53" idx="0"/>
            </p:cNvCxnSpPr>
            <p:nvPr/>
          </p:nvCxnSpPr>
          <p:spPr bwMode="auto">
            <a:xfrm rot="5400000">
              <a:off x="2782879" y="2652698"/>
              <a:ext cx="431800" cy="315279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Rectangle 2"/>
          <p:cNvSpPr>
            <a:spLocks noGrp="1" noChangeArrowheads="1"/>
          </p:cNvSpPr>
          <p:nvPr>
            <p:ph type="title"/>
          </p:nvPr>
        </p:nvSpPr>
        <p:spPr>
          <a:xfrm>
            <a:off x="428596" y="2536730"/>
            <a:ext cx="5638800" cy="400048"/>
          </a:xfrm>
        </p:spPr>
        <p:txBody>
          <a:bodyPr/>
          <a:lstStyle/>
          <a:p>
            <a:pPr eaLnBrk="1" hangingPunct="1"/>
            <a:r>
              <a:rPr lang="de-DE" dirty="0" smtClean="0">
                <a:solidFill>
                  <a:srgbClr val="1C3E80"/>
                </a:solidFill>
              </a:rPr>
              <a:t>Construction Management</a:t>
            </a:r>
            <a:br>
              <a:rPr lang="de-DE" dirty="0" smtClean="0">
                <a:solidFill>
                  <a:srgbClr val="1C3E80"/>
                </a:solidFill>
              </a:rPr>
            </a:br>
            <a:r>
              <a:rPr lang="de-DE" dirty="0" smtClean="0">
                <a:solidFill>
                  <a:srgbClr val="1C3E80"/>
                </a:solidFill>
              </a:rPr>
              <a:t>Design &amp; Manufacturing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00034" y="3163859"/>
            <a:ext cx="5214974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sign evaluation, consultancy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oduction Planning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ealth, Safety and Environment:</a:t>
            </a:r>
            <a:b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cept and Implementation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laim Management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missioning onshore</a:t>
            </a:r>
          </a:p>
        </p:txBody>
      </p:sp>
      <p:sp>
        <p:nvSpPr>
          <p:cNvPr id="30" name="Rectangle 11"/>
          <p:cNvSpPr>
            <a:spLocks noChangeArrowheads="1"/>
          </p:cNvSpPr>
          <p:nvPr/>
        </p:nvSpPr>
        <p:spPr bwMode="auto">
          <a:xfrm>
            <a:off x="2602982" y="285728"/>
            <a:ext cx="928694" cy="506411"/>
          </a:xfrm>
          <a:prstGeom prst="rect">
            <a:avLst/>
          </a:prstGeom>
          <a:solidFill>
            <a:srgbClr val="7F7F7F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pd offshore</a:t>
            </a:r>
            <a:endParaRPr lang="de-DE" sz="10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Rectangle 4"/>
          <p:cNvSpPr txBox="1">
            <a:spLocks noChangeArrowheads="1"/>
          </p:cNvSpPr>
          <p:nvPr/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 sz="1600">
                <a:solidFill>
                  <a:srgbClr val="003399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15.09.2009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"/>
          <p:cNvSpPr>
            <a:spLocks noGrp="1" noChangeArrowheads="1"/>
          </p:cNvSpPr>
          <p:nvPr>
            <p:ph type="title"/>
          </p:nvPr>
        </p:nvSpPr>
        <p:spPr>
          <a:xfrm>
            <a:off x="428596" y="2536730"/>
            <a:ext cx="5638800" cy="400048"/>
          </a:xfrm>
        </p:spPr>
        <p:txBody>
          <a:bodyPr/>
          <a:lstStyle/>
          <a:p>
            <a:pPr eaLnBrk="1" hangingPunct="1"/>
            <a:r>
              <a:rPr lang="de-DE" dirty="0" smtClean="0">
                <a:solidFill>
                  <a:srgbClr val="1C3E80"/>
                </a:solidFill>
              </a:rPr>
              <a:t>Construction Management</a:t>
            </a:r>
            <a:br>
              <a:rPr lang="de-DE" dirty="0" smtClean="0">
                <a:solidFill>
                  <a:srgbClr val="1C3E80"/>
                </a:solidFill>
              </a:rPr>
            </a:br>
            <a:r>
              <a:rPr lang="de-DE" dirty="0" smtClean="0">
                <a:solidFill>
                  <a:srgbClr val="1C3E80"/>
                </a:solidFill>
              </a:rPr>
              <a:t>Quality Control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00034" y="3184825"/>
            <a:ext cx="2643206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actory Audits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aterial testing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elding tests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ating monitoring</a:t>
            </a:r>
          </a:p>
          <a:p>
            <a:pPr marL="271463" indent="-271463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Factory acceptance tests</a:t>
            </a:r>
          </a:p>
        </p:txBody>
      </p:sp>
      <p:sp>
        <p:nvSpPr>
          <p:cNvPr id="24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 algn="r">
              <a:defRPr sz="1600">
                <a:solidFill>
                  <a:srgbClr val="003399"/>
                </a:solidFill>
              </a:defRPr>
            </a:lvl1pPr>
          </a:lstStyle>
          <a:p>
            <a:pPr>
              <a:defRPr/>
            </a:pPr>
            <a:r>
              <a:rPr lang="de-DE" sz="1200" dirty="0" smtClean="0"/>
              <a:t>M. Lehnhoff - </a:t>
            </a:r>
            <a:fld id="{9B14A407-9605-4482-A08C-36DA899A9178}" type="slidenum">
              <a:rPr lang="de-DE" sz="1200" smtClean="0"/>
              <a:pPr>
                <a:defRPr/>
              </a:pPr>
              <a:t>16</a:t>
            </a:fld>
            <a:endParaRPr lang="de-DE" sz="1200" dirty="0"/>
          </a:p>
        </p:txBody>
      </p:sp>
      <p:grpSp>
        <p:nvGrpSpPr>
          <p:cNvPr id="2" name="Group 63"/>
          <p:cNvGrpSpPr/>
          <p:nvPr/>
        </p:nvGrpSpPr>
        <p:grpSpPr>
          <a:xfrm>
            <a:off x="521549" y="782000"/>
            <a:ext cx="5048407" cy="1452136"/>
            <a:chOff x="682625" y="2933694"/>
            <a:chExt cx="7759717" cy="2232025"/>
          </a:xfrm>
        </p:grpSpPr>
        <p:sp>
          <p:nvSpPr>
            <p:cNvPr id="46" name="Rectangle 11"/>
            <p:cNvSpPr>
              <a:spLocks noChangeArrowheads="1"/>
            </p:cNvSpPr>
            <p:nvPr/>
          </p:nvSpPr>
          <p:spPr bwMode="auto">
            <a:xfrm>
              <a:off x="682625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sz="1000" b="1">
                  <a:solidFill>
                    <a:schemeClr val="bg1"/>
                  </a:solidFill>
                </a:rPr>
                <a:t>Project</a:t>
              </a:r>
            </a:p>
            <a:p>
              <a:pPr algn="ctr" eaLnBrk="0" hangingPunct="0">
                <a:defRPr/>
              </a:pPr>
              <a:r>
                <a:rPr lang="de-DE" sz="1000" b="1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47" name="Rectangle 12"/>
            <p:cNvSpPr>
              <a:spLocks noChangeArrowheads="1"/>
            </p:cNvSpPr>
            <p:nvPr/>
          </p:nvSpPr>
          <p:spPr bwMode="auto">
            <a:xfrm>
              <a:off x="2266950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IRPP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auto">
            <a:xfrm>
              <a:off x="3854450" y="3292469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Service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cxnSp>
          <p:nvCxnSpPr>
            <p:cNvPr id="50" name="AutoShape 17"/>
            <p:cNvCxnSpPr>
              <a:cxnSpLocks noChangeShapeType="1"/>
              <a:endCxn id="46" idx="0"/>
            </p:cNvCxnSpPr>
            <p:nvPr/>
          </p:nvCxnSpPr>
          <p:spPr bwMode="auto">
            <a:xfrm rot="5400000">
              <a:off x="2808287" y="1528757"/>
              <a:ext cx="358775" cy="3168650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1" name="AutoShape 18"/>
            <p:cNvCxnSpPr>
              <a:cxnSpLocks noChangeShapeType="1"/>
              <a:stCxn id="47" idx="0"/>
            </p:cNvCxnSpPr>
            <p:nvPr/>
          </p:nvCxnSpPr>
          <p:spPr bwMode="auto">
            <a:xfrm rot="16200000">
              <a:off x="3600450" y="2320919"/>
              <a:ext cx="358775" cy="1584325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2" name="AutoShape 22"/>
            <p:cNvCxnSpPr>
              <a:cxnSpLocks noChangeShapeType="1"/>
              <a:endCxn id="48" idx="0"/>
            </p:cNvCxnSpPr>
            <p:nvPr/>
          </p:nvCxnSpPr>
          <p:spPr bwMode="auto">
            <a:xfrm rot="16200000" flipH="1">
              <a:off x="4394200" y="3111494"/>
              <a:ext cx="358775" cy="3175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53" name="Rectangle 12"/>
            <p:cNvSpPr>
              <a:spLocks noChangeArrowheads="1"/>
            </p:cNvSpPr>
            <p:nvPr/>
          </p:nvSpPr>
          <p:spPr bwMode="auto">
            <a:xfrm>
              <a:off x="701658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ject</a:t>
              </a:r>
              <a:endParaRPr lang="en-GB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 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4" name="Rectangle 13"/>
            <p:cNvSpPr>
              <a:spLocks noChangeArrowheads="1"/>
            </p:cNvSpPr>
            <p:nvPr/>
          </p:nvSpPr>
          <p:spPr bwMode="auto">
            <a:xfrm>
              <a:off x="2285984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Design Basis</a:t>
              </a:r>
              <a:b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</a:b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&amp; Certific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5429256" y="4444994"/>
              <a:ext cx="1441450" cy="720725"/>
            </a:xfrm>
            <a:prstGeom prst="rect">
              <a:avLst/>
            </a:prstGeom>
            <a:solidFill>
              <a:srgbClr val="003399"/>
            </a:solidFill>
            <a:ln w="9525" algn="ctr">
              <a:solidFill>
                <a:srgbClr val="1C3E80"/>
              </a:solidFill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Construction</a:t>
              </a:r>
            </a:p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/>
          </p:nvSpPr>
          <p:spPr bwMode="auto">
            <a:xfrm>
              <a:off x="7000892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Oper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57" name="AutoShape 23"/>
            <p:cNvCxnSpPr>
              <a:cxnSpLocks noChangeShapeType="1"/>
              <a:stCxn id="48" idx="2"/>
              <a:endCxn id="54" idx="0"/>
            </p:cNvCxnSpPr>
            <p:nvPr/>
          </p:nvCxnSpPr>
          <p:spPr bwMode="auto">
            <a:xfrm rot="5400000">
              <a:off x="3575042" y="3444861"/>
              <a:ext cx="431800" cy="156846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8" name="AutoShape 24"/>
            <p:cNvCxnSpPr>
              <a:cxnSpLocks noChangeShapeType="1"/>
              <a:stCxn id="48" idx="2"/>
              <a:endCxn id="61" idx="0"/>
            </p:cNvCxnSpPr>
            <p:nvPr/>
          </p:nvCxnSpPr>
          <p:spPr bwMode="auto">
            <a:xfrm rot="16200000" flipH="1">
              <a:off x="4368791" y="4219578"/>
              <a:ext cx="415938" cy="317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9" name="AutoShape 25"/>
            <p:cNvCxnSpPr>
              <a:cxnSpLocks noChangeShapeType="1"/>
              <a:stCxn id="48" idx="2"/>
              <a:endCxn id="55" idx="0"/>
            </p:cNvCxnSpPr>
            <p:nvPr/>
          </p:nvCxnSpPr>
          <p:spPr bwMode="auto">
            <a:xfrm rot="16200000" flipH="1">
              <a:off x="5146678" y="3441691"/>
              <a:ext cx="431800" cy="157480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60" name="AutoShape 26"/>
            <p:cNvCxnSpPr>
              <a:cxnSpLocks noChangeShapeType="1"/>
              <a:stCxn id="48" idx="2"/>
              <a:endCxn id="56" idx="0"/>
            </p:cNvCxnSpPr>
            <p:nvPr/>
          </p:nvCxnSpPr>
          <p:spPr bwMode="auto">
            <a:xfrm rot="16200000" flipH="1">
              <a:off x="5932496" y="2655873"/>
              <a:ext cx="431800" cy="314644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61" name="Rectangle 14"/>
            <p:cNvSpPr>
              <a:spLocks noChangeArrowheads="1"/>
            </p:cNvSpPr>
            <p:nvPr/>
          </p:nvSpPr>
          <p:spPr bwMode="auto">
            <a:xfrm>
              <a:off x="3857620" y="4429132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curement</a:t>
              </a:r>
              <a:endParaRPr lang="de-DE" sz="1000" b="1" dirty="0" smtClean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62" name="Gewinkelte Verbindung 26"/>
            <p:cNvCxnSpPr>
              <a:stCxn id="48" idx="2"/>
              <a:endCxn id="53" idx="0"/>
            </p:cNvCxnSpPr>
            <p:nvPr/>
          </p:nvCxnSpPr>
          <p:spPr bwMode="auto">
            <a:xfrm rot="5400000">
              <a:off x="2782879" y="2652698"/>
              <a:ext cx="431800" cy="315279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14678" y="4199335"/>
            <a:ext cx="2855292" cy="18728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57950" y="2214554"/>
            <a:ext cx="2163865" cy="1000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57950" y="3292004"/>
            <a:ext cx="2143140" cy="27802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2602982" y="285728"/>
            <a:ext cx="928694" cy="506411"/>
          </a:xfrm>
          <a:prstGeom prst="rect">
            <a:avLst/>
          </a:prstGeom>
          <a:solidFill>
            <a:srgbClr val="7F7F7F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pd offshore</a:t>
            </a:r>
            <a:endParaRPr lang="de-DE" sz="10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Rectangle 4"/>
          <p:cNvSpPr txBox="1">
            <a:spLocks noChangeArrowheads="1"/>
          </p:cNvSpPr>
          <p:nvPr/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 sz="1600">
                <a:solidFill>
                  <a:srgbClr val="003399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15.09.2009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 algn="r">
              <a:defRPr sz="1600">
                <a:solidFill>
                  <a:srgbClr val="003399"/>
                </a:solidFill>
              </a:defRPr>
            </a:lvl1pPr>
          </a:lstStyle>
          <a:p>
            <a:pPr>
              <a:defRPr/>
            </a:pPr>
            <a:r>
              <a:rPr lang="de-DE" sz="1200" dirty="0" smtClean="0"/>
              <a:t>M. Lehnhoff - </a:t>
            </a:r>
            <a:fld id="{9B14A407-9605-4482-A08C-36DA899A9178}" type="slidenum">
              <a:rPr lang="de-DE" sz="1200" smtClean="0"/>
              <a:pPr>
                <a:defRPr/>
              </a:pPr>
              <a:t>17</a:t>
            </a:fld>
            <a:endParaRPr lang="de-DE" sz="1200" dirty="0"/>
          </a:p>
        </p:txBody>
      </p:sp>
      <p:grpSp>
        <p:nvGrpSpPr>
          <p:cNvPr id="2" name="Group 63"/>
          <p:cNvGrpSpPr/>
          <p:nvPr/>
        </p:nvGrpSpPr>
        <p:grpSpPr>
          <a:xfrm>
            <a:off x="521549" y="782000"/>
            <a:ext cx="5048407" cy="1452136"/>
            <a:chOff x="682625" y="2933694"/>
            <a:chExt cx="7759717" cy="2232025"/>
          </a:xfrm>
        </p:grpSpPr>
        <p:sp>
          <p:nvSpPr>
            <p:cNvPr id="46" name="Rectangle 11"/>
            <p:cNvSpPr>
              <a:spLocks noChangeArrowheads="1"/>
            </p:cNvSpPr>
            <p:nvPr/>
          </p:nvSpPr>
          <p:spPr bwMode="auto">
            <a:xfrm>
              <a:off x="682625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sz="1000" b="1" dirty="0">
                  <a:solidFill>
                    <a:schemeClr val="bg1"/>
                  </a:solidFill>
                </a:rPr>
                <a:t>Project</a:t>
              </a:r>
            </a:p>
            <a:p>
              <a:pPr algn="ctr" eaLnBrk="0" hangingPunct="0">
                <a:defRPr/>
              </a:pPr>
              <a:r>
                <a:rPr lang="de-DE" sz="1000" b="1" dirty="0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47" name="Rectangle 12"/>
            <p:cNvSpPr>
              <a:spLocks noChangeArrowheads="1"/>
            </p:cNvSpPr>
            <p:nvPr/>
          </p:nvSpPr>
          <p:spPr bwMode="auto">
            <a:xfrm>
              <a:off x="2266950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IRPP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auto">
            <a:xfrm>
              <a:off x="3854450" y="3292469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Service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cxnSp>
          <p:nvCxnSpPr>
            <p:cNvPr id="50" name="AutoShape 17"/>
            <p:cNvCxnSpPr>
              <a:cxnSpLocks noChangeShapeType="1"/>
              <a:endCxn id="46" idx="0"/>
            </p:cNvCxnSpPr>
            <p:nvPr/>
          </p:nvCxnSpPr>
          <p:spPr bwMode="auto">
            <a:xfrm rot="5400000">
              <a:off x="2808287" y="1528757"/>
              <a:ext cx="358775" cy="3168650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1" name="AutoShape 18"/>
            <p:cNvCxnSpPr>
              <a:cxnSpLocks noChangeShapeType="1"/>
              <a:stCxn id="47" idx="0"/>
            </p:cNvCxnSpPr>
            <p:nvPr/>
          </p:nvCxnSpPr>
          <p:spPr bwMode="auto">
            <a:xfrm rot="16200000">
              <a:off x="3600450" y="2320919"/>
              <a:ext cx="358775" cy="1584325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2" name="AutoShape 22"/>
            <p:cNvCxnSpPr>
              <a:cxnSpLocks noChangeShapeType="1"/>
              <a:endCxn id="48" idx="0"/>
            </p:cNvCxnSpPr>
            <p:nvPr/>
          </p:nvCxnSpPr>
          <p:spPr bwMode="auto">
            <a:xfrm rot="16200000" flipH="1">
              <a:off x="4394200" y="3111494"/>
              <a:ext cx="358775" cy="3175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53" name="Rectangle 12"/>
            <p:cNvSpPr>
              <a:spLocks noChangeArrowheads="1"/>
            </p:cNvSpPr>
            <p:nvPr/>
          </p:nvSpPr>
          <p:spPr bwMode="auto">
            <a:xfrm>
              <a:off x="701658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ject</a:t>
              </a:r>
              <a:endParaRPr lang="en-GB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 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4" name="Rectangle 13"/>
            <p:cNvSpPr>
              <a:spLocks noChangeArrowheads="1"/>
            </p:cNvSpPr>
            <p:nvPr/>
          </p:nvSpPr>
          <p:spPr bwMode="auto">
            <a:xfrm>
              <a:off x="2285984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Design Basis</a:t>
              </a:r>
              <a:b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</a:b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&amp; Certific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5429256" y="4444994"/>
              <a:ext cx="1441450" cy="720725"/>
            </a:xfrm>
            <a:prstGeom prst="rect">
              <a:avLst/>
            </a:prstGeom>
            <a:solidFill>
              <a:srgbClr val="003399"/>
            </a:solidFill>
            <a:ln w="9525" algn="ctr">
              <a:solidFill>
                <a:srgbClr val="1C3E80"/>
              </a:solidFill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Construction</a:t>
              </a:r>
            </a:p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/>
          </p:nvSpPr>
          <p:spPr bwMode="auto">
            <a:xfrm>
              <a:off x="7000892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Oper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57" name="AutoShape 23"/>
            <p:cNvCxnSpPr>
              <a:cxnSpLocks noChangeShapeType="1"/>
              <a:stCxn id="48" idx="2"/>
              <a:endCxn id="54" idx="0"/>
            </p:cNvCxnSpPr>
            <p:nvPr/>
          </p:nvCxnSpPr>
          <p:spPr bwMode="auto">
            <a:xfrm rot="5400000">
              <a:off x="3575042" y="3444861"/>
              <a:ext cx="431800" cy="156846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8" name="AutoShape 24"/>
            <p:cNvCxnSpPr>
              <a:cxnSpLocks noChangeShapeType="1"/>
              <a:stCxn id="48" idx="2"/>
              <a:endCxn id="61" idx="0"/>
            </p:cNvCxnSpPr>
            <p:nvPr/>
          </p:nvCxnSpPr>
          <p:spPr bwMode="auto">
            <a:xfrm rot="16200000" flipH="1">
              <a:off x="4368791" y="4219578"/>
              <a:ext cx="415938" cy="317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9" name="AutoShape 25"/>
            <p:cNvCxnSpPr>
              <a:cxnSpLocks noChangeShapeType="1"/>
              <a:stCxn id="48" idx="2"/>
              <a:endCxn id="55" idx="0"/>
            </p:cNvCxnSpPr>
            <p:nvPr/>
          </p:nvCxnSpPr>
          <p:spPr bwMode="auto">
            <a:xfrm rot="16200000" flipH="1">
              <a:off x="5146678" y="3441691"/>
              <a:ext cx="431800" cy="157480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60" name="AutoShape 26"/>
            <p:cNvCxnSpPr>
              <a:cxnSpLocks noChangeShapeType="1"/>
              <a:stCxn id="48" idx="2"/>
              <a:endCxn id="56" idx="0"/>
            </p:cNvCxnSpPr>
            <p:nvPr/>
          </p:nvCxnSpPr>
          <p:spPr bwMode="auto">
            <a:xfrm rot="16200000" flipH="1">
              <a:off x="5932496" y="2655873"/>
              <a:ext cx="431800" cy="314644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61" name="Rectangle 14"/>
            <p:cNvSpPr>
              <a:spLocks noChangeArrowheads="1"/>
            </p:cNvSpPr>
            <p:nvPr/>
          </p:nvSpPr>
          <p:spPr bwMode="auto">
            <a:xfrm>
              <a:off x="3857620" y="4429132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curement</a:t>
              </a:r>
              <a:endParaRPr lang="de-DE" sz="1000" b="1" dirty="0" smtClean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62" name="Gewinkelte Verbindung 26"/>
            <p:cNvCxnSpPr>
              <a:stCxn id="48" idx="2"/>
              <a:endCxn id="53" idx="0"/>
            </p:cNvCxnSpPr>
            <p:nvPr/>
          </p:nvCxnSpPr>
          <p:spPr bwMode="auto">
            <a:xfrm rot="5400000">
              <a:off x="2782879" y="2652698"/>
              <a:ext cx="431800" cy="315279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3" cstate="print"/>
          <a:srcRect t="21911" b="18122"/>
          <a:stretch>
            <a:fillRect/>
          </a:stretch>
        </p:blipFill>
        <p:spPr bwMode="auto">
          <a:xfrm>
            <a:off x="3071802" y="4572008"/>
            <a:ext cx="3190897" cy="1428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Rectangle 2"/>
          <p:cNvSpPr>
            <a:spLocks noGrp="1" noChangeArrowheads="1"/>
          </p:cNvSpPr>
          <p:nvPr>
            <p:ph type="title"/>
          </p:nvPr>
        </p:nvSpPr>
        <p:spPr>
          <a:xfrm>
            <a:off x="428596" y="2536730"/>
            <a:ext cx="5638800" cy="400048"/>
          </a:xfrm>
        </p:spPr>
        <p:txBody>
          <a:bodyPr/>
          <a:lstStyle/>
          <a:p>
            <a:pPr eaLnBrk="1" hangingPunct="1"/>
            <a:r>
              <a:rPr lang="de-DE" dirty="0" smtClean="0">
                <a:solidFill>
                  <a:srgbClr val="1C3E80"/>
                </a:solidFill>
              </a:rPr>
              <a:t>Construction Management</a:t>
            </a:r>
            <a:br>
              <a:rPr lang="de-DE" dirty="0" smtClean="0">
                <a:solidFill>
                  <a:srgbClr val="1C3E80"/>
                </a:solidFill>
              </a:rPr>
            </a:br>
            <a:r>
              <a:rPr lang="de-DE" dirty="0" smtClean="0">
                <a:solidFill>
                  <a:srgbClr val="1C3E80"/>
                </a:solidFill>
              </a:rPr>
              <a:t>Transport &amp; Installation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500034" y="3160612"/>
            <a:ext cx="6286544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ogistics for harbours, transport or accommodation vessels, construction vessels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sv-SE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ite Management for preassembly, transport, installation and commissioning offshore until complete take-over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endParaRPr lang="sv-SE" sz="1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1472" y="4572008"/>
            <a:ext cx="1923034" cy="14374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58016" y="1872451"/>
            <a:ext cx="1639973" cy="26281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2602982" y="285728"/>
            <a:ext cx="928694" cy="506411"/>
          </a:xfrm>
          <a:prstGeom prst="rect">
            <a:avLst/>
          </a:prstGeom>
          <a:solidFill>
            <a:srgbClr val="7F7F7F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pd offshore</a:t>
            </a:r>
            <a:endParaRPr lang="de-DE" sz="10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Rectangle 4"/>
          <p:cNvSpPr txBox="1">
            <a:spLocks noChangeArrowheads="1"/>
          </p:cNvSpPr>
          <p:nvPr/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 sz="1600">
                <a:solidFill>
                  <a:srgbClr val="003399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15.09.2009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 algn="r">
              <a:defRPr sz="1600">
                <a:solidFill>
                  <a:srgbClr val="003399"/>
                </a:solidFill>
              </a:defRPr>
            </a:lvl1pPr>
          </a:lstStyle>
          <a:p>
            <a:pPr>
              <a:defRPr/>
            </a:pPr>
            <a:r>
              <a:rPr lang="de-DE" sz="1200" dirty="0" smtClean="0"/>
              <a:t>M. Lehnhoff - </a:t>
            </a:r>
            <a:fld id="{9B14A407-9605-4482-A08C-36DA899A9178}" type="slidenum">
              <a:rPr lang="de-DE" sz="1200" smtClean="0"/>
              <a:pPr>
                <a:defRPr/>
              </a:pPr>
              <a:t>18</a:t>
            </a:fld>
            <a:endParaRPr lang="de-DE" sz="1200" dirty="0"/>
          </a:p>
        </p:txBody>
      </p:sp>
      <p:grpSp>
        <p:nvGrpSpPr>
          <p:cNvPr id="2" name="Group 63"/>
          <p:cNvGrpSpPr/>
          <p:nvPr/>
        </p:nvGrpSpPr>
        <p:grpSpPr>
          <a:xfrm>
            <a:off x="521549" y="782000"/>
            <a:ext cx="5048407" cy="1452136"/>
            <a:chOff x="682625" y="2933694"/>
            <a:chExt cx="7759717" cy="2232025"/>
          </a:xfrm>
        </p:grpSpPr>
        <p:sp>
          <p:nvSpPr>
            <p:cNvPr id="46" name="Rectangle 11"/>
            <p:cNvSpPr>
              <a:spLocks noChangeArrowheads="1"/>
            </p:cNvSpPr>
            <p:nvPr/>
          </p:nvSpPr>
          <p:spPr bwMode="auto">
            <a:xfrm>
              <a:off x="682625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sz="1000" b="1">
                  <a:solidFill>
                    <a:schemeClr val="bg1"/>
                  </a:solidFill>
                </a:rPr>
                <a:t>Project</a:t>
              </a:r>
            </a:p>
            <a:p>
              <a:pPr algn="ctr" eaLnBrk="0" hangingPunct="0">
                <a:defRPr/>
              </a:pPr>
              <a:r>
                <a:rPr lang="de-DE" sz="1000" b="1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47" name="Rectangle 12"/>
            <p:cNvSpPr>
              <a:spLocks noChangeArrowheads="1"/>
            </p:cNvSpPr>
            <p:nvPr/>
          </p:nvSpPr>
          <p:spPr bwMode="auto">
            <a:xfrm>
              <a:off x="2266950" y="3292469"/>
              <a:ext cx="1441450" cy="720725"/>
            </a:xfrm>
            <a:prstGeom prst="rect">
              <a:avLst/>
            </a:prstGeom>
            <a:solidFill>
              <a:schemeClr val="accent3">
                <a:lumMod val="50000"/>
                <a:alpha val="50000"/>
              </a:scheme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IRPP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auto">
            <a:xfrm>
              <a:off x="3854450" y="3292469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Service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cxnSp>
          <p:nvCxnSpPr>
            <p:cNvPr id="50" name="AutoShape 17"/>
            <p:cNvCxnSpPr>
              <a:cxnSpLocks noChangeShapeType="1"/>
              <a:endCxn id="46" idx="0"/>
            </p:cNvCxnSpPr>
            <p:nvPr/>
          </p:nvCxnSpPr>
          <p:spPr bwMode="auto">
            <a:xfrm rot="5400000">
              <a:off x="2808287" y="1528757"/>
              <a:ext cx="358775" cy="3168650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1" name="AutoShape 18"/>
            <p:cNvCxnSpPr>
              <a:cxnSpLocks noChangeShapeType="1"/>
              <a:stCxn id="47" idx="0"/>
            </p:cNvCxnSpPr>
            <p:nvPr/>
          </p:nvCxnSpPr>
          <p:spPr bwMode="auto">
            <a:xfrm rot="16200000">
              <a:off x="3600450" y="2320919"/>
              <a:ext cx="358775" cy="1584325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2" name="AutoShape 22"/>
            <p:cNvCxnSpPr>
              <a:cxnSpLocks noChangeShapeType="1"/>
              <a:endCxn id="48" idx="0"/>
            </p:cNvCxnSpPr>
            <p:nvPr/>
          </p:nvCxnSpPr>
          <p:spPr bwMode="auto">
            <a:xfrm rot="16200000" flipH="1">
              <a:off x="4394200" y="3111494"/>
              <a:ext cx="358775" cy="3175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53" name="Rectangle 12"/>
            <p:cNvSpPr>
              <a:spLocks noChangeArrowheads="1"/>
            </p:cNvSpPr>
            <p:nvPr/>
          </p:nvSpPr>
          <p:spPr bwMode="auto">
            <a:xfrm>
              <a:off x="701658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ject</a:t>
              </a:r>
              <a:endParaRPr lang="en-GB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 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4" name="Rectangle 13"/>
            <p:cNvSpPr>
              <a:spLocks noChangeArrowheads="1"/>
            </p:cNvSpPr>
            <p:nvPr/>
          </p:nvSpPr>
          <p:spPr bwMode="auto">
            <a:xfrm>
              <a:off x="2285984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Design Basis</a:t>
              </a:r>
              <a:b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</a:b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&amp; Certific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5429256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Construction</a:t>
              </a:r>
            </a:p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Management</a:t>
              </a:r>
              <a:endParaRPr lang="de-DE" sz="1000" b="1" dirty="0" smtClean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/>
          </p:nvSpPr>
          <p:spPr bwMode="auto">
            <a:xfrm>
              <a:off x="7000892" y="4444994"/>
              <a:ext cx="1441450" cy="720725"/>
            </a:xfrm>
            <a:prstGeom prst="rect">
              <a:avLst/>
            </a:prstGeom>
            <a:solidFill>
              <a:srgbClr val="003399"/>
            </a:solidFill>
            <a:ln w="9525" algn="ctr">
              <a:solidFill>
                <a:srgbClr val="1C3E80"/>
              </a:solidFill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Oper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57" name="AutoShape 23"/>
            <p:cNvCxnSpPr>
              <a:cxnSpLocks noChangeShapeType="1"/>
              <a:stCxn id="48" idx="2"/>
              <a:endCxn id="54" idx="0"/>
            </p:cNvCxnSpPr>
            <p:nvPr/>
          </p:nvCxnSpPr>
          <p:spPr bwMode="auto">
            <a:xfrm rot="5400000">
              <a:off x="3575042" y="3444861"/>
              <a:ext cx="431800" cy="156846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8" name="AutoShape 24"/>
            <p:cNvCxnSpPr>
              <a:cxnSpLocks noChangeShapeType="1"/>
              <a:stCxn id="48" idx="2"/>
              <a:endCxn id="61" idx="0"/>
            </p:cNvCxnSpPr>
            <p:nvPr/>
          </p:nvCxnSpPr>
          <p:spPr bwMode="auto">
            <a:xfrm rot="16200000" flipH="1">
              <a:off x="4368791" y="4219578"/>
              <a:ext cx="415938" cy="317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9" name="AutoShape 25"/>
            <p:cNvCxnSpPr>
              <a:cxnSpLocks noChangeShapeType="1"/>
              <a:stCxn id="48" idx="2"/>
              <a:endCxn id="55" idx="0"/>
            </p:cNvCxnSpPr>
            <p:nvPr/>
          </p:nvCxnSpPr>
          <p:spPr bwMode="auto">
            <a:xfrm rot="16200000" flipH="1">
              <a:off x="5146678" y="3441691"/>
              <a:ext cx="431800" cy="157480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60" name="AutoShape 26"/>
            <p:cNvCxnSpPr>
              <a:cxnSpLocks noChangeShapeType="1"/>
              <a:stCxn id="48" idx="2"/>
              <a:endCxn id="56" idx="0"/>
            </p:cNvCxnSpPr>
            <p:nvPr/>
          </p:nvCxnSpPr>
          <p:spPr bwMode="auto">
            <a:xfrm rot="16200000" flipH="1">
              <a:off x="5932496" y="2655873"/>
              <a:ext cx="431800" cy="314644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61" name="Rectangle 14"/>
            <p:cNvSpPr>
              <a:spLocks noChangeArrowheads="1"/>
            </p:cNvSpPr>
            <p:nvPr/>
          </p:nvSpPr>
          <p:spPr bwMode="auto">
            <a:xfrm>
              <a:off x="3857620" y="4429132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curement</a:t>
              </a:r>
              <a:endParaRPr lang="de-DE" sz="1000" b="1" dirty="0" smtClean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62" name="Gewinkelte Verbindung 26"/>
            <p:cNvCxnSpPr>
              <a:stCxn id="48" idx="2"/>
              <a:endCxn id="53" idx="0"/>
            </p:cNvCxnSpPr>
            <p:nvPr/>
          </p:nvCxnSpPr>
          <p:spPr bwMode="auto">
            <a:xfrm rot="5400000">
              <a:off x="2782879" y="2652698"/>
              <a:ext cx="431800" cy="315279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86512" y="3965091"/>
            <a:ext cx="2286016" cy="1464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Rectangle 2"/>
          <p:cNvSpPr>
            <a:spLocks noGrp="1" noChangeArrowheads="1"/>
          </p:cNvSpPr>
          <p:nvPr>
            <p:ph type="title"/>
          </p:nvPr>
        </p:nvSpPr>
        <p:spPr>
          <a:xfrm>
            <a:off x="428596" y="2571744"/>
            <a:ext cx="5638800" cy="400048"/>
          </a:xfrm>
        </p:spPr>
        <p:txBody>
          <a:bodyPr/>
          <a:lstStyle/>
          <a:p>
            <a:pPr eaLnBrk="1" hangingPunct="1"/>
            <a:r>
              <a:rPr lang="de-DE" dirty="0" smtClean="0">
                <a:solidFill>
                  <a:srgbClr val="1C3E80"/>
                </a:solidFill>
              </a:rPr>
              <a:t>Operation Management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00034" y="2949333"/>
            <a:ext cx="6500858" cy="25006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chnical management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mercial management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ssistance according to service concept </a:t>
            </a:r>
            <a:b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(transport and installation vessels, disposals etc.)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inuous optimisation by evaluation of </a:t>
            </a:r>
            <a:b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operating and service data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endParaRPr lang="sv-SE" sz="1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endParaRPr lang="sv-SE" sz="1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86512" y="2000240"/>
            <a:ext cx="2290688" cy="15795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Rectangle 11"/>
          <p:cNvSpPr>
            <a:spLocks noChangeArrowheads="1"/>
          </p:cNvSpPr>
          <p:nvPr/>
        </p:nvSpPr>
        <p:spPr bwMode="auto">
          <a:xfrm>
            <a:off x="2602982" y="285728"/>
            <a:ext cx="928694" cy="506411"/>
          </a:xfrm>
          <a:prstGeom prst="rect">
            <a:avLst/>
          </a:prstGeom>
          <a:solidFill>
            <a:srgbClr val="7F7F7F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pd offshore</a:t>
            </a:r>
            <a:endParaRPr lang="de-DE" sz="10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Rectangle 4"/>
          <p:cNvSpPr txBox="1">
            <a:spLocks noChangeArrowheads="1"/>
          </p:cNvSpPr>
          <p:nvPr/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 sz="1600">
                <a:solidFill>
                  <a:srgbClr val="003399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15.09.2009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6"/>
          <p:cNvSpPr>
            <a:spLocks noGrp="1" noChangeArrowheads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 algn="r">
              <a:defRPr sz="1600">
                <a:solidFill>
                  <a:srgbClr val="003399"/>
                </a:solidFill>
              </a:defRPr>
            </a:lvl1pPr>
          </a:lstStyle>
          <a:p>
            <a:pPr>
              <a:defRPr/>
            </a:pPr>
            <a:r>
              <a:rPr lang="de-DE" sz="1200" dirty="0" smtClean="0"/>
              <a:t>M. Lehnhoff - </a:t>
            </a:r>
            <a:fld id="{9B14A407-9605-4482-A08C-36DA899A9178}" type="slidenum">
              <a:rPr lang="de-DE" sz="1200" smtClean="0"/>
              <a:pPr>
                <a:defRPr/>
              </a:pPr>
              <a:t>19</a:t>
            </a:fld>
            <a:endParaRPr lang="de-DE" sz="1200" dirty="0"/>
          </a:p>
        </p:txBody>
      </p:sp>
      <p:grpSp>
        <p:nvGrpSpPr>
          <p:cNvPr id="2" name="Group 63"/>
          <p:cNvGrpSpPr/>
          <p:nvPr/>
        </p:nvGrpSpPr>
        <p:grpSpPr>
          <a:xfrm>
            <a:off x="521549" y="782000"/>
            <a:ext cx="5048407" cy="1452136"/>
            <a:chOff x="682625" y="2933694"/>
            <a:chExt cx="7759717" cy="2232025"/>
          </a:xfrm>
        </p:grpSpPr>
        <p:sp>
          <p:nvSpPr>
            <p:cNvPr id="46" name="Rectangle 11"/>
            <p:cNvSpPr>
              <a:spLocks noChangeArrowheads="1"/>
            </p:cNvSpPr>
            <p:nvPr/>
          </p:nvSpPr>
          <p:spPr bwMode="auto">
            <a:xfrm>
              <a:off x="682625" y="3292469"/>
              <a:ext cx="1441450" cy="720725"/>
            </a:xfrm>
            <a:prstGeom prst="rect">
              <a:avLst/>
            </a:prstGeom>
            <a:solidFill>
              <a:srgbClr val="7F7F7F">
                <a:alpha val="50196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de-DE" sz="1000" b="1" dirty="0">
                  <a:solidFill>
                    <a:schemeClr val="bg1"/>
                  </a:solidFill>
                </a:rPr>
                <a:t>Project</a:t>
              </a:r>
            </a:p>
            <a:p>
              <a:pPr algn="ctr" eaLnBrk="0" hangingPunct="0">
                <a:defRPr/>
              </a:pPr>
              <a:r>
                <a:rPr lang="de-DE" sz="1000" b="1" dirty="0">
                  <a:solidFill>
                    <a:schemeClr val="bg1"/>
                  </a:solidFill>
                </a:rPr>
                <a:t>Development</a:t>
              </a:r>
            </a:p>
          </p:txBody>
        </p:sp>
        <p:sp>
          <p:nvSpPr>
            <p:cNvPr id="47" name="Rectangle 12"/>
            <p:cNvSpPr>
              <a:spLocks noChangeArrowheads="1"/>
            </p:cNvSpPr>
            <p:nvPr/>
          </p:nvSpPr>
          <p:spPr bwMode="auto">
            <a:xfrm>
              <a:off x="2266950" y="3292469"/>
              <a:ext cx="1441450" cy="720725"/>
            </a:xfrm>
            <a:prstGeom prst="rect">
              <a:avLst/>
            </a:prstGeom>
            <a:solidFill>
              <a:srgbClr val="7F7F7F">
                <a:alpha val="50196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IRPP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auto">
            <a:xfrm>
              <a:off x="3854450" y="3292469"/>
              <a:ext cx="1441450" cy="720725"/>
            </a:xfrm>
            <a:prstGeom prst="rect">
              <a:avLst/>
            </a:prstGeom>
            <a:solidFill>
              <a:srgbClr val="003399"/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>
                  <a:solidFill>
                    <a:schemeClr val="bg1"/>
                  </a:solidFill>
                </a:rPr>
                <a:t>Service</a:t>
              </a:r>
              <a:endParaRPr lang="de-DE" sz="1000" b="1">
                <a:solidFill>
                  <a:schemeClr val="bg1"/>
                </a:solidFill>
              </a:endParaRPr>
            </a:p>
          </p:txBody>
        </p:sp>
        <p:cxnSp>
          <p:nvCxnSpPr>
            <p:cNvPr id="50" name="AutoShape 17"/>
            <p:cNvCxnSpPr>
              <a:cxnSpLocks noChangeShapeType="1"/>
              <a:endCxn id="46" idx="0"/>
            </p:cNvCxnSpPr>
            <p:nvPr/>
          </p:nvCxnSpPr>
          <p:spPr bwMode="auto">
            <a:xfrm rot="5400000">
              <a:off x="2808287" y="1528757"/>
              <a:ext cx="358775" cy="3168650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1" name="AutoShape 18"/>
            <p:cNvCxnSpPr>
              <a:cxnSpLocks noChangeShapeType="1"/>
              <a:stCxn id="47" idx="0"/>
            </p:cNvCxnSpPr>
            <p:nvPr/>
          </p:nvCxnSpPr>
          <p:spPr bwMode="auto">
            <a:xfrm rot="16200000">
              <a:off x="3600450" y="2320919"/>
              <a:ext cx="358775" cy="1584325"/>
            </a:xfrm>
            <a:prstGeom prst="bentConnector3">
              <a:avLst>
                <a:gd name="adj1" fmla="val 50000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2" name="AutoShape 22"/>
            <p:cNvCxnSpPr>
              <a:cxnSpLocks noChangeShapeType="1"/>
              <a:endCxn id="48" idx="0"/>
            </p:cNvCxnSpPr>
            <p:nvPr/>
          </p:nvCxnSpPr>
          <p:spPr bwMode="auto">
            <a:xfrm rot="16200000" flipH="1">
              <a:off x="4394200" y="3111494"/>
              <a:ext cx="358775" cy="3175"/>
            </a:xfrm>
            <a:prstGeom prst="bentConnector3">
              <a:avLst>
                <a:gd name="adj1" fmla="val 49556"/>
              </a:avLst>
            </a:prstGeom>
            <a:noFill/>
            <a:ln w="6350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53" name="Rectangle 12"/>
            <p:cNvSpPr>
              <a:spLocks noChangeArrowheads="1"/>
            </p:cNvSpPr>
            <p:nvPr/>
          </p:nvSpPr>
          <p:spPr bwMode="auto">
            <a:xfrm>
              <a:off x="701658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ject</a:t>
              </a:r>
              <a:endParaRPr lang="en-GB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 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4" name="Rectangle 13"/>
            <p:cNvSpPr>
              <a:spLocks noChangeArrowheads="1"/>
            </p:cNvSpPr>
            <p:nvPr/>
          </p:nvSpPr>
          <p:spPr bwMode="auto">
            <a:xfrm>
              <a:off x="2285984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Design Basis</a:t>
              </a:r>
              <a:b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</a:b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</a:rPr>
                <a:t>&amp; Certific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</a:endParaRPr>
            </a:p>
          </p:txBody>
        </p:sp>
        <p:sp>
          <p:nvSpPr>
            <p:cNvPr id="55" name="Rectangle 14"/>
            <p:cNvSpPr>
              <a:spLocks noChangeArrowheads="1"/>
            </p:cNvSpPr>
            <p:nvPr/>
          </p:nvSpPr>
          <p:spPr bwMode="auto">
            <a:xfrm>
              <a:off x="5429256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Construction</a:t>
              </a:r>
            </a:p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Manag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sp>
          <p:nvSpPr>
            <p:cNvPr id="56" name="Rectangle 15"/>
            <p:cNvSpPr>
              <a:spLocks noChangeArrowheads="1"/>
            </p:cNvSpPr>
            <p:nvPr/>
          </p:nvSpPr>
          <p:spPr bwMode="auto">
            <a:xfrm>
              <a:off x="7000892" y="4444994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Operation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57" name="AutoShape 23"/>
            <p:cNvCxnSpPr>
              <a:cxnSpLocks noChangeShapeType="1"/>
              <a:stCxn id="48" idx="2"/>
              <a:endCxn id="54" idx="0"/>
            </p:cNvCxnSpPr>
            <p:nvPr/>
          </p:nvCxnSpPr>
          <p:spPr bwMode="auto">
            <a:xfrm rot="5400000">
              <a:off x="3575042" y="3444861"/>
              <a:ext cx="431800" cy="156846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8" name="AutoShape 24"/>
            <p:cNvCxnSpPr>
              <a:cxnSpLocks noChangeShapeType="1"/>
              <a:stCxn id="48" idx="2"/>
              <a:endCxn id="61" idx="0"/>
            </p:cNvCxnSpPr>
            <p:nvPr/>
          </p:nvCxnSpPr>
          <p:spPr bwMode="auto">
            <a:xfrm rot="16200000" flipH="1">
              <a:off x="4368791" y="4219578"/>
              <a:ext cx="415938" cy="3170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59" name="AutoShape 25"/>
            <p:cNvCxnSpPr>
              <a:cxnSpLocks noChangeShapeType="1"/>
              <a:stCxn id="48" idx="2"/>
              <a:endCxn id="55" idx="0"/>
            </p:cNvCxnSpPr>
            <p:nvPr/>
          </p:nvCxnSpPr>
          <p:spPr bwMode="auto">
            <a:xfrm rot="16200000" flipH="1">
              <a:off x="5146678" y="3441691"/>
              <a:ext cx="431800" cy="1574806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cxnSp>
          <p:nvCxnSpPr>
            <p:cNvPr id="60" name="AutoShape 26"/>
            <p:cNvCxnSpPr>
              <a:cxnSpLocks noChangeShapeType="1"/>
              <a:stCxn id="48" idx="2"/>
              <a:endCxn id="56" idx="0"/>
            </p:cNvCxnSpPr>
            <p:nvPr/>
          </p:nvCxnSpPr>
          <p:spPr bwMode="auto">
            <a:xfrm rot="16200000" flipH="1">
              <a:off x="5932496" y="2655873"/>
              <a:ext cx="431800" cy="3146442"/>
            </a:xfrm>
            <a:prstGeom prst="bentConnector3">
              <a:avLst>
                <a:gd name="adj1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cxnSp>
        <p:sp>
          <p:nvSpPr>
            <p:cNvPr id="61" name="Rectangle 14"/>
            <p:cNvSpPr>
              <a:spLocks noChangeArrowheads="1"/>
            </p:cNvSpPr>
            <p:nvPr/>
          </p:nvSpPr>
          <p:spPr bwMode="auto">
            <a:xfrm>
              <a:off x="3857620" y="4429132"/>
              <a:ext cx="1441450" cy="720725"/>
            </a:xfrm>
            <a:prstGeom prst="rect">
              <a:avLst/>
            </a:prstGeom>
            <a:solidFill>
              <a:srgbClr val="003399">
                <a:alpha val="60000"/>
              </a:srgbClr>
            </a:solidFill>
            <a:ln w="9525" algn="ctr">
              <a:noFill/>
              <a:miter lim="800000"/>
              <a:headEnd/>
              <a:tailEnd/>
            </a:ln>
            <a:effectLst>
              <a:outerShdw dist="38100" dir="2700000" algn="ctr" rotWithShape="0">
                <a:schemeClr val="bg2">
                  <a:alpha val="50000"/>
                </a:schemeClr>
              </a:outerShdw>
            </a:effectLst>
          </p:spPr>
          <p:txBody>
            <a:bodyPr wrap="none" anchor="ctr"/>
            <a:lstStyle/>
            <a:p>
              <a:pPr algn="ctr" eaLnBrk="0" hangingPunct="0">
                <a:defRPr/>
              </a:pPr>
              <a:r>
                <a:rPr lang="en-GB" sz="1000" b="1" dirty="0" smtClean="0">
                  <a:solidFill>
                    <a:schemeClr val="bg1"/>
                  </a:solidFill>
                  <a:latin typeface="Arial" pitchFamily="34" charset="0"/>
                  <a:cs typeface="+mn-cs"/>
                </a:rPr>
                <a:t>Procurement</a:t>
              </a:r>
              <a:endParaRPr lang="de-DE" sz="1000" b="1" dirty="0">
                <a:solidFill>
                  <a:schemeClr val="bg1"/>
                </a:solidFill>
                <a:latin typeface="Arial" pitchFamily="34" charset="0"/>
                <a:cs typeface="+mn-cs"/>
              </a:endParaRPr>
            </a:p>
          </p:txBody>
        </p:sp>
        <p:cxnSp>
          <p:nvCxnSpPr>
            <p:cNvPr id="62" name="Gewinkelte Verbindung 26"/>
            <p:cNvCxnSpPr>
              <a:stCxn id="48" idx="2"/>
              <a:endCxn id="53" idx="0"/>
            </p:cNvCxnSpPr>
            <p:nvPr/>
          </p:nvCxnSpPr>
          <p:spPr bwMode="auto">
            <a:xfrm rot="5400000">
              <a:off x="2782879" y="2652698"/>
              <a:ext cx="431800" cy="3152792"/>
            </a:xfrm>
            <a:prstGeom prst="bentConnector3">
              <a:avLst>
                <a:gd name="adj1" fmla="val 50000"/>
              </a:avLst>
            </a:prstGeom>
            <a:solidFill>
              <a:schemeClr val="accent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5" name="Rectangle 11"/>
          <p:cNvSpPr>
            <a:spLocks noChangeArrowheads="1"/>
          </p:cNvSpPr>
          <p:nvPr/>
        </p:nvSpPr>
        <p:spPr bwMode="auto">
          <a:xfrm>
            <a:off x="2602982" y="285728"/>
            <a:ext cx="928694" cy="506411"/>
          </a:xfrm>
          <a:prstGeom prst="rect">
            <a:avLst/>
          </a:prstGeom>
          <a:solidFill>
            <a:srgbClr val="7F7F7F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pd offshore</a:t>
            </a:r>
            <a:endParaRPr lang="de-DE" sz="10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Rectangle 2"/>
          <p:cNvSpPr>
            <a:spLocks noGrp="1" noChangeArrowheads="1"/>
          </p:cNvSpPr>
          <p:nvPr>
            <p:ph type="title"/>
          </p:nvPr>
        </p:nvSpPr>
        <p:spPr>
          <a:xfrm>
            <a:off x="428596" y="2536730"/>
            <a:ext cx="5638800" cy="400048"/>
          </a:xfrm>
        </p:spPr>
        <p:txBody>
          <a:bodyPr/>
          <a:lstStyle/>
          <a:p>
            <a:pPr eaLnBrk="1" hangingPunct="1"/>
            <a:r>
              <a:rPr lang="de-DE" dirty="0" smtClean="0">
                <a:solidFill>
                  <a:srgbClr val="1C3E80"/>
                </a:solidFill>
              </a:rPr>
              <a:t>The Team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500034" y="2928934"/>
            <a:ext cx="7786742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ell experienced team of engineers, lawyers, geologists and marine-, QA- and HSE experts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0 </a:t>
            </a: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mployees, </a:t>
            </a: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stantly growing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eam members bring in experience from several offshore projects such as: </a:t>
            </a:r>
            <a:r>
              <a:rPr lang="en-GB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tgrunden</a:t>
            </a: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Beatrice, Alpha Ventus, Baltic I, </a:t>
            </a:r>
            <a:r>
              <a:rPr lang="en-GB" sz="18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Kriegers</a:t>
            </a: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Flak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ast project management experience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r>
              <a:rPr lang="en-GB" sz="1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Know-how in desktop studies, design evaluations and manufacturing as well as installation survey</a:t>
            </a: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endParaRPr lang="sv-SE" sz="1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71463" lvl="3" indent="-271463" eaLnBrk="0" hangingPunct="0">
              <a:spcAft>
                <a:spcPts val="300"/>
              </a:spcAft>
              <a:buFont typeface="Arial" pitchFamily="34" charset="0"/>
              <a:buChar char="•"/>
              <a:tabLst>
                <a:tab pos="271463" algn="l"/>
              </a:tabLst>
              <a:defRPr/>
            </a:pPr>
            <a:endParaRPr lang="sv-SE" sz="18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8" name="Rectangle 4"/>
          <p:cNvSpPr txBox="1">
            <a:spLocks noChangeArrowheads="1"/>
          </p:cNvSpPr>
          <p:nvPr/>
        </p:nvSpPr>
        <p:spPr>
          <a:xfrm>
            <a:off x="685800" y="6248400"/>
            <a:ext cx="1905000" cy="457200"/>
          </a:xfrm>
          <a:prstGeom prst="rect">
            <a:avLst/>
          </a:prstGeom>
          <a:ln/>
        </p:spPr>
        <p:txBody>
          <a:bodyPr/>
          <a:lstStyle>
            <a:lvl1pPr>
              <a:defRPr sz="1600">
                <a:solidFill>
                  <a:srgbClr val="003399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charset="0"/>
              </a:rPr>
              <a:t>15.09.2009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>
                <a:latin typeface="Calibri" pitchFamily="34" charset="0"/>
                <a:cs typeface="Calibri" pitchFamily="34" charset="0"/>
              </a:rPr>
              <a:t>	</a:t>
            </a:r>
            <a:endParaRPr lang="de-DE" sz="4000" smtClean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21506" name="Picture 5" descr="factsGB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0050" y="1790700"/>
            <a:ext cx="7891463" cy="557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contac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1563" y="2743200"/>
            <a:ext cx="7772400" cy="4114800"/>
          </a:xfrm>
        </p:spPr>
        <p:txBody>
          <a:bodyPr/>
          <a:lstStyle/>
          <a:p>
            <a:pPr>
              <a:buFontTx/>
              <a:buNone/>
              <a:defRPr/>
            </a:pPr>
            <a:r>
              <a:rPr lang="sv-SE" dirty="0" smtClean="0">
                <a:solidFill>
                  <a:schemeClr val="tx2">
                    <a:lumMod val="95000"/>
                    <a:lumOff val="5000"/>
                  </a:schemeClr>
                </a:solidFill>
                <a:latin typeface="Calibri" pitchFamily="34" charset="0"/>
                <a:cs typeface="+mn-cs"/>
              </a:rPr>
              <a:t>Achim Berge			Martin Lehnhoff</a:t>
            </a:r>
          </a:p>
          <a:p>
            <a:pPr>
              <a:buFontTx/>
              <a:buNone/>
              <a:defRPr/>
            </a:pPr>
            <a:r>
              <a:rPr lang="sv-SE" sz="1600" dirty="0" smtClean="0">
                <a:solidFill>
                  <a:schemeClr val="tx2">
                    <a:lumMod val="95000"/>
                    <a:lumOff val="5000"/>
                  </a:schemeClr>
                </a:solidFill>
                <a:latin typeface="Calibri" pitchFamily="34" charset="0"/>
                <a:cs typeface="+mn-cs"/>
              </a:rPr>
              <a:t>Managing Director			Managing Director</a:t>
            </a:r>
          </a:p>
          <a:p>
            <a:pPr>
              <a:buFontTx/>
              <a:buNone/>
              <a:defRPr/>
            </a:pPr>
            <a:endParaRPr lang="sv-SE" sz="1600" dirty="0" smtClean="0">
              <a:solidFill>
                <a:schemeClr val="tx2">
                  <a:lumMod val="95000"/>
                  <a:lumOff val="5000"/>
                </a:schemeClr>
              </a:solidFill>
              <a:latin typeface="Calibri" pitchFamily="34" charset="0"/>
              <a:cs typeface="+mn-cs"/>
            </a:endParaRPr>
          </a:p>
          <a:p>
            <a:pPr>
              <a:buFontTx/>
              <a:buNone/>
              <a:defRPr/>
            </a:pPr>
            <a:r>
              <a:rPr lang="sv-SE" sz="1600" dirty="0" smtClean="0">
                <a:solidFill>
                  <a:schemeClr val="tx2">
                    <a:lumMod val="95000"/>
                    <a:lumOff val="5000"/>
                  </a:schemeClr>
                </a:solidFill>
                <a:latin typeface="Calibri" pitchFamily="34" charset="0"/>
                <a:cs typeface="+mn-cs"/>
              </a:rPr>
              <a:t>wpd offshore GmbH			wpd offshore service GmbH</a:t>
            </a:r>
          </a:p>
          <a:p>
            <a:pPr>
              <a:buFontTx/>
              <a:buNone/>
              <a:defRPr/>
            </a:pPr>
            <a:r>
              <a:rPr lang="sv-SE" sz="1600" dirty="0" smtClean="0">
                <a:solidFill>
                  <a:schemeClr val="tx2">
                    <a:lumMod val="95000"/>
                    <a:lumOff val="5000"/>
                  </a:schemeClr>
                </a:solidFill>
                <a:latin typeface="Calibri" pitchFamily="34" charset="0"/>
                <a:cs typeface="+mn-cs"/>
                <a:hlinkClick r:id="rId3"/>
              </a:rPr>
              <a:t>a.berge@wpd.de</a:t>
            </a:r>
            <a:r>
              <a:rPr lang="sv-SE" sz="1600" dirty="0" smtClean="0">
                <a:solidFill>
                  <a:schemeClr val="tx2">
                    <a:lumMod val="95000"/>
                    <a:lumOff val="5000"/>
                  </a:schemeClr>
                </a:solidFill>
                <a:latin typeface="Calibri" pitchFamily="34" charset="0"/>
                <a:cs typeface="+mn-cs"/>
              </a:rPr>
              <a:t>			</a:t>
            </a:r>
            <a:r>
              <a:rPr lang="sv-SE" sz="1600" dirty="0" smtClean="0">
                <a:solidFill>
                  <a:schemeClr val="tx2">
                    <a:lumMod val="95000"/>
                    <a:lumOff val="5000"/>
                  </a:schemeClr>
                </a:solidFill>
                <a:latin typeface="Calibri" pitchFamily="34" charset="0"/>
                <a:cs typeface="+mn-cs"/>
                <a:hlinkClick r:id="rId4"/>
              </a:rPr>
              <a:t>m.lehnhoff@wpd.de</a:t>
            </a:r>
            <a:endParaRPr lang="sv-SE" sz="1600" dirty="0" smtClean="0">
              <a:solidFill>
                <a:schemeClr val="tx2">
                  <a:lumMod val="95000"/>
                  <a:lumOff val="5000"/>
                </a:schemeClr>
              </a:solidFill>
              <a:latin typeface="Calibri" pitchFamily="34" charset="0"/>
              <a:cs typeface="+mn-cs"/>
            </a:endParaRPr>
          </a:p>
          <a:p>
            <a:pPr>
              <a:buFontTx/>
              <a:buNone/>
              <a:defRPr/>
            </a:pPr>
            <a:endParaRPr lang="sv-SE" sz="1600" dirty="0" smtClean="0">
              <a:solidFill>
                <a:schemeClr val="tx2">
                  <a:lumMod val="95000"/>
                  <a:lumOff val="5000"/>
                </a:schemeClr>
              </a:solidFill>
              <a:latin typeface="Calibri" pitchFamily="34" charset="0"/>
              <a:cs typeface="+mn-cs"/>
            </a:endParaRPr>
          </a:p>
          <a:p>
            <a:pPr>
              <a:buFontTx/>
              <a:buNone/>
              <a:defRPr/>
            </a:pPr>
            <a:r>
              <a:rPr lang="sv-SE" sz="1600" dirty="0" smtClean="0">
                <a:solidFill>
                  <a:schemeClr val="tx2">
                    <a:lumMod val="95000"/>
                    <a:lumOff val="5000"/>
                  </a:schemeClr>
                </a:solidFill>
                <a:latin typeface="Calibri" pitchFamily="34" charset="0"/>
                <a:cs typeface="+mn-cs"/>
              </a:rPr>
              <a:t>T+49 421 168 66 10			T+49 421 168 66 10</a:t>
            </a:r>
          </a:p>
          <a:p>
            <a:pPr>
              <a:buFontTx/>
              <a:buNone/>
              <a:defRPr/>
            </a:pPr>
            <a:r>
              <a:rPr lang="sv-SE" sz="1600" dirty="0" smtClean="0">
                <a:solidFill>
                  <a:schemeClr val="tx2">
                    <a:lumMod val="95000"/>
                    <a:lumOff val="5000"/>
                  </a:schemeClr>
                </a:solidFill>
                <a:latin typeface="Calibri" pitchFamily="34" charset="0"/>
                <a:cs typeface="+mn-cs"/>
                <a:hlinkClick r:id="rId5"/>
              </a:rPr>
              <a:t>www.wpd.de</a:t>
            </a:r>
            <a:r>
              <a:rPr lang="sv-SE" sz="1600" dirty="0" smtClean="0">
                <a:solidFill>
                  <a:schemeClr val="tx2">
                    <a:lumMod val="95000"/>
                    <a:lumOff val="5000"/>
                  </a:schemeClr>
                </a:solidFill>
                <a:latin typeface="Calibri" pitchFamily="34" charset="0"/>
                <a:cs typeface="+mn-cs"/>
              </a:rPr>
              <a:t>			</a:t>
            </a:r>
            <a:r>
              <a:rPr lang="sv-SE" sz="1600" dirty="0" smtClean="0">
                <a:solidFill>
                  <a:schemeClr val="tx2">
                    <a:lumMod val="95000"/>
                    <a:lumOff val="5000"/>
                  </a:schemeClr>
                </a:solidFill>
                <a:latin typeface="Calibri" pitchFamily="34" charset="0"/>
                <a:cs typeface="+mn-cs"/>
                <a:hlinkClick r:id="rId5"/>
              </a:rPr>
              <a:t>www.wpd.de</a:t>
            </a:r>
            <a:endParaRPr lang="sv-SE" sz="1600" dirty="0" smtClean="0">
              <a:solidFill>
                <a:schemeClr val="tx2">
                  <a:lumMod val="95000"/>
                  <a:lumOff val="5000"/>
                </a:schemeClr>
              </a:solidFill>
              <a:latin typeface="Calibri" pitchFamily="34" charset="0"/>
              <a:cs typeface="+mn-cs"/>
            </a:endParaRPr>
          </a:p>
          <a:p>
            <a:pPr>
              <a:buFontTx/>
              <a:buNone/>
              <a:defRPr/>
            </a:pPr>
            <a:endParaRPr lang="sv-SE" sz="1600" dirty="0" smtClean="0">
              <a:solidFill>
                <a:schemeClr val="tx2">
                  <a:lumMod val="95000"/>
                  <a:lumOff val="5000"/>
                </a:schemeClr>
              </a:solidFill>
              <a:latin typeface="Calibri" pitchFamily="34" charset="0"/>
              <a:cs typeface="+mn-cs"/>
            </a:endParaRPr>
          </a:p>
          <a:p>
            <a:pPr>
              <a:buFontTx/>
              <a:buNone/>
              <a:defRPr/>
            </a:pPr>
            <a:endParaRPr lang="sv-SE" sz="1600" dirty="0">
              <a:solidFill>
                <a:schemeClr val="tx2">
                  <a:lumMod val="95000"/>
                  <a:lumOff val="5000"/>
                </a:schemeClr>
              </a:solidFill>
              <a:latin typeface="Calibri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13"/>
          <p:cNvGrpSpPr>
            <a:grpSpLocks/>
          </p:cNvGrpSpPr>
          <p:nvPr/>
        </p:nvGrpSpPr>
        <p:grpSpPr bwMode="auto">
          <a:xfrm>
            <a:off x="2538599" y="1762124"/>
            <a:ext cx="4693972" cy="4000503"/>
            <a:chOff x="1781" y="-7"/>
            <a:chExt cx="3980" cy="3392"/>
          </a:xfrm>
          <a:solidFill>
            <a:srgbClr val="D2D2D2"/>
          </a:solidFill>
        </p:grpSpPr>
        <p:sp>
          <p:nvSpPr>
            <p:cNvPr id="120" name="Freeform 3"/>
            <p:cNvSpPr>
              <a:spLocks/>
            </p:cNvSpPr>
            <p:nvPr/>
          </p:nvSpPr>
          <p:spPr bwMode="auto">
            <a:xfrm>
              <a:off x="2898" y="2301"/>
              <a:ext cx="282" cy="175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21" name="Freeform 4"/>
            <p:cNvSpPr>
              <a:spLocks noEditPoints="1"/>
            </p:cNvSpPr>
            <p:nvPr/>
          </p:nvSpPr>
          <p:spPr bwMode="auto">
            <a:xfrm>
              <a:off x="2781" y="1792"/>
              <a:ext cx="228" cy="239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22" name="Freeform 5"/>
            <p:cNvSpPr>
              <a:spLocks/>
            </p:cNvSpPr>
            <p:nvPr/>
          </p:nvSpPr>
          <p:spPr bwMode="auto">
            <a:xfrm>
              <a:off x="2735" y="1962"/>
              <a:ext cx="218" cy="180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solidFill>
              <a:srgbClr val="B6C5E5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23" name="Freeform 6"/>
            <p:cNvSpPr>
              <a:spLocks/>
            </p:cNvSpPr>
            <p:nvPr/>
          </p:nvSpPr>
          <p:spPr bwMode="auto">
            <a:xfrm>
              <a:off x="2909" y="2085"/>
              <a:ext cx="48" cy="68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24" name="Freeform 7"/>
            <p:cNvSpPr>
              <a:spLocks/>
            </p:cNvSpPr>
            <p:nvPr/>
          </p:nvSpPr>
          <p:spPr bwMode="auto">
            <a:xfrm>
              <a:off x="3275" y="2007"/>
              <a:ext cx="400" cy="226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25" name="Freeform 8"/>
            <p:cNvSpPr>
              <a:spLocks noEditPoints="1"/>
            </p:cNvSpPr>
            <p:nvPr/>
          </p:nvSpPr>
          <p:spPr bwMode="auto">
            <a:xfrm>
              <a:off x="3065" y="1420"/>
              <a:ext cx="364" cy="278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26" name="Freeform 9"/>
            <p:cNvSpPr>
              <a:spLocks/>
            </p:cNvSpPr>
            <p:nvPr/>
          </p:nvSpPr>
          <p:spPr bwMode="auto">
            <a:xfrm>
              <a:off x="3361" y="2373"/>
              <a:ext cx="196" cy="138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27" name="Freeform 10"/>
            <p:cNvSpPr>
              <a:spLocks/>
            </p:cNvSpPr>
            <p:nvPr/>
          </p:nvSpPr>
          <p:spPr bwMode="auto">
            <a:xfrm>
              <a:off x="2970" y="2655"/>
              <a:ext cx="12" cy="7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4" y="5"/>
                </a:cxn>
                <a:cxn ang="0">
                  <a:pos x="6" y="5"/>
                </a:cxn>
                <a:cxn ang="0">
                  <a:pos x="9" y="3"/>
                </a:cxn>
                <a:cxn ang="0">
                  <a:pos x="4" y="1"/>
                </a:cxn>
              </a:cxnLst>
              <a:rect l="0" t="0" r="r" b="b"/>
              <a:pathLst>
                <a:path w="9" h="5">
                  <a:moveTo>
                    <a:pt x="4" y="1"/>
                  </a:moveTo>
                  <a:cubicBezTo>
                    <a:pt x="0" y="1"/>
                    <a:pt x="4" y="5"/>
                    <a:pt x="4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8" y="5"/>
                    <a:pt x="9" y="3"/>
                    <a:pt x="9" y="3"/>
                  </a:cubicBezTo>
                  <a:cubicBezTo>
                    <a:pt x="9" y="3"/>
                    <a:pt x="6" y="0"/>
                    <a:pt x="4" y="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28" name="Freeform 11"/>
            <p:cNvSpPr>
              <a:spLocks/>
            </p:cNvSpPr>
            <p:nvPr/>
          </p:nvSpPr>
          <p:spPr bwMode="auto">
            <a:xfrm>
              <a:off x="3112" y="2355"/>
              <a:ext cx="13" cy="13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4" y="0"/>
                </a:cxn>
                <a:cxn ang="0">
                  <a:pos x="2" y="7"/>
                </a:cxn>
                <a:cxn ang="0">
                  <a:pos x="6" y="10"/>
                </a:cxn>
                <a:cxn ang="0">
                  <a:pos x="9" y="9"/>
                </a:cxn>
                <a:cxn ang="0">
                  <a:pos x="7" y="0"/>
                </a:cxn>
              </a:cxnLst>
              <a:rect l="0" t="0" r="r" b="b"/>
              <a:pathLst>
                <a:path w="9" h="10">
                  <a:moveTo>
                    <a:pt x="7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0" y="4"/>
                    <a:pt x="2" y="7"/>
                  </a:cubicBezTo>
                  <a:cubicBezTo>
                    <a:pt x="4" y="9"/>
                    <a:pt x="6" y="10"/>
                    <a:pt x="6" y="10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29" name="Freeform 12"/>
            <p:cNvSpPr>
              <a:spLocks/>
            </p:cNvSpPr>
            <p:nvPr/>
          </p:nvSpPr>
          <p:spPr bwMode="auto">
            <a:xfrm>
              <a:off x="3117" y="2192"/>
              <a:ext cx="466" cy="232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30" name="Freeform 13"/>
            <p:cNvSpPr>
              <a:spLocks noEditPoints="1"/>
            </p:cNvSpPr>
            <p:nvPr/>
          </p:nvSpPr>
          <p:spPr bwMode="auto">
            <a:xfrm>
              <a:off x="3444" y="3326"/>
              <a:ext cx="31" cy="28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2" y="4"/>
                </a:cxn>
                <a:cxn ang="0">
                  <a:pos x="5" y="8"/>
                </a:cxn>
                <a:cxn ang="0">
                  <a:pos x="7" y="3"/>
                </a:cxn>
                <a:cxn ang="0">
                  <a:pos x="16" y="11"/>
                </a:cxn>
                <a:cxn ang="0">
                  <a:pos x="14" y="12"/>
                </a:cxn>
                <a:cxn ang="0">
                  <a:pos x="11" y="9"/>
                </a:cxn>
                <a:cxn ang="0">
                  <a:pos x="9" y="11"/>
                </a:cxn>
                <a:cxn ang="0">
                  <a:pos x="10" y="15"/>
                </a:cxn>
                <a:cxn ang="0">
                  <a:pos x="19" y="20"/>
                </a:cxn>
                <a:cxn ang="0">
                  <a:pos x="23" y="15"/>
                </a:cxn>
                <a:cxn ang="0">
                  <a:pos x="16" y="11"/>
                </a:cxn>
              </a:cxnLst>
              <a:rect l="0" t="0" r="r" b="b"/>
              <a:pathLst>
                <a:path w="23" h="20">
                  <a:moveTo>
                    <a:pt x="7" y="3"/>
                  </a:moveTo>
                  <a:cubicBezTo>
                    <a:pt x="0" y="0"/>
                    <a:pt x="2" y="4"/>
                    <a:pt x="2" y="4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9"/>
                    <a:pt x="15" y="5"/>
                    <a:pt x="7" y="3"/>
                  </a:cubicBezTo>
                  <a:close/>
                  <a:moveTo>
                    <a:pt x="16" y="11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5" y="20"/>
                    <a:pt x="19" y="20"/>
                  </a:cubicBezTo>
                  <a:cubicBezTo>
                    <a:pt x="23" y="20"/>
                    <a:pt x="23" y="15"/>
                    <a:pt x="23" y="15"/>
                  </a:cubicBezTo>
                  <a:lnTo>
                    <a:pt x="16" y="1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31" name="Freeform 14"/>
            <p:cNvSpPr>
              <a:spLocks noEditPoints="1"/>
            </p:cNvSpPr>
            <p:nvPr/>
          </p:nvSpPr>
          <p:spPr bwMode="auto">
            <a:xfrm>
              <a:off x="2225" y="1107"/>
              <a:ext cx="484" cy="908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solidFill>
              <a:srgbClr val="B6C5E5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32" name="Freeform 15"/>
            <p:cNvSpPr>
              <a:spLocks noEditPoints="1"/>
            </p:cNvSpPr>
            <p:nvPr/>
          </p:nvSpPr>
          <p:spPr bwMode="auto">
            <a:xfrm>
              <a:off x="2039" y="1517"/>
              <a:ext cx="277" cy="314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33" name="Freeform 16"/>
            <p:cNvSpPr>
              <a:spLocks noEditPoints="1"/>
            </p:cNvSpPr>
            <p:nvPr/>
          </p:nvSpPr>
          <p:spPr bwMode="auto">
            <a:xfrm>
              <a:off x="2269" y="1986"/>
              <a:ext cx="850" cy="883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solidFill>
              <a:srgbClr val="B6C5E5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34" name="Freeform 17"/>
            <p:cNvSpPr>
              <a:spLocks/>
            </p:cNvSpPr>
            <p:nvPr/>
          </p:nvSpPr>
          <p:spPr bwMode="auto">
            <a:xfrm>
              <a:off x="1781" y="2650"/>
              <a:ext cx="275" cy="456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solidFill>
              <a:srgbClr val="B6C5E5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35" name="Freeform 18"/>
            <p:cNvSpPr>
              <a:spLocks/>
            </p:cNvSpPr>
            <p:nvPr/>
          </p:nvSpPr>
          <p:spPr bwMode="auto">
            <a:xfrm>
              <a:off x="4810" y="3112"/>
              <a:ext cx="152" cy="145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36" name="Freeform 19"/>
            <p:cNvSpPr>
              <a:spLocks/>
            </p:cNvSpPr>
            <p:nvPr/>
          </p:nvSpPr>
          <p:spPr bwMode="auto">
            <a:xfrm>
              <a:off x="3506" y="2513"/>
              <a:ext cx="269" cy="231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37" name="Freeform 20"/>
            <p:cNvSpPr>
              <a:spLocks noEditPoints="1"/>
            </p:cNvSpPr>
            <p:nvPr/>
          </p:nvSpPr>
          <p:spPr bwMode="auto">
            <a:xfrm>
              <a:off x="3367" y="2403"/>
              <a:ext cx="380" cy="349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solidFill>
              <a:srgbClr val="B6C5E5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38" name="Freeform 22"/>
            <p:cNvSpPr>
              <a:spLocks/>
            </p:cNvSpPr>
            <p:nvPr/>
          </p:nvSpPr>
          <p:spPr bwMode="auto">
            <a:xfrm>
              <a:off x="3766" y="2725"/>
              <a:ext cx="137" cy="260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39" name="Freeform 23"/>
            <p:cNvSpPr>
              <a:spLocks/>
            </p:cNvSpPr>
            <p:nvPr/>
          </p:nvSpPr>
          <p:spPr bwMode="auto">
            <a:xfrm>
              <a:off x="3852" y="2730"/>
              <a:ext cx="171" cy="143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40" name="Freeform 24"/>
            <p:cNvSpPr>
              <a:spLocks noEditPoints="1"/>
            </p:cNvSpPr>
            <p:nvPr/>
          </p:nvSpPr>
          <p:spPr bwMode="auto">
            <a:xfrm>
              <a:off x="3229" y="419"/>
              <a:ext cx="496" cy="1219"/>
            </a:xfrm>
            <a:custGeom>
              <a:avLst/>
              <a:gdLst/>
              <a:ahLst/>
              <a:cxnLst>
                <a:cxn ang="0">
                  <a:pos x="336" y="111"/>
                </a:cxn>
                <a:cxn ang="0">
                  <a:pos x="305" y="38"/>
                </a:cxn>
                <a:cxn ang="0">
                  <a:pos x="247" y="2"/>
                </a:cxn>
                <a:cxn ang="0">
                  <a:pos x="194" y="36"/>
                </a:cxn>
                <a:cxn ang="0">
                  <a:pos x="136" y="151"/>
                </a:cxn>
                <a:cxn ang="0">
                  <a:pos x="98" y="268"/>
                </a:cxn>
                <a:cxn ang="0">
                  <a:pos x="33" y="410"/>
                </a:cxn>
                <a:cxn ang="0">
                  <a:pos x="41" y="538"/>
                </a:cxn>
                <a:cxn ang="0">
                  <a:pos x="12" y="671"/>
                </a:cxn>
                <a:cxn ang="0">
                  <a:pos x="9" y="707"/>
                </a:cxn>
                <a:cxn ang="0">
                  <a:pos x="18" y="737"/>
                </a:cxn>
                <a:cxn ang="0">
                  <a:pos x="37" y="779"/>
                </a:cxn>
                <a:cxn ang="0">
                  <a:pos x="52" y="826"/>
                </a:cxn>
                <a:cxn ang="0">
                  <a:pos x="64" y="871"/>
                </a:cxn>
                <a:cxn ang="0">
                  <a:pos x="106" y="895"/>
                </a:cxn>
                <a:cxn ang="0">
                  <a:pos x="172" y="847"/>
                </a:cxn>
                <a:cxn ang="0">
                  <a:pos x="197" y="756"/>
                </a:cxn>
                <a:cxn ang="0">
                  <a:pos x="196" y="719"/>
                </a:cxn>
                <a:cxn ang="0">
                  <a:pos x="192" y="677"/>
                </a:cxn>
                <a:cxn ang="0">
                  <a:pos x="226" y="648"/>
                </a:cxn>
                <a:cxn ang="0">
                  <a:pos x="237" y="628"/>
                </a:cxn>
                <a:cxn ang="0">
                  <a:pos x="267" y="592"/>
                </a:cxn>
                <a:cxn ang="0">
                  <a:pos x="216" y="557"/>
                </a:cxn>
                <a:cxn ang="0">
                  <a:pos x="193" y="502"/>
                </a:cxn>
                <a:cxn ang="0">
                  <a:pos x="201" y="450"/>
                </a:cxn>
                <a:cxn ang="0">
                  <a:pos x="207" y="432"/>
                </a:cxn>
                <a:cxn ang="0">
                  <a:pos x="225" y="405"/>
                </a:cxn>
                <a:cxn ang="0">
                  <a:pos x="233" y="375"/>
                </a:cxn>
                <a:cxn ang="0">
                  <a:pos x="262" y="357"/>
                </a:cxn>
                <a:cxn ang="0">
                  <a:pos x="290" y="333"/>
                </a:cxn>
                <a:cxn ang="0">
                  <a:pos x="309" y="283"/>
                </a:cxn>
                <a:cxn ang="0">
                  <a:pos x="307" y="221"/>
                </a:cxn>
                <a:cxn ang="0">
                  <a:pos x="329" y="199"/>
                </a:cxn>
                <a:cxn ang="0">
                  <a:pos x="365" y="195"/>
                </a:cxn>
                <a:cxn ang="0">
                  <a:pos x="14" y="718"/>
                </a:cxn>
                <a:cxn ang="0">
                  <a:pos x="207" y="765"/>
                </a:cxn>
                <a:cxn ang="0">
                  <a:pos x="190" y="816"/>
                </a:cxn>
                <a:cxn ang="0">
                  <a:pos x="208" y="788"/>
                </a:cxn>
                <a:cxn ang="0">
                  <a:pos x="277" y="731"/>
                </a:cxn>
                <a:cxn ang="0">
                  <a:pos x="248" y="746"/>
                </a:cxn>
                <a:cxn ang="0">
                  <a:pos x="253" y="787"/>
                </a:cxn>
                <a:cxn ang="0">
                  <a:pos x="277" y="750"/>
                </a:cxn>
                <a:cxn ang="0">
                  <a:pos x="281" y="712"/>
                </a:cxn>
                <a:cxn ang="0">
                  <a:pos x="281" y="689"/>
                </a:cxn>
                <a:cxn ang="0">
                  <a:pos x="243" y="630"/>
                </a:cxn>
                <a:cxn ang="0">
                  <a:pos x="258" y="630"/>
                </a:cxn>
                <a:cxn ang="0">
                  <a:pos x="247" y="656"/>
                </a:cxn>
                <a:cxn ang="0">
                  <a:pos x="251" y="636"/>
                </a:cxn>
                <a:cxn ang="0">
                  <a:pos x="241" y="554"/>
                </a:cxn>
                <a:cxn ang="0">
                  <a:pos x="256" y="573"/>
                </a:cxn>
                <a:cxn ang="0">
                  <a:pos x="195" y="740"/>
                </a:cxn>
                <a:cxn ang="0">
                  <a:pos x="205" y="485"/>
                </a:cxn>
                <a:cxn ang="0">
                  <a:pos x="214" y="425"/>
                </a:cxn>
                <a:cxn ang="0">
                  <a:pos x="294" y="343"/>
                </a:cxn>
                <a:cxn ang="0">
                  <a:pos x="307" y="241"/>
                </a:cxn>
                <a:cxn ang="0">
                  <a:pos x="312" y="222"/>
                </a:cxn>
                <a:cxn ang="0">
                  <a:pos x="325" y="217"/>
                </a:cxn>
                <a:cxn ang="0">
                  <a:pos x="356" y="200"/>
                </a:cxn>
              </a:cxnLst>
              <a:rect l="0" t="0" r="r" b="b"/>
              <a:pathLst>
                <a:path w="365" h="899">
                  <a:moveTo>
                    <a:pt x="364" y="188"/>
                  </a:moveTo>
                  <a:cubicBezTo>
                    <a:pt x="364" y="188"/>
                    <a:pt x="359" y="186"/>
                    <a:pt x="358" y="182"/>
                  </a:cubicBezTo>
                  <a:cubicBezTo>
                    <a:pt x="357" y="178"/>
                    <a:pt x="358" y="175"/>
                    <a:pt x="356" y="173"/>
                  </a:cubicBezTo>
                  <a:cubicBezTo>
                    <a:pt x="354" y="172"/>
                    <a:pt x="347" y="171"/>
                    <a:pt x="347" y="167"/>
                  </a:cubicBezTo>
                  <a:cubicBezTo>
                    <a:pt x="348" y="161"/>
                    <a:pt x="348" y="160"/>
                    <a:pt x="348" y="160"/>
                  </a:cubicBezTo>
                  <a:cubicBezTo>
                    <a:pt x="348" y="160"/>
                    <a:pt x="343" y="159"/>
                    <a:pt x="345" y="155"/>
                  </a:cubicBezTo>
                  <a:cubicBezTo>
                    <a:pt x="348" y="150"/>
                    <a:pt x="353" y="147"/>
                    <a:pt x="352" y="144"/>
                  </a:cubicBezTo>
                  <a:cubicBezTo>
                    <a:pt x="350" y="140"/>
                    <a:pt x="348" y="136"/>
                    <a:pt x="348" y="136"/>
                  </a:cubicBezTo>
                  <a:cubicBezTo>
                    <a:pt x="348" y="136"/>
                    <a:pt x="349" y="129"/>
                    <a:pt x="347" y="125"/>
                  </a:cubicBezTo>
                  <a:cubicBezTo>
                    <a:pt x="345" y="122"/>
                    <a:pt x="336" y="117"/>
                    <a:pt x="336" y="111"/>
                  </a:cubicBezTo>
                  <a:cubicBezTo>
                    <a:pt x="336" y="106"/>
                    <a:pt x="337" y="104"/>
                    <a:pt x="337" y="104"/>
                  </a:cubicBezTo>
                  <a:cubicBezTo>
                    <a:pt x="340" y="101"/>
                    <a:pt x="340" y="101"/>
                    <a:pt x="340" y="101"/>
                  </a:cubicBezTo>
                  <a:cubicBezTo>
                    <a:pt x="339" y="95"/>
                    <a:pt x="339" y="95"/>
                    <a:pt x="339" y="95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93"/>
                    <a:pt x="330" y="87"/>
                    <a:pt x="328" y="81"/>
                  </a:cubicBezTo>
                  <a:cubicBezTo>
                    <a:pt x="327" y="77"/>
                    <a:pt x="325" y="74"/>
                    <a:pt x="326" y="69"/>
                  </a:cubicBezTo>
                  <a:cubicBezTo>
                    <a:pt x="327" y="65"/>
                    <a:pt x="332" y="65"/>
                    <a:pt x="330" y="62"/>
                  </a:cubicBezTo>
                  <a:cubicBezTo>
                    <a:pt x="328" y="59"/>
                    <a:pt x="319" y="50"/>
                    <a:pt x="319" y="50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53"/>
                    <a:pt x="314" y="43"/>
                    <a:pt x="305" y="38"/>
                  </a:cubicBezTo>
                  <a:cubicBezTo>
                    <a:pt x="295" y="33"/>
                    <a:pt x="282" y="31"/>
                    <a:pt x="282" y="31"/>
                  </a:cubicBezTo>
                  <a:cubicBezTo>
                    <a:pt x="278" y="27"/>
                    <a:pt x="278" y="27"/>
                    <a:pt x="278" y="27"/>
                  </a:cubicBezTo>
                  <a:cubicBezTo>
                    <a:pt x="274" y="27"/>
                    <a:pt x="274" y="27"/>
                    <a:pt x="274" y="27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0" y="5"/>
                    <a:pt x="250" y="5"/>
                    <a:pt x="250" y="5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30" y="2"/>
                    <a:pt x="237" y="11"/>
                    <a:pt x="238" y="17"/>
                  </a:cubicBezTo>
                  <a:cubicBezTo>
                    <a:pt x="239" y="25"/>
                    <a:pt x="231" y="34"/>
                    <a:pt x="231" y="34"/>
                  </a:cubicBezTo>
                  <a:cubicBezTo>
                    <a:pt x="239" y="38"/>
                    <a:pt x="239" y="38"/>
                    <a:pt x="239" y="38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198" y="41"/>
                    <a:pt x="198" y="41"/>
                    <a:pt x="198" y="41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9" y="56"/>
                    <a:pt x="188" y="61"/>
                  </a:cubicBezTo>
                  <a:cubicBezTo>
                    <a:pt x="186" y="66"/>
                    <a:pt x="183" y="77"/>
                    <a:pt x="183" y="77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4"/>
                    <a:pt x="149" y="101"/>
                    <a:pt x="149" y="106"/>
                  </a:cubicBezTo>
                  <a:cubicBezTo>
                    <a:pt x="148" y="111"/>
                    <a:pt x="140" y="109"/>
                    <a:pt x="140" y="109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7" y="127"/>
                    <a:pt x="148" y="135"/>
                  </a:cubicBezTo>
                  <a:cubicBezTo>
                    <a:pt x="150" y="141"/>
                    <a:pt x="144" y="143"/>
                    <a:pt x="136" y="151"/>
                  </a:cubicBezTo>
                  <a:cubicBezTo>
                    <a:pt x="130" y="157"/>
                    <a:pt x="132" y="162"/>
                    <a:pt x="130" y="169"/>
                  </a:cubicBezTo>
                  <a:cubicBezTo>
                    <a:pt x="128" y="175"/>
                    <a:pt x="123" y="176"/>
                    <a:pt x="123" y="176"/>
                  </a:cubicBezTo>
                  <a:cubicBezTo>
                    <a:pt x="126" y="189"/>
                    <a:pt x="126" y="189"/>
                    <a:pt x="126" y="18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00" y="201"/>
                    <a:pt x="100" y="201"/>
                    <a:pt x="100" y="201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03" y="253"/>
                    <a:pt x="103" y="253"/>
                    <a:pt x="103" y="253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79" y="300"/>
                    <a:pt x="79" y="300"/>
                    <a:pt x="79" y="300"/>
                  </a:cubicBezTo>
                  <a:cubicBezTo>
                    <a:pt x="93" y="310"/>
                    <a:pt x="93" y="310"/>
                    <a:pt x="93" y="310"/>
                  </a:cubicBezTo>
                  <a:cubicBezTo>
                    <a:pt x="94" y="325"/>
                    <a:pt x="94" y="325"/>
                    <a:pt x="94" y="325"/>
                  </a:cubicBezTo>
                  <a:cubicBezTo>
                    <a:pt x="89" y="337"/>
                    <a:pt x="89" y="337"/>
                    <a:pt x="89" y="337"/>
                  </a:cubicBezTo>
                  <a:cubicBezTo>
                    <a:pt x="89" y="337"/>
                    <a:pt x="69" y="331"/>
                    <a:pt x="59" y="334"/>
                  </a:cubicBezTo>
                  <a:cubicBezTo>
                    <a:pt x="47" y="337"/>
                    <a:pt x="35" y="365"/>
                    <a:pt x="35" y="365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30" y="385"/>
                    <a:pt x="30" y="385"/>
                    <a:pt x="30" y="385"/>
                  </a:cubicBezTo>
                  <a:cubicBezTo>
                    <a:pt x="37" y="404"/>
                    <a:pt x="37" y="404"/>
                    <a:pt x="37" y="404"/>
                  </a:cubicBezTo>
                  <a:cubicBezTo>
                    <a:pt x="33" y="410"/>
                    <a:pt x="33" y="410"/>
                    <a:pt x="33" y="410"/>
                  </a:cubicBezTo>
                  <a:cubicBezTo>
                    <a:pt x="36" y="421"/>
                    <a:pt x="36" y="421"/>
                    <a:pt x="36" y="421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41" y="452"/>
                    <a:pt x="41" y="452"/>
                    <a:pt x="41" y="452"/>
                  </a:cubicBezTo>
                  <a:cubicBezTo>
                    <a:pt x="35" y="487"/>
                    <a:pt x="35" y="487"/>
                    <a:pt x="35" y="487"/>
                  </a:cubicBezTo>
                  <a:cubicBezTo>
                    <a:pt x="45" y="497"/>
                    <a:pt x="45" y="497"/>
                    <a:pt x="45" y="497"/>
                  </a:cubicBezTo>
                  <a:cubicBezTo>
                    <a:pt x="45" y="497"/>
                    <a:pt x="50" y="500"/>
                    <a:pt x="54" y="503"/>
                  </a:cubicBezTo>
                  <a:cubicBezTo>
                    <a:pt x="58" y="507"/>
                    <a:pt x="59" y="511"/>
                    <a:pt x="55" y="523"/>
                  </a:cubicBezTo>
                  <a:cubicBezTo>
                    <a:pt x="53" y="535"/>
                    <a:pt x="45" y="529"/>
                    <a:pt x="45" y="529"/>
                  </a:cubicBezTo>
                  <a:cubicBezTo>
                    <a:pt x="36" y="532"/>
                    <a:pt x="36" y="532"/>
                    <a:pt x="36" y="532"/>
                  </a:cubicBezTo>
                  <a:cubicBezTo>
                    <a:pt x="41" y="538"/>
                    <a:pt x="41" y="538"/>
                    <a:pt x="41" y="538"/>
                  </a:cubicBezTo>
                  <a:cubicBezTo>
                    <a:pt x="43" y="547"/>
                    <a:pt x="43" y="547"/>
                    <a:pt x="43" y="547"/>
                  </a:cubicBezTo>
                  <a:cubicBezTo>
                    <a:pt x="43" y="547"/>
                    <a:pt x="49" y="561"/>
                    <a:pt x="51" y="568"/>
                  </a:cubicBezTo>
                  <a:cubicBezTo>
                    <a:pt x="54" y="576"/>
                    <a:pt x="46" y="572"/>
                    <a:pt x="45" y="577"/>
                  </a:cubicBezTo>
                  <a:cubicBezTo>
                    <a:pt x="44" y="581"/>
                    <a:pt x="48" y="584"/>
                    <a:pt x="45" y="597"/>
                  </a:cubicBezTo>
                  <a:cubicBezTo>
                    <a:pt x="41" y="609"/>
                    <a:pt x="30" y="603"/>
                    <a:pt x="26" y="607"/>
                  </a:cubicBezTo>
                  <a:cubicBezTo>
                    <a:pt x="21" y="610"/>
                    <a:pt x="28" y="611"/>
                    <a:pt x="27" y="616"/>
                  </a:cubicBezTo>
                  <a:cubicBezTo>
                    <a:pt x="27" y="620"/>
                    <a:pt x="21" y="619"/>
                    <a:pt x="19" y="623"/>
                  </a:cubicBezTo>
                  <a:cubicBezTo>
                    <a:pt x="16" y="625"/>
                    <a:pt x="25" y="643"/>
                    <a:pt x="25" y="643"/>
                  </a:cubicBezTo>
                  <a:cubicBezTo>
                    <a:pt x="25" y="643"/>
                    <a:pt x="21" y="651"/>
                    <a:pt x="19" y="658"/>
                  </a:cubicBezTo>
                  <a:cubicBezTo>
                    <a:pt x="17" y="665"/>
                    <a:pt x="16" y="671"/>
                    <a:pt x="12" y="671"/>
                  </a:cubicBezTo>
                  <a:cubicBezTo>
                    <a:pt x="8" y="671"/>
                    <a:pt x="11" y="662"/>
                    <a:pt x="10" y="657"/>
                  </a:cubicBezTo>
                  <a:cubicBezTo>
                    <a:pt x="9" y="652"/>
                    <a:pt x="1" y="657"/>
                    <a:pt x="1" y="657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0" y="664"/>
                    <a:pt x="3" y="668"/>
                    <a:pt x="3" y="673"/>
                  </a:cubicBezTo>
                  <a:cubicBezTo>
                    <a:pt x="3" y="676"/>
                    <a:pt x="0" y="679"/>
                    <a:pt x="0" y="679"/>
                  </a:cubicBezTo>
                  <a:cubicBezTo>
                    <a:pt x="0" y="679"/>
                    <a:pt x="5" y="693"/>
                    <a:pt x="5" y="696"/>
                  </a:cubicBezTo>
                  <a:cubicBezTo>
                    <a:pt x="5" y="699"/>
                    <a:pt x="1" y="699"/>
                    <a:pt x="1" y="699"/>
                  </a:cubicBezTo>
                  <a:cubicBezTo>
                    <a:pt x="2" y="703"/>
                    <a:pt x="2" y="703"/>
                    <a:pt x="2" y="703"/>
                  </a:cubicBezTo>
                  <a:cubicBezTo>
                    <a:pt x="2" y="703"/>
                    <a:pt x="6" y="700"/>
                    <a:pt x="9" y="702"/>
                  </a:cubicBezTo>
                  <a:cubicBezTo>
                    <a:pt x="10" y="703"/>
                    <a:pt x="9" y="707"/>
                    <a:pt x="9" y="707"/>
                  </a:cubicBezTo>
                  <a:cubicBezTo>
                    <a:pt x="11" y="707"/>
                    <a:pt x="11" y="707"/>
                    <a:pt x="11" y="707"/>
                  </a:cubicBezTo>
                  <a:cubicBezTo>
                    <a:pt x="14" y="697"/>
                    <a:pt x="14" y="697"/>
                    <a:pt x="14" y="697"/>
                  </a:cubicBezTo>
                  <a:cubicBezTo>
                    <a:pt x="17" y="700"/>
                    <a:pt x="17" y="700"/>
                    <a:pt x="17" y="700"/>
                  </a:cubicBezTo>
                  <a:cubicBezTo>
                    <a:pt x="10" y="710"/>
                    <a:pt x="10" y="710"/>
                    <a:pt x="10" y="710"/>
                  </a:cubicBezTo>
                  <a:cubicBezTo>
                    <a:pt x="10" y="712"/>
                    <a:pt x="10" y="712"/>
                    <a:pt x="10" y="712"/>
                  </a:cubicBezTo>
                  <a:cubicBezTo>
                    <a:pt x="25" y="704"/>
                    <a:pt x="25" y="704"/>
                    <a:pt x="25" y="704"/>
                  </a:cubicBezTo>
                  <a:cubicBezTo>
                    <a:pt x="22" y="709"/>
                    <a:pt x="22" y="709"/>
                    <a:pt x="22" y="709"/>
                  </a:cubicBezTo>
                  <a:cubicBezTo>
                    <a:pt x="25" y="713"/>
                    <a:pt x="25" y="713"/>
                    <a:pt x="25" y="713"/>
                  </a:cubicBezTo>
                  <a:cubicBezTo>
                    <a:pt x="21" y="730"/>
                    <a:pt x="21" y="730"/>
                    <a:pt x="21" y="730"/>
                  </a:cubicBezTo>
                  <a:cubicBezTo>
                    <a:pt x="18" y="737"/>
                    <a:pt x="18" y="737"/>
                    <a:pt x="18" y="737"/>
                  </a:cubicBezTo>
                  <a:cubicBezTo>
                    <a:pt x="22" y="741"/>
                    <a:pt x="22" y="741"/>
                    <a:pt x="22" y="741"/>
                  </a:cubicBezTo>
                  <a:cubicBezTo>
                    <a:pt x="17" y="746"/>
                    <a:pt x="17" y="746"/>
                    <a:pt x="17" y="746"/>
                  </a:cubicBezTo>
                  <a:cubicBezTo>
                    <a:pt x="22" y="746"/>
                    <a:pt x="22" y="746"/>
                    <a:pt x="22" y="746"/>
                  </a:cubicBezTo>
                  <a:cubicBezTo>
                    <a:pt x="24" y="746"/>
                    <a:pt x="26" y="754"/>
                    <a:pt x="26" y="757"/>
                  </a:cubicBezTo>
                  <a:cubicBezTo>
                    <a:pt x="26" y="761"/>
                    <a:pt x="27" y="768"/>
                    <a:pt x="29" y="768"/>
                  </a:cubicBezTo>
                  <a:cubicBezTo>
                    <a:pt x="31" y="768"/>
                    <a:pt x="32" y="761"/>
                    <a:pt x="32" y="761"/>
                  </a:cubicBezTo>
                  <a:cubicBezTo>
                    <a:pt x="32" y="770"/>
                    <a:pt x="32" y="770"/>
                    <a:pt x="32" y="770"/>
                  </a:cubicBezTo>
                  <a:cubicBezTo>
                    <a:pt x="34" y="771"/>
                    <a:pt x="34" y="771"/>
                    <a:pt x="34" y="771"/>
                  </a:cubicBezTo>
                  <a:cubicBezTo>
                    <a:pt x="32" y="777"/>
                    <a:pt x="32" y="777"/>
                    <a:pt x="32" y="777"/>
                  </a:cubicBezTo>
                  <a:cubicBezTo>
                    <a:pt x="37" y="779"/>
                    <a:pt x="37" y="779"/>
                    <a:pt x="37" y="779"/>
                  </a:cubicBezTo>
                  <a:cubicBezTo>
                    <a:pt x="37" y="786"/>
                    <a:pt x="37" y="786"/>
                    <a:pt x="37" y="786"/>
                  </a:cubicBezTo>
                  <a:cubicBezTo>
                    <a:pt x="42" y="791"/>
                    <a:pt x="42" y="791"/>
                    <a:pt x="42" y="791"/>
                  </a:cubicBezTo>
                  <a:cubicBezTo>
                    <a:pt x="42" y="796"/>
                    <a:pt x="42" y="796"/>
                    <a:pt x="42" y="796"/>
                  </a:cubicBezTo>
                  <a:cubicBezTo>
                    <a:pt x="48" y="804"/>
                    <a:pt x="48" y="804"/>
                    <a:pt x="48" y="804"/>
                  </a:cubicBezTo>
                  <a:cubicBezTo>
                    <a:pt x="50" y="803"/>
                    <a:pt x="50" y="803"/>
                    <a:pt x="50" y="803"/>
                  </a:cubicBezTo>
                  <a:cubicBezTo>
                    <a:pt x="50" y="803"/>
                    <a:pt x="52" y="815"/>
                    <a:pt x="55" y="816"/>
                  </a:cubicBezTo>
                  <a:cubicBezTo>
                    <a:pt x="60" y="818"/>
                    <a:pt x="61" y="814"/>
                    <a:pt x="61" y="814"/>
                  </a:cubicBezTo>
                  <a:cubicBezTo>
                    <a:pt x="61" y="814"/>
                    <a:pt x="64" y="822"/>
                    <a:pt x="64" y="825"/>
                  </a:cubicBezTo>
                  <a:cubicBezTo>
                    <a:pt x="64" y="829"/>
                    <a:pt x="58" y="828"/>
                    <a:pt x="58" y="828"/>
                  </a:cubicBezTo>
                  <a:cubicBezTo>
                    <a:pt x="58" y="828"/>
                    <a:pt x="57" y="823"/>
                    <a:pt x="52" y="826"/>
                  </a:cubicBezTo>
                  <a:cubicBezTo>
                    <a:pt x="48" y="830"/>
                    <a:pt x="58" y="834"/>
                    <a:pt x="58" y="834"/>
                  </a:cubicBezTo>
                  <a:cubicBezTo>
                    <a:pt x="58" y="834"/>
                    <a:pt x="61" y="839"/>
                    <a:pt x="59" y="841"/>
                  </a:cubicBezTo>
                  <a:cubicBezTo>
                    <a:pt x="55" y="844"/>
                    <a:pt x="51" y="838"/>
                    <a:pt x="49" y="837"/>
                  </a:cubicBezTo>
                  <a:cubicBezTo>
                    <a:pt x="47" y="835"/>
                    <a:pt x="44" y="835"/>
                    <a:pt x="43" y="836"/>
                  </a:cubicBezTo>
                  <a:cubicBezTo>
                    <a:pt x="42" y="837"/>
                    <a:pt x="47" y="839"/>
                    <a:pt x="47" y="839"/>
                  </a:cubicBezTo>
                  <a:cubicBezTo>
                    <a:pt x="48" y="844"/>
                    <a:pt x="48" y="844"/>
                    <a:pt x="48" y="844"/>
                  </a:cubicBezTo>
                  <a:cubicBezTo>
                    <a:pt x="48" y="844"/>
                    <a:pt x="54" y="852"/>
                    <a:pt x="58" y="856"/>
                  </a:cubicBezTo>
                  <a:cubicBezTo>
                    <a:pt x="61" y="861"/>
                    <a:pt x="61" y="865"/>
                    <a:pt x="61" y="865"/>
                  </a:cubicBezTo>
                  <a:cubicBezTo>
                    <a:pt x="65" y="866"/>
                    <a:pt x="65" y="866"/>
                    <a:pt x="65" y="866"/>
                  </a:cubicBezTo>
                  <a:cubicBezTo>
                    <a:pt x="64" y="871"/>
                    <a:pt x="64" y="871"/>
                    <a:pt x="64" y="871"/>
                  </a:cubicBezTo>
                  <a:cubicBezTo>
                    <a:pt x="64" y="871"/>
                    <a:pt x="67" y="871"/>
                    <a:pt x="69" y="877"/>
                  </a:cubicBezTo>
                  <a:cubicBezTo>
                    <a:pt x="71" y="881"/>
                    <a:pt x="64" y="882"/>
                    <a:pt x="64" y="882"/>
                  </a:cubicBezTo>
                  <a:cubicBezTo>
                    <a:pt x="64" y="888"/>
                    <a:pt x="64" y="888"/>
                    <a:pt x="64" y="888"/>
                  </a:cubicBezTo>
                  <a:cubicBezTo>
                    <a:pt x="64" y="888"/>
                    <a:pt x="67" y="891"/>
                    <a:pt x="66" y="894"/>
                  </a:cubicBezTo>
                  <a:cubicBezTo>
                    <a:pt x="65" y="896"/>
                    <a:pt x="62" y="893"/>
                    <a:pt x="62" y="893"/>
                  </a:cubicBezTo>
                  <a:cubicBezTo>
                    <a:pt x="61" y="897"/>
                    <a:pt x="61" y="897"/>
                    <a:pt x="61" y="897"/>
                  </a:cubicBezTo>
                  <a:cubicBezTo>
                    <a:pt x="65" y="896"/>
                    <a:pt x="65" y="896"/>
                    <a:pt x="65" y="896"/>
                  </a:cubicBezTo>
                  <a:cubicBezTo>
                    <a:pt x="65" y="896"/>
                    <a:pt x="78" y="899"/>
                    <a:pt x="82" y="899"/>
                  </a:cubicBezTo>
                  <a:cubicBezTo>
                    <a:pt x="85" y="899"/>
                    <a:pt x="91" y="895"/>
                    <a:pt x="97" y="893"/>
                  </a:cubicBezTo>
                  <a:cubicBezTo>
                    <a:pt x="103" y="891"/>
                    <a:pt x="106" y="895"/>
                    <a:pt x="106" y="895"/>
                  </a:cubicBezTo>
                  <a:cubicBezTo>
                    <a:pt x="112" y="894"/>
                    <a:pt x="112" y="894"/>
                    <a:pt x="112" y="894"/>
                  </a:cubicBezTo>
                  <a:cubicBezTo>
                    <a:pt x="112" y="894"/>
                    <a:pt x="117" y="885"/>
                    <a:pt x="118" y="880"/>
                  </a:cubicBezTo>
                  <a:cubicBezTo>
                    <a:pt x="119" y="876"/>
                    <a:pt x="111" y="875"/>
                    <a:pt x="111" y="869"/>
                  </a:cubicBezTo>
                  <a:cubicBezTo>
                    <a:pt x="111" y="865"/>
                    <a:pt x="118" y="854"/>
                    <a:pt x="120" y="852"/>
                  </a:cubicBezTo>
                  <a:cubicBezTo>
                    <a:pt x="123" y="851"/>
                    <a:pt x="129" y="855"/>
                    <a:pt x="131" y="854"/>
                  </a:cubicBezTo>
                  <a:cubicBezTo>
                    <a:pt x="133" y="852"/>
                    <a:pt x="129" y="844"/>
                    <a:pt x="129" y="844"/>
                  </a:cubicBezTo>
                  <a:cubicBezTo>
                    <a:pt x="147" y="842"/>
                    <a:pt x="147" y="842"/>
                    <a:pt x="147" y="842"/>
                  </a:cubicBezTo>
                  <a:cubicBezTo>
                    <a:pt x="155" y="844"/>
                    <a:pt x="155" y="844"/>
                    <a:pt x="155" y="844"/>
                  </a:cubicBezTo>
                  <a:cubicBezTo>
                    <a:pt x="161" y="839"/>
                    <a:pt x="161" y="839"/>
                    <a:pt x="161" y="839"/>
                  </a:cubicBezTo>
                  <a:cubicBezTo>
                    <a:pt x="172" y="847"/>
                    <a:pt x="172" y="847"/>
                    <a:pt x="172" y="847"/>
                  </a:cubicBezTo>
                  <a:cubicBezTo>
                    <a:pt x="172" y="847"/>
                    <a:pt x="176" y="838"/>
                    <a:pt x="178" y="837"/>
                  </a:cubicBezTo>
                  <a:cubicBezTo>
                    <a:pt x="179" y="835"/>
                    <a:pt x="181" y="820"/>
                    <a:pt x="181" y="820"/>
                  </a:cubicBezTo>
                  <a:cubicBezTo>
                    <a:pt x="184" y="810"/>
                    <a:pt x="184" y="810"/>
                    <a:pt x="184" y="810"/>
                  </a:cubicBezTo>
                  <a:cubicBezTo>
                    <a:pt x="188" y="807"/>
                    <a:pt x="188" y="807"/>
                    <a:pt x="188" y="807"/>
                  </a:cubicBezTo>
                  <a:cubicBezTo>
                    <a:pt x="192" y="791"/>
                    <a:pt x="192" y="791"/>
                    <a:pt x="192" y="791"/>
                  </a:cubicBezTo>
                  <a:cubicBezTo>
                    <a:pt x="190" y="785"/>
                    <a:pt x="190" y="785"/>
                    <a:pt x="190" y="785"/>
                  </a:cubicBezTo>
                  <a:cubicBezTo>
                    <a:pt x="190" y="785"/>
                    <a:pt x="193" y="784"/>
                    <a:pt x="194" y="781"/>
                  </a:cubicBezTo>
                  <a:cubicBezTo>
                    <a:pt x="195" y="777"/>
                    <a:pt x="191" y="775"/>
                    <a:pt x="191" y="775"/>
                  </a:cubicBezTo>
                  <a:cubicBezTo>
                    <a:pt x="192" y="761"/>
                    <a:pt x="192" y="761"/>
                    <a:pt x="192" y="761"/>
                  </a:cubicBezTo>
                  <a:cubicBezTo>
                    <a:pt x="192" y="761"/>
                    <a:pt x="195" y="762"/>
                    <a:pt x="197" y="756"/>
                  </a:cubicBezTo>
                  <a:cubicBezTo>
                    <a:pt x="200" y="751"/>
                    <a:pt x="191" y="746"/>
                    <a:pt x="191" y="746"/>
                  </a:cubicBezTo>
                  <a:cubicBezTo>
                    <a:pt x="193" y="744"/>
                    <a:pt x="193" y="744"/>
                    <a:pt x="193" y="744"/>
                  </a:cubicBezTo>
                  <a:cubicBezTo>
                    <a:pt x="194" y="735"/>
                    <a:pt x="194" y="735"/>
                    <a:pt x="194" y="735"/>
                  </a:cubicBezTo>
                  <a:cubicBezTo>
                    <a:pt x="192" y="728"/>
                    <a:pt x="192" y="728"/>
                    <a:pt x="192" y="728"/>
                  </a:cubicBezTo>
                  <a:cubicBezTo>
                    <a:pt x="188" y="728"/>
                    <a:pt x="188" y="728"/>
                    <a:pt x="188" y="728"/>
                  </a:cubicBezTo>
                  <a:cubicBezTo>
                    <a:pt x="188" y="728"/>
                    <a:pt x="188" y="726"/>
                    <a:pt x="191" y="725"/>
                  </a:cubicBezTo>
                  <a:cubicBezTo>
                    <a:pt x="195" y="725"/>
                    <a:pt x="198" y="728"/>
                    <a:pt x="198" y="728"/>
                  </a:cubicBezTo>
                  <a:cubicBezTo>
                    <a:pt x="197" y="722"/>
                    <a:pt x="197" y="722"/>
                    <a:pt x="197" y="722"/>
                  </a:cubicBezTo>
                  <a:cubicBezTo>
                    <a:pt x="193" y="720"/>
                    <a:pt x="193" y="720"/>
                    <a:pt x="193" y="720"/>
                  </a:cubicBezTo>
                  <a:cubicBezTo>
                    <a:pt x="196" y="719"/>
                    <a:pt x="196" y="719"/>
                    <a:pt x="196" y="719"/>
                  </a:cubicBezTo>
                  <a:cubicBezTo>
                    <a:pt x="196" y="719"/>
                    <a:pt x="196" y="711"/>
                    <a:pt x="198" y="707"/>
                  </a:cubicBezTo>
                  <a:cubicBezTo>
                    <a:pt x="201" y="703"/>
                    <a:pt x="192" y="698"/>
                    <a:pt x="192" y="698"/>
                  </a:cubicBezTo>
                  <a:cubicBezTo>
                    <a:pt x="195" y="697"/>
                    <a:pt x="195" y="697"/>
                    <a:pt x="195" y="697"/>
                  </a:cubicBezTo>
                  <a:cubicBezTo>
                    <a:pt x="192" y="692"/>
                    <a:pt x="192" y="692"/>
                    <a:pt x="192" y="692"/>
                  </a:cubicBezTo>
                  <a:cubicBezTo>
                    <a:pt x="192" y="692"/>
                    <a:pt x="198" y="694"/>
                    <a:pt x="201" y="687"/>
                  </a:cubicBezTo>
                  <a:cubicBezTo>
                    <a:pt x="204" y="679"/>
                    <a:pt x="183" y="679"/>
                    <a:pt x="183" y="679"/>
                  </a:cubicBezTo>
                  <a:cubicBezTo>
                    <a:pt x="182" y="682"/>
                    <a:pt x="182" y="682"/>
                    <a:pt x="182" y="682"/>
                  </a:cubicBezTo>
                  <a:cubicBezTo>
                    <a:pt x="176" y="681"/>
                    <a:pt x="176" y="681"/>
                    <a:pt x="176" y="681"/>
                  </a:cubicBezTo>
                  <a:cubicBezTo>
                    <a:pt x="176" y="677"/>
                    <a:pt x="176" y="677"/>
                    <a:pt x="176" y="677"/>
                  </a:cubicBezTo>
                  <a:cubicBezTo>
                    <a:pt x="192" y="677"/>
                    <a:pt x="192" y="677"/>
                    <a:pt x="192" y="677"/>
                  </a:cubicBezTo>
                  <a:cubicBezTo>
                    <a:pt x="195" y="677"/>
                    <a:pt x="201" y="680"/>
                    <a:pt x="201" y="680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2" y="668"/>
                    <a:pt x="202" y="668"/>
                    <a:pt x="202" y="668"/>
                  </a:cubicBezTo>
                  <a:cubicBezTo>
                    <a:pt x="208" y="672"/>
                    <a:pt x="208" y="672"/>
                    <a:pt x="208" y="672"/>
                  </a:cubicBezTo>
                  <a:cubicBezTo>
                    <a:pt x="208" y="672"/>
                    <a:pt x="212" y="671"/>
                    <a:pt x="213" y="671"/>
                  </a:cubicBezTo>
                  <a:cubicBezTo>
                    <a:pt x="214" y="671"/>
                    <a:pt x="218" y="666"/>
                    <a:pt x="218" y="666"/>
                  </a:cubicBezTo>
                  <a:cubicBezTo>
                    <a:pt x="218" y="661"/>
                    <a:pt x="218" y="661"/>
                    <a:pt x="218" y="661"/>
                  </a:cubicBezTo>
                  <a:cubicBezTo>
                    <a:pt x="222" y="662"/>
                    <a:pt x="222" y="662"/>
                    <a:pt x="222" y="662"/>
                  </a:cubicBezTo>
                  <a:cubicBezTo>
                    <a:pt x="223" y="647"/>
                    <a:pt x="223" y="647"/>
                    <a:pt x="223" y="647"/>
                  </a:cubicBezTo>
                  <a:cubicBezTo>
                    <a:pt x="226" y="648"/>
                    <a:pt x="226" y="648"/>
                    <a:pt x="226" y="648"/>
                  </a:cubicBezTo>
                  <a:cubicBezTo>
                    <a:pt x="228" y="658"/>
                    <a:pt x="228" y="658"/>
                    <a:pt x="228" y="658"/>
                  </a:cubicBezTo>
                  <a:cubicBezTo>
                    <a:pt x="235" y="659"/>
                    <a:pt x="235" y="659"/>
                    <a:pt x="235" y="659"/>
                  </a:cubicBezTo>
                  <a:cubicBezTo>
                    <a:pt x="237" y="649"/>
                    <a:pt x="237" y="649"/>
                    <a:pt x="237" y="649"/>
                  </a:cubicBezTo>
                  <a:cubicBezTo>
                    <a:pt x="237" y="649"/>
                    <a:pt x="239" y="649"/>
                    <a:pt x="241" y="648"/>
                  </a:cubicBezTo>
                  <a:cubicBezTo>
                    <a:pt x="242" y="647"/>
                    <a:pt x="242" y="643"/>
                    <a:pt x="242" y="643"/>
                  </a:cubicBezTo>
                  <a:cubicBezTo>
                    <a:pt x="246" y="642"/>
                    <a:pt x="246" y="642"/>
                    <a:pt x="246" y="642"/>
                  </a:cubicBezTo>
                  <a:cubicBezTo>
                    <a:pt x="248" y="640"/>
                    <a:pt x="248" y="640"/>
                    <a:pt x="248" y="640"/>
                  </a:cubicBezTo>
                  <a:cubicBezTo>
                    <a:pt x="245" y="639"/>
                    <a:pt x="245" y="639"/>
                    <a:pt x="245" y="639"/>
                  </a:cubicBezTo>
                  <a:cubicBezTo>
                    <a:pt x="243" y="633"/>
                    <a:pt x="243" y="633"/>
                    <a:pt x="243" y="633"/>
                  </a:cubicBezTo>
                  <a:cubicBezTo>
                    <a:pt x="237" y="628"/>
                    <a:pt x="237" y="628"/>
                    <a:pt x="237" y="628"/>
                  </a:cubicBezTo>
                  <a:cubicBezTo>
                    <a:pt x="239" y="625"/>
                    <a:pt x="239" y="625"/>
                    <a:pt x="239" y="625"/>
                  </a:cubicBezTo>
                  <a:cubicBezTo>
                    <a:pt x="244" y="625"/>
                    <a:pt x="244" y="625"/>
                    <a:pt x="244" y="625"/>
                  </a:cubicBezTo>
                  <a:cubicBezTo>
                    <a:pt x="258" y="610"/>
                    <a:pt x="258" y="610"/>
                    <a:pt x="258" y="610"/>
                  </a:cubicBezTo>
                  <a:cubicBezTo>
                    <a:pt x="258" y="607"/>
                    <a:pt x="258" y="607"/>
                    <a:pt x="258" y="607"/>
                  </a:cubicBezTo>
                  <a:cubicBezTo>
                    <a:pt x="266" y="601"/>
                    <a:pt x="266" y="601"/>
                    <a:pt x="266" y="601"/>
                  </a:cubicBezTo>
                  <a:cubicBezTo>
                    <a:pt x="267" y="600"/>
                    <a:pt x="267" y="600"/>
                    <a:pt x="267" y="600"/>
                  </a:cubicBezTo>
                  <a:cubicBezTo>
                    <a:pt x="259" y="600"/>
                    <a:pt x="259" y="600"/>
                    <a:pt x="259" y="600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67" y="592"/>
                    <a:pt x="267" y="592"/>
                    <a:pt x="267" y="592"/>
                  </a:cubicBezTo>
                  <a:cubicBezTo>
                    <a:pt x="261" y="588"/>
                    <a:pt x="261" y="588"/>
                    <a:pt x="261" y="588"/>
                  </a:cubicBezTo>
                  <a:cubicBezTo>
                    <a:pt x="256" y="578"/>
                    <a:pt x="256" y="578"/>
                    <a:pt x="256" y="578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5" y="578"/>
                    <a:pt x="242" y="570"/>
                    <a:pt x="242" y="570"/>
                  </a:cubicBezTo>
                  <a:cubicBezTo>
                    <a:pt x="242" y="566"/>
                    <a:pt x="242" y="566"/>
                    <a:pt x="242" y="566"/>
                  </a:cubicBezTo>
                  <a:cubicBezTo>
                    <a:pt x="241" y="564"/>
                    <a:pt x="241" y="564"/>
                    <a:pt x="241" y="564"/>
                  </a:cubicBezTo>
                  <a:cubicBezTo>
                    <a:pt x="237" y="565"/>
                    <a:pt x="237" y="565"/>
                    <a:pt x="237" y="565"/>
                  </a:cubicBezTo>
                  <a:cubicBezTo>
                    <a:pt x="227" y="554"/>
                    <a:pt x="227" y="554"/>
                    <a:pt x="227" y="554"/>
                  </a:cubicBezTo>
                  <a:cubicBezTo>
                    <a:pt x="227" y="554"/>
                    <a:pt x="228" y="550"/>
                    <a:pt x="225" y="549"/>
                  </a:cubicBezTo>
                  <a:cubicBezTo>
                    <a:pt x="221" y="548"/>
                    <a:pt x="216" y="557"/>
                    <a:pt x="216" y="557"/>
                  </a:cubicBezTo>
                  <a:cubicBezTo>
                    <a:pt x="213" y="552"/>
                    <a:pt x="213" y="552"/>
                    <a:pt x="213" y="552"/>
                  </a:cubicBezTo>
                  <a:cubicBezTo>
                    <a:pt x="213" y="552"/>
                    <a:pt x="215" y="550"/>
                    <a:pt x="213" y="548"/>
                  </a:cubicBezTo>
                  <a:cubicBezTo>
                    <a:pt x="210" y="546"/>
                    <a:pt x="198" y="548"/>
                    <a:pt x="198" y="548"/>
                  </a:cubicBezTo>
                  <a:cubicBezTo>
                    <a:pt x="205" y="541"/>
                    <a:pt x="205" y="541"/>
                    <a:pt x="205" y="541"/>
                  </a:cubicBezTo>
                  <a:cubicBezTo>
                    <a:pt x="200" y="534"/>
                    <a:pt x="200" y="534"/>
                    <a:pt x="200" y="534"/>
                  </a:cubicBezTo>
                  <a:cubicBezTo>
                    <a:pt x="196" y="533"/>
                    <a:pt x="196" y="533"/>
                    <a:pt x="196" y="533"/>
                  </a:cubicBezTo>
                  <a:cubicBezTo>
                    <a:pt x="198" y="525"/>
                    <a:pt x="198" y="525"/>
                    <a:pt x="198" y="525"/>
                  </a:cubicBezTo>
                  <a:cubicBezTo>
                    <a:pt x="196" y="515"/>
                    <a:pt x="196" y="515"/>
                    <a:pt x="196" y="515"/>
                  </a:cubicBezTo>
                  <a:cubicBezTo>
                    <a:pt x="196" y="515"/>
                    <a:pt x="198" y="509"/>
                    <a:pt x="198" y="506"/>
                  </a:cubicBezTo>
                  <a:cubicBezTo>
                    <a:pt x="198" y="504"/>
                    <a:pt x="193" y="502"/>
                    <a:pt x="193" y="502"/>
                  </a:cubicBezTo>
                  <a:cubicBezTo>
                    <a:pt x="195" y="491"/>
                    <a:pt x="195" y="491"/>
                    <a:pt x="195" y="491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6" y="488"/>
                    <a:pt x="196" y="488"/>
                    <a:pt x="196" y="488"/>
                  </a:cubicBezTo>
                  <a:cubicBezTo>
                    <a:pt x="192" y="479"/>
                    <a:pt x="192" y="479"/>
                    <a:pt x="192" y="479"/>
                  </a:cubicBezTo>
                  <a:cubicBezTo>
                    <a:pt x="198" y="483"/>
                    <a:pt x="198" y="483"/>
                    <a:pt x="198" y="483"/>
                  </a:cubicBezTo>
                  <a:cubicBezTo>
                    <a:pt x="201" y="479"/>
                    <a:pt x="201" y="479"/>
                    <a:pt x="201" y="479"/>
                  </a:cubicBezTo>
                  <a:cubicBezTo>
                    <a:pt x="201" y="479"/>
                    <a:pt x="200" y="475"/>
                    <a:pt x="198" y="473"/>
                  </a:cubicBezTo>
                  <a:cubicBezTo>
                    <a:pt x="195" y="472"/>
                    <a:pt x="197" y="464"/>
                    <a:pt x="197" y="464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201" y="450"/>
                    <a:pt x="201" y="450"/>
                    <a:pt x="201" y="450"/>
                  </a:cubicBezTo>
                  <a:cubicBezTo>
                    <a:pt x="206" y="448"/>
                    <a:pt x="206" y="448"/>
                    <a:pt x="206" y="448"/>
                  </a:cubicBezTo>
                  <a:cubicBezTo>
                    <a:pt x="206" y="445"/>
                    <a:pt x="206" y="445"/>
                    <a:pt x="206" y="445"/>
                  </a:cubicBezTo>
                  <a:cubicBezTo>
                    <a:pt x="200" y="445"/>
                    <a:pt x="200" y="445"/>
                    <a:pt x="200" y="445"/>
                  </a:cubicBezTo>
                  <a:cubicBezTo>
                    <a:pt x="199" y="441"/>
                    <a:pt x="199" y="441"/>
                    <a:pt x="199" y="441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196" y="432"/>
                    <a:pt x="196" y="432"/>
                    <a:pt x="196" y="432"/>
                  </a:cubicBezTo>
                  <a:cubicBezTo>
                    <a:pt x="194" y="430"/>
                    <a:pt x="194" y="430"/>
                    <a:pt x="194" y="430"/>
                  </a:cubicBezTo>
                  <a:cubicBezTo>
                    <a:pt x="199" y="428"/>
                    <a:pt x="199" y="428"/>
                    <a:pt x="199" y="428"/>
                  </a:cubicBezTo>
                  <a:cubicBezTo>
                    <a:pt x="202" y="434"/>
                    <a:pt x="202" y="434"/>
                    <a:pt x="202" y="434"/>
                  </a:cubicBezTo>
                  <a:cubicBezTo>
                    <a:pt x="207" y="432"/>
                    <a:pt x="207" y="432"/>
                    <a:pt x="207" y="432"/>
                  </a:cubicBezTo>
                  <a:cubicBezTo>
                    <a:pt x="205" y="430"/>
                    <a:pt x="205" y="430"/>
                    <a:pt x="205" y="430"/>
                  </a:cubicBezTo>
                  <a:cubicBezTo>
                    <a:pt x="207" y="427"/>
                    <a:pt x="207" y="427"/>
                    <a:pt x="207" y="427"/>
                  </a:cubicBezTo>
                  <a:cubicBezTo>
                    <a:pt x="207" y="427"/>
                    <a:pt x="212" y="427"/>
                    <a:pt x="212" y="425"/>
                  </a:cubicBezTo>
                  <a:cubicBezTo>
                    <a:pt x="212" y="418"/>
                    <a:pt x="212" y="418"/>
                    <a:pt x="212" y="418"/>
                  </a:cubicBezTo>
                  <a:cubicBezTo>
                    <a:pt x="213" y="414"/>
                    <a:pt x="213" y="414"/>
                    <a:pt x="213" y="414"/>
                  </a:cubicBezTo>
                  <a:cubicBezTo>
                    <a:pt x="213" y="414"/>
                    <a:pt x="211" y="408"/>
                    <a:pt x="213" y="408"/>
                  </a:cubicBezTo>
                  <a:cubicBezTo>
                    <a:pt x="215" y="407"/>
                    <a:pt x="216" y="410"/>
                    <a:pt x="216" y="410"/>
                  </a:cubicBezTo>
                  <a:cubicBezTo>
                    <a:pt x="221" y="407"/>
                    <a:pt x="221" y="407"/>
                    <a:pt x="221" y="407"/>
                  </a:cubicBezTo>
                  <a:cubicBezTo>
                    <a:pt x="221" y="407"/>
                    <a:pt x="218" y="403"/>
                    <a:pt x="221" y="401"/>
                  </a:cubicBezTo>
                  <a:cubicBezTo>
                    <a:pt x="222" y="400"/>
                    <a:pt x="225" y="405"/>
                    <a:pt x="225" y="405"/>
                  </a:cubicBezTo>
                  <a:cubicBezTo>
                    <a:pt x="229" y="399"/>
                    <a:pt x="229" y="399"/>
                    <a:pt x="229" y="399"/>
                  </a:cubicBezTo>
                  <a:cubicBezTo>
                    <a:pt x="225" y="397"/>
                    <a:pt x="225" y="397"/>
                    <a:pt x="225" y="397"/>
                  </a:cubicBezTo>
                  <a:cubicBezTo>
                    <a:pt x="228" y="396"/>
                    <a:pt x="228" y="396"/>
                    <a:pt x="228" y="396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22" y="395"/>
                    <a:pt x="222" y="395"/>
                    <a:pt x="222" y="395"/>
                  </a:cubicBezTo>
                  <a:cubicBezTo>
                    <a:pt x="226" y="392"/>
                    <a:pt x="226" y="392"/>
                    <a:pt x="226" y="392"/>
                  </a:cubicBezTo>
                  <a:cubicBezTo>
                    <a:pt x="231" y="380"/>
                    <a:pt x="231" y="380"/>
                    <a:pt x="231" y="380"/>
                  </a:cubicBezTo>
                  <a:cubicBezTo>
                    <a:pt x="234" y="380"/>
                    <a:pt x="234" y="380"/>
                    <a:pt x="234" y="380"/>
                  </a:cubicBezTo>
                  <a:cubicBezTo>
                    <a:pt x="239" y="377"/>
                    <a:pt x="239" y="377"/>
                    <a:pt x="239" y="377"/>
                  </a:cubicBezTo>
                  <a:cubicBezTo>
                    <a:pt x="233" y="375"/>
                    <a:pt x="233" y="375"/>
                    <a:pt x="233" y="375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43" y="378"/>
                    <a:pt x="243" y="378"/>
                    <a:pt x="243" y="378"/>
                  </a:cubicBezTo>
                  <a:cubicBezTo>
                    <a:pt x="243" y="378"/>
                    <a:pt x="244" y="374"/>
                    <a:pt x="246" y="371"/>
                  </a:cubicBezTo>
                  <a:cubicBezTo>
                    <a:pt x="248" y="368"/>
                    <a:pt x="249" y="361"/>
                    <a:pt x="249" y="361"/>
                  </a:cubicBezTo>
                  <a:cubicBezTo>
                    <a:pt x="249" y="361"/>
                    <a:pt x="251" y="362"/>
                    <a:pt x="254" y="360"/>
                  </a:cubicBezTo>
                  <a:cubicBezTo>
                    <a:pt x="256" y="359"/>
                    <a:pt x="255" y="353"/>
                    <a:pt x="255" y="35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61" y="363"/>
                    <a:pt x="261" y="363"/>
                    <a:pt x="261" y="363"/>
                  </a:cubicBezTo>
                  <a:cubicBezTo>
                    <a:pt x="263" y="361"/>
                    <a:pt x="263" y="361"/>
                    <a:pt x="263" y="361"/>
                  </a:cubicBezTo>
                  <a:cubicBezTo>
                    <a:pt x="262" y="357"/>
                    <a:pt x="262" y="357"/>
                    <a:pt x="262" y="357"/>
                  </a:cubicBezTo>
                  <a:cubicBezTo>
                    <a:pt x="270" y="348"/>
                    <a:pt x="270" y="348"/>
                    <a:pt x="270" y="34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8" y="344"/>
                    <a:pt x="278" y="344"/>
                    <a:pt x="278" y="344"/>
                  </a:cubicBezTo>
                  <a:cubicBezTo>
                    <a:pt x="278" y="340"/>
                    <a:pt x="278" y="340"/>
                    <a:pt x="278" y="340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1" y="334"/>
                    <a:pt x="281" y="334"/>
                    <a:pt x="281" y="334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0" y="333"/>
                    <a:pt x="290" y="333"/>
                    <a:pt x="290" y="333"/>
                  </a:cubicBezTo>
                  <a:cubicBezTo>
                    <a:pt x="290" y="333"/>
                    <a:pt x="293" y="325"/>
                    <a:pt x="294" y="321"/>
                  </a:cubicBezTo>
                  <a:cubicBezTo>
                    <a:pt x="295" y="318"/>
                    <a:pt x="293" y="313"/>
                    <a:pt x="293" y="313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9" y="302"/>
                    <a:pt x="299" y="302"/>
                    <a:pt x="299" y="3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06" y="288"/>
                    <a:pt x="306" y="288"/>
                    <a:pt x="306" y="288"/>
                  </a:cubicBezTo>
                  <a:cubicBezTo>
                    <a:pt x="304" y="286"/>
                    <a:pt x="304" y="286"/>
                    <a:pt x="304" y="286"/>
                  </a:cubicBezTo>
                  <a:cubicBezTo>
                    <a:pt x="308" y="285"/>
                    <a:pt x="308" y="285"/>
                    <a:pt x="308" y="285"/>
                  </a:cubicBezTo>
                  <a:cubicBezTo>
                    <a:pt x="309" y="283"/>
                    <a:pt x="309" y="283"/>
                    <a:pt x="309" y="283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295" y="277"/>
                    <a:pt x="295" y="277"/>
                    <a:pt x="295" y="277"/>
                  </a:cubicBezTo>
                  <a:cubicBezTo>
                    <a:pt x="298" y="269"/>
                    <a:pt x="298" y="269"/>
                    <a:pt x="298" y="269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98" y="259"/>
                    <a:pt x="298" y="259"/>
                    <a:pt x="298" y="259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3" y="246"/>
                    <a:pt x="293" y="238"/>
                    <a:pt x="295" y="234"/>
                  </a:cubicBezTo>
                  <a:cubicBezTo>
                    <a:pt x="296" y="230"/>
                    <a:pt x="304" y="231"/>
                    <a:pt x="309" y="229"/>
                  </a:cubicBezTo>
                  <a:cubicBezTo>
                    <a:pt x="315" y="226"/>
                    <a:pt x="307" y="221"/>
                    <a:pt x="307" y="221"/>
                  </a:cubicBezTo>
                  <a:cubicBezTo>
                    <a:pt x="313" y="219"/>
                    <a:pt x="313" y="219"/>
                    <a:pt x="313" y="219"/>
                  </a:cubicBezTo>
                  <a:cubicBezTo>
                    <a:pt x="313" y="216"/>
                    <a:pt x="313" y="216"/>
                    <a:pt x="313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5" y="196"/>
                    <a:pt x="315" y="196"/>
                    <a:pt x="315" y="196"/>
                  </a:cubicBezTo>
                  <a:cubicBezTo>
                    <a:pt x="319" y="196"/>
                    <a:pt x="319" y="196"/>
                    <a:pt x="319" y="196"/>
                  </a:cubicBezTo>
                  <a:cubicBezTo>
                    <a:pt x="322" y="201"/>
                    <a:pt x="322" y="201"/>
                    <a:pt x="322" y="201"/>
                  </a:cubicBezTo>
                  <a:cubicBezTo>
                    <a:pt x="326" y="201"/>
                    <a:pt x="326" y="201"/>
                    <a:pt x="326" y="201"/>
                  </a:cubicBezTo>
                  <a:cubicBezTo>
                    <a:pt x="324" y="193"/>
                    <a:pt x="324" y="193"/>
                    <a:pt x="324" y="193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6" y="201"/>
                    <a:pt x="336" y="201"/>
                    <a:pt x="336" y="201"/>
                  </a:cubicBezTo>
                  <a:cubicBezTo>
                    <a:pt x="337" y="205"/>
                    <a:pt x="337" y="205"/>
                    <a:pt x="337" y="205"/>
                  </a:cubicBezTo>
                  <a:cubicBezTo>
                    <a:pt x="340" y="200"/>
                    <a:pt x="340" y="200"/>
                    <a:pt x="340" y="200"/>
                  </a:cubicBezTo>
                  <a:cubicBezTo>
                    <a:pt x="339" y="196"/>
                    <a:pt x="339" y="196"/>
                    <a:pt x="339" y="196"/>
                  </a:cubicBezTo>
                  <a:cubicBezTo>
                    <a:pt x="350" y="196"/>
                    <a:pt x="350" y="196"/>
                    <a:pt x="350" y="196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4" y="188"/>
                  </a:lnTo>
                  <a:close/>
                  <a:moveTo>
                    <a:pt x="14" y="718"/>
                  </a:moveTo>
                  <a:cubicBezTo>
                    <a:pt x="21" y="719"/>
                    <a:pt x="21" y="719"/>
                    <a:pt x="21" y="719"/>
                  </a:cubicBezTo>
                  <a:cubicBezTo>
                    <a:pt x="22" y="712"/>
                    <a:pt x="22" y="712"/>
                    <a:pt x="22" y="712"/>
                  </a:cubicBezTo>
                  <a:cubicBezTo>
                    <a:pt x="19" y="709"/>
                    <a:pt x="19" y="709"/>
                    <a:pt x="19" y="709"/>
                  </a:cubicBezTo>
                  <a:cubicBezTo>
                    <a:pt x="17" y="712"/>
                    <a:pt x="17" y="712"/>
                    <a:pt x="17" y="712"/>
                  </a:cubicBezTo>
                  <a:cubicBezTo>
                    <a:pt x="16" y="712"/>
                    <a:pt x="16" y="712"/>
                    <a:pt x="16" y="712"/>
                  </a:cubicBezTo>
                  <a:cubicBezTo>
                    <a:pt x="8" y="720"/>
                    <a:pt x="8" y="720"/>
                    <a:pt x="8" y="720"/>
                  </a:cubicBezTo>
                  <a:cubicBezTo>
                    <a:pt x="14" y="721"/>
                    <a:pt x="14" y="721"/>
                    <a:pt x="14" y="721"/>
                  </a:cubicBezTo>
                  <a:lnTo>
                    <a:pt x="14" y="718"/>
                  </a:lnTo>
                  <a:close/>
                  <a:moveTo>
                    <a:pt x="20" y="727"/>
                  </a:moveTo>
                  <a:cubicBezTo>
                    <a:pt x="19" y="723"/>
                    <a:pt x="19" y="723"/>
                    <a:pt x="19" y="723"/>
                  </a:cubicBezTo>
                  <a:cubicBezTo>
                    <a:pt x="11" y="725"/>
                    <a:pt x="11" y="725"/>
                    <a:pt x="11" y="725"/>
                  </a:cubicBezTo>
                  <a:cubicBezTo>
                    <a:pt x="13" y="728"/>
                    <a:pt x="13" y="728"/>
                    <a:pt x="13" y="728"/>
                  </a:cubicBezTo>
                  <a:cubicBezTo>
                    <a:pt x="13" y="730"/>
                    <a:pt x="13" y="730"/>
                    <a:pt x="13" y="730"/>
                  </a:cubicBezTo>
                  <a:cubicBezTo>
                    <a:pt x="16" y="730"/>
                    <a:pt x="16" y="730"/>
                    <a:pt x="16" y="730"/>
                  </a:cubicBezTo>
                  <a:cubicBezTo>
                    <a:pt x="17" y="727"/>
                    <a:pt x="17" y="727"/>
                    <a:pt x="17" y="727"/>
                  </a:cubicBezTo>
                  <a:lnTo>
                    <a:pt x="20" y="727"/>
                  </a:lnTo>
                  <a:close/>
                  <a:moveTo>
                    <a:pt x="211" y="760"/>
                  </a:moveTo>
                  <a:cubicBezTo>
                    <a:pt x="207" y="765"/>
                    <a:pt x="207" y="765"/>
                    <a:pt x="207" y="765"/>
                  </a:cubicBezTo>
                  <a:cubicBezTo>
                    <a:pt x="208" y="771"/>
                    <a:pt x="208" y="771"/>
                    <a:pt x="208" y="771"/>
                  </a:cubicBezTo>
                  <a:cubicBezTo>
                    <a:pt x="207" y="771"/>
                    <a:pt x="207" y="771"/>
                    <a:pt x="207" y="771"/>
                  </a:cubicBezTo>
                  <a:cubicBezTo>
                    <a:pt x="207" y="773"/>
                    <a:pt x="207" y="773"/>
                    <a:pt x="207" y="773"/>
                  </a:cubicBezTo>
                  <a:cubicBezTo>
                    <a:pt x="205" y="783"/>
                    <a:pt x="205" y="783"/>
                    <a:pt x="205" y="783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0" y="792"/>
                    <a:pt x="200" y="792"/>
                    <a:pt x="200" y="792"/>
                  </a:cubicBezTo>
                  <a:cubicBezTo>
                    <a:pt x="198" y="792"/>
                    <a:pt x="198" y="792"/>
                    <a:pt x="198" y="792"/>
                  </a:cubicBezTo>
                  <a:cubicBezTo>
                    <a:pt x="198" y="792"/>
                    <a:pt x="195" y="797"/>
                    <a:pt x="194" y="801"/>
                  </a:cubicBezTo>
                  <a:cubicBezTo>
                    <a:pt x="193" y="804"/>
                    <a:pt x="194" y="807"/>
                    <a:pt x="193" y="808"/>
                  </a:cubicBezTo>
                  <a:cubicBezTo>
                    <a:pt x="193" y="810"/>
                    <a:pt x="190" y="812"/>
                    <a:pt x="190" y="816"/>
                  </a:cubicBezTo>
                  <a:cubicBezTo>
                    <a:pt x="190" y="821"/>
                    <a:pt x="190" y="821"/>
                    <a:pt x="190" y="821"/>
                  </a:cubicBezTo>
                  <a:cubicBezTo>
                    <a:pt x="193" y="823"/>
                    <a:pt x="193" y="823"/>
                    <a:pt x="193" y="823"/>
                  </a:cubicBezTo>
                  <a:cubicBezTo>
                    <a:pt x="192" y="836"/>
                    <a:pt x="192" y="836"/>
                    <a:pt x="192" y="836"/>
                  </a:cubicBezTo>
                  <a:cubicBezTo>
                    <a:pt x="192" y="836"/>
                    <a:pt x="196" y="833"/>
                    <a:pt x="197" y="830"/>
                  </a:cubicBezTo>
                  <a:cubicBezTo>
                    <a:pt x="198" y="825"/>
                    <a:pt x="197" y="824"/>
                    <a:pt x="197" y="822"/>
                  </a:cubicBezTo>
                  <a:cubicBezTo>
                    <a:pt x="197" y="820"/>
                    <a:pt x="199" y="817"/>
                    <a:pt x="200" y="815"/>
                  </a:cubicBezTo>
                  <a:cubicBezTo>
                    <a:pt x="201" y="813"/>
                    <a:pt x="200" y="807"/>
                    <a:pt x="200" y="807"/>
                  </a:cubicBezTo>
                  <a:cubicBezTo>
                    <a:pt x="204" y="796"/>
                    <a:pt x="204" y="796"/>
                    <a:pt x="204" y="796"/>
                  </a:cubicBezTo>
                  <a:cubicBezTo>
                    <a:pt x="206" y="796"/>
                    <a:pt x="206" y="796"/>
                    <a:pt x="206" y="796"/>
                  </a:cubicBezTo>
                  <a:cubicBezTo>
                    <a:pt x="208" y="788"/>
                    <a:pt x="208" y="788"/>
                    <a:pt x="208" y="788"/>
                  </a:cubicBezTo>
                  <a:cubicBezTo>
                    <a:pt x="207" y="785"/>
                    <a:pt x="207" y="785"/>
                    <a:pt x="207" y="785"/>
                  </a:cubicBezTo>
                  <a:cubicBezTo>
                    <a:pt x="209" y="783"/>
                    <a:pt x="209" y="783"/>
                    <a:pt x="209" y="783"/>
                  </a:cubicBezTo>
                  <a:cubicBezTo>
                    <a:pt x="208" y="782"/>
                    <a:pt x="208" y="782"/>
                    <a:pt x="208" y="782"/>
                  </a:cubicBezTo>
                  <a:cubicBezTo>
                    <a:pt x="210" y="779"/>
                    <a:pt x="210" y="779"/>
                    <a:pt x="210" y="779"/>
                  </a:cubicBezTo>
                  <a:cubicBezTo>
                    <a:pt x="209" y="777"/>
                    <a:pt x="209" y="777"/>
                    <a:pt x="209" y="777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4" y="763"/>
                    <a:pt x="214" y="763"/>
                    <a:pt x="214" y="763"/>
                  </a:cubicBezTo>
                  <a:lnTo>
                    <a:pt x="211" y="760"/>
                  </a:lnTo>
                  <a:close/>
                  <a:moveTo>
                    <a:pt x="277" y="731"/>
                  </a:moveTo>
                  <a:cubicBezTo>
                    <a:pt x="281" y="724"/>
                    <a:pt x="281" y="724"/>
                    <a:pt x="281" y="724"/>
                  </a:cubicBezTo>
                  <a:cubicBezTo>
                    <a:pt x="278" y="718"/>
                    <a:pt x="278" y="718"/>
                    <a:pt x="278" y="718"/>
                  </a:cubicBezTo>
                  <a:cubicBezTo>
                    <a:pt x="272" y="719"/>
                    <a:pt x="272" y="719"/>
                    <a:pt x="272" y="719"/>
                  </a:cubicBezTo>
                  <a:cubicBezTo>
                    <a:pt x="270" y="724"/>
                    <a:pt x="270" y="724"/>
                    <a:pt x="270" y="724"/>
                  </a:cubicBezTo>
                  <a:cubicBezTo>
                    <a:pt x="270" y="719"/>
                    <a:pt x="270" y="719"/>
                    <a:pt x="270" y="719"/>
                  </a:cubicBezTo>
                  <a:cubicBezTo>
                    <a:pt x="270" y="719"/>
                    <a:pt x="267" y="719"/>
                    <a:pt x="266" y="720"/>
                  </a:cubicBezTo>
                  <a:cubicBezTo>
                    <a:pt x="264" y="721"/>
                    <a:pt x="263" y="724"/>
                    <a:pt x="263" y="724"/>
                  </a:cubicBezTo>
                  <a:cubicBezTo>
                    <a:pt x="263" y="724"/>
                    <a:pt x="262" y="723"/>
                    <a:pt x="259" y="726"/>
                  </a:cubicBezTo>
                  <a:cubicBezTo>
                    <a:pt x="257" y="729"/>
                    <a:pt x="253" y="739"/>
                    <a:pt x="253" y="739"/>
                  </a:cubicBezTo>
                  <a:cubicBezTo>
                    <a:pt x="253" y="739"/>
                    <a:pt x="248" y="741"/>
                    <a:pt x="248" y="746"/>
                  </a:cubicBezTo>
                  <a:cubicBezTo>
                    <a:pt x="247" y="753"/>
                    <a:pt x="253" y="753"/>
                    <a:pt x="253" y="757"/>
                  </a:cubicBezTo>
                  <a:cubicBezTo>
                    <a:pt x="251" y="762"/>
                    <a:pt x="249" y="763"/>
                    <a:pt x="249" y="763"/>
                  </a:cubicBezTo>
                  <a:cubicBezTo>
                    <a:pt x="251" y="765"/>
                    <a:pt x="251" y="765"/>
                    <a:pt x="251" y="765"/>
                  </a:cubicBezTo>
                  <a:cubicBezTo>
                    <a:pt x="251" y="772"/>
                    <a:pt x="251" y="772"/>
                    <a:pt x="251" y="772"/>
                  </a:cubicBezTo>
                  <a:cubicBezTo>
                    <a:pt x="254" y="773"/>
                    <a:pt x="254" y="773"/>
                    <a:pt x="254" y="773"/>
                  </a:cubicBezTo>
                  <a:cubicBezTo>
                    <a:pt x="254" y="776"/>
                    <a:pt x="254" y="776"/>
                    <a:pt x="254" y="776"/>
                  </a:cubicBezTo>
                  <a:cubicBezTo>
                    <a:pt x="254" y="776"/>
                    <a:pt x="257" y="775"/>
                    <a:pt x="257" y="776"/>
                  </a:cubicBezTo>
                  <a:cubicBezTo>
                    <a:pt x="257" y="777"/>
                    <a:pt x="255" y="778"/>
                    <a:pt x="255" y="778"/>
                  </a:cubicBezTo>
                  <a:cubicBezTo>
                    <a:pt x="255" y="782"/>
                    <a:pt x="255" y="782"/>
                    <a:pt x="255" y="782"/>
                  </a:cubicBezTo>
                  <a:cubicBezTo>
                    <a:pt x="255" y="783"/>
                    <a:pt x="253" y="787"/>
                    <a:pt x="253" y="787"/>
                  </a:cubicBezTo>
                  <a:cubicBezTo>
                    <a:pt x="258" y="785"/>
                    <a:pt x="258" y="785"/>
                    <a:pt x="258" y="785"/>
                  </a:cubicBezTo>
                  <a:cubicBezTo>
                    <a:pt x="261" y="779"/>
                    <a:pt x="261" y="779"/>
                    <a:pt x="261" y="779"/>
                  </a:cubicBezTo>
                  <a:cubicBezTo>
                    <a:pt x="260" y="779"/>
                    <a:pt x="260" y="779"/>
                    <a:pt x="260" y="779"/>
                  </a:cubicBezTo>
                  <a:cubicBezTo>
                    <a:pt x="261" y="774"/>
                    <a:pt x="261" y="774"/>
                    <a:pt x="261" y="774"/>
                  </a:cubicBezTo>
                  <a:cubicBezTo>
                    <a:pt x="262" y="772"/>
                    <a:pt x="262" y="772"/>
                    <a:pt x="262" y="772"/>
                  </a:cubicBezTo>
                  <a:cubicBezTo>
                    <a:pt x="261" y="772"/>
                    <a:pt x="261" y="772"/>
                    <a:pt x="261" y="772"/>
                  </a:cubicBezTo>
                  <a:cubicBezTo>
                    <a:pt x="266" y="766"/>
                    <a:pt x="266" y="766"/>
                    <a:pt x="266" y="766"/>
                  </a:cubicBezTo>
                  <a:cubicBezTo>
                    <a:pt x="271" y="763"/>
                    <a:pt x="271" y="763"/>
                    <a:pt x="271" y="763"/>
                  </a:cubicBezTo>
                  <a:cubicBezTo>
                    <a:pt x="271" y="758"/>
                    <a:pt x="271" y="758"/>
                    <a:pt x="271" y="758"/>
                  </a:cubicBezTo>
                  <a:cubicBezTo>
                    <a:pt x="277" y="750"/>
                    <a:pt x="277" y="750"/>
                    <a:pt x="277" y="750"/>
                  </a:cubicBezTo>
                  <a:cubicBezTo>
                    <a:pt x="274" y="750"/>
                    <a:pt x="274" y="750"/>
                    <a:pt x="274" y="750"/>
                  </a:cubicBezTo>
                  <a:cubicBezTo>
                    <a:pt x="271" y="746"/>
                    <a:pt x="271" y="746"/>
                    <a:pt x="271" y="746"/>
                  </a:cubicBezTo>
                  <a:cubicBezTo>
                    <a:pt x="271" y="746"/>
                    <a:pt x="273" y="743"/>
                    <a:pt x="274" y="740"/>
                  </a:cubicBezTo>
                  <a:cubicBezTo>
                    <a:pt x="274" y="738"/>
                    <a:pt x="271" y="735"/>
                    <a:pt x="271" y="735"/>
                  </a:cubicBezTo>
                  <a:cubicBezTo>
                    <a:pt x="272" y="730"/>
                    <a:pt x="272" y="730"/>
                    <a:pt x="272" y="730"/>
                  </a:cubicBezTo>
                  <a:lnTo>
                    <a:pt x="277" y="731"/>
                  </a:lnTo>
                  <a:close/>
                  <a:moveTo>
                    <a:pt x="280" y="719"/>
                  </a:moveTo>
                  <a:cubicBezTo>
                    <a:pt x="282" y="721"/>
                    <a:pt x="282" y="721"/>
                    <a:pt x="282" y="721"/>
                  </a:cubicBezTo>
                  <a:cubicBezTo>
                    <a:pt x="286" y="711"/>
                    <a:pt x="286" y="711"/>
                    <a:pt x="286" y="711"/>
                  </a:cubicBezTo>
                  <a:cubicBezTo>
                    <a:pt x="281" y="712"/>
                    <a:pt x="281" y="712"/>
                    <a:pt x="281" y="712"/>
                  </a:cubicBezTo>
                  <a:lnTo>
                    <a:pt x="280" y="719"/>
                  </a:lnTo>
                  <a:close/>
                  <a:moveTo>
                    <a:pt x="286" y="715"/>
                  </a:moveTo>
                  <a:cubicBezTo>
                    <a:pt x="290" y="715"/>
                    <a:pt x="290" y="715"/>
                    <a:pt x="290" y="715"/>
                  </a:cubicBezTo>
                  <a:cubicBezTo>
                    <a:pt x="291" y="712"/>
                    <a:pt x="291" y="712"/>
                    <a:pt x="291" y="712"/>
                  </a:cubicBezTo>
                  <a:cubicBezTo>
                    <a:pt x="288" y="712"/>
                    <a:pt x="288" y="712"/>
                    <a:pt x="288" y="712"/>
                  </a:cubicBezTo>
                  <a:lnTo>
                    <a:pt x="286" y="715"/>
                  </a:lnTo>
                  <a:close/>
                  <a:moveTo>
                    <a:pt x="282" y="691"/>
                  </a:moveTo>
                  <a:cubicBezTo>
                    <a:pt x="287" y="688"/>
                    <a:pt x="287" y="688"/>
                    <a:pt x="287" y="688"/>
                  </a:cubicBezTo>
                  <a:cubicBezTo>
                    <a:pt x="280" y="684"/>
                    <a:pt x="280" y="684"/>
                    <a:pt x="280" y="684"/>
                  </a:cubicBezTo>
                  <a:cubicBezTo>
                    <a:pt x="281" y="689"/>
                    <a:pt x="281" y="689"/>
                    <a:pt x="281" y="689"/>
                  </a:cubicBezTo>
                  <a:lnTo>
                    <a:pt x="282" y="691"/>
                  </a:lnTo>
                  <a:close/>
                  <a:moveTo>
                    <a:pt x="243" y="630"/>
                  </a:moveTo>
                  <a:cubicBezTo>
                    <a:pt x="255" y="631"/>
                    <a:pt x="255" y="631"/>
                    <a:pt x="255" y="631"/>
                  </a:cubicBezTo>
                  <a:cubicBezTo>
                    <a:pt x="256" y="630"/>
                    <a:pt x="256" y="630"/>
                    <a:pt x="256" y="630"/>
                  </a:cubicBezTo>
                  <a:cubicBezTo>
                    <a:pt x="254" y="626"/>
                    <a:pt x="254" y="626"/>
                    <a:pt x="254" y="626"/>
                  </a:cubicBezTo>
                  <a:cubicBezTo>
                    <a:pt x="251" y="625"/>
                    <a:pt x="251" y="625"/>
                    <a:pt x="251" y="625"/>
                  </a:cubicBezTo>
                  <a:cubicBezTo>
                    <a:pt x="248" y="626"/>
                    <a:pt x="248" y="626"/>
                    <a:pt x="248" y="626"/>
                  </a:cubicBezTo>
                  <a:cubicBezTo>
                    <a:pt x="249" y="628"/>
                    <a:pt x="249" y="628"/>
                    <a:pt x="249" y="628"/>
                  </a:cubicBezTo>
                  <a:cubicBezTo>
                    <a:pt x="243" y="628"/>
                    <a:pt x="243" y="628"/>
                    <a:pt x="243" y="628"/>
                  </a:cubicBezTo>
                  <a:lnTo>
                    <a:pt x="243" y="630"/>
                  </a:lnTo>
                  <a:close/>
                  <a:moveTo>
                    <a:pt x="254" y="615"/>
                  </a:moveTo>
                  <a:cubicBezTo>
                    <a:pt x="253" y="620"/>
                    <a:pt x="253" y="620"/>
                    <a:pt x="253" y="620"/>
                  </a:cubicBezTo>
                  <a:cubicBezTo>
                    <a:pt x="258" y="617"/>
                    <a:pt x="258" y="617"/>
                    <a:pt x="258" y="617"/>
                  </a:cubicBezTo>
                  <a:lnTo>
                    <a:pt x="254" y="615"/>
                  </a:lnTo>
                  <a:close/>
                  <a:moveTo>
                    <a:pt x="266" y="610"/>
                  </a:moveTo>
                  <a:cubicBezTo>
                    <a:pt x="265" y="607"/>
                    <a:pt x="265" y="607"/>
                    <a:pt x="265" y="607"/>
                  </a:cubicBezTo>
                  <a:cubicBezTo>
                    <a:pt x="259" y="610"/>
                    <a:pt x="259" y="610"/>
                    <a:pt x="259" y="610"/>
                  </a:cubicBezTo>
                  <a:cubicBezTo>
                    <a:pt x="262" y="612"/>
                    <a:pt x="262" y="612"/>
                    <a:pt x="262" y="612"/>
                  </a:cubicBezTo>
                  <a:lnTo>
                    <a:pt x="266" y="610"/>
                  </a:lnTo>
                  <a:close/>
                  <a:moveTo>
                    <a:pt x="258" y="630"/>
                  </a:moveTo>
                  <a:cubicBezTo>
                    <a:pt x="261" y="629"/>
                    <a:pt x="261" y="629"/>
                    <a:pt x="261" y="629"/>
                  </a:cubicBezTo>
                  <a:cubicBezTo>
                    <a:pt x="258" y="626"/>
                    <a:pt x="258" y="626"/>
                    <a:pt x="258" y="626"/>
                  </a:cubicBezTo>
                  <a:lnTo>
                    <a:pt x="258" y="630"/>
                  </a:lnTo>
                  <a:close/>
                  <a:moveTo>
                    <a:pt x="249" y="651"/>
                  </a:moveTo>
                  <a:cubicBezTo>
                    <a:pt x="253" y="644"/>
                    <a:pt x="253" y="644"/>
                    <a:pt x="253" y="644"/>
                  </a:cubicBezTo>
                  <a:cubicBezTo>
                    <a:pt x="250" y="643"/>
                    <a:pt x="250" y="643"/>
                    <a:pt x="250" y="643"/>
                  </a:cubicBezTo>
                  <a:cubicBezTo>
                    <a:pt x="246" y="649"/>
                    <a:pt x="246" y="649"/>
                    <a:pt x="246" y="649"/>
                  </a:cubicBezTo>
                  <a:lnTo>
                    <a:pt x="249" y="651"/>
                  </a:lnTo>
                  <a:close/>
                  <a:moveTo>
                    <a:pt x="245" y="653"/>
                  </a:moveTo>
                  <a:cubicBezTo>
                    <a:pt x="244" y="656"/>
                    <a:pt x="245" y="658"/>
                    <a:pt x="247" y="656"/>
                  </a:cubicBezTo>
                  <a:cubicBezTo>
                    <a:pt x="249" y="653"/>
                    <a:pt x="246" y="651"/>
                    <a:pt x="245" y="653"/>
                  </a:cubicBezTo>
                  <a:close/>
                  <a:moveTo>
                    <a:pt x="238" y="652"/>
                  </a:moveTo>
                  <a:cubicBezTo>
                    <a:pt x="241" y="653"/>
                    <a:pt x="241" y="653"/>
                    <a:pt x="241" y="653"/>
                  </a:cubicBezTo>
                  <a:cubicBezTo>
                    <a:pt x="243" y="649"/>
                    <a:pt x="243" y="649"/>
                    <a:pt x="243" y="649"/>
                  </a:cubicBezTo>
                  <a:cubicBezTo>
                    <a:pt x="242" y="649"/>
                    <a:pt x="242" y="649"/>
                    <a:pt x="242" y="649"/>
                  </a:cubicBezTo>
                  <a:lnTo>
                    <a:pt x="238" y="652"/>
                  </a:lnTo>
                  <a:close/>
                  <a:moveTo>
                    <a:pt x="251" y="632"/>
                  </a:moveTo>
                  <a:cubicBezTo>
                    <a:pt x="249" y="633"/>
                    <a:pt x="249" y="633"/>
                    <a:pt x="249" y="633"/>
                  </a:cubicBezTo>
                  <a:cubicBezTo>
                    <a:pt x="246" y="635"/>
                    <a:pt x="246" y="635"/>
                    <a:pt x="246" y="635"/>
                  </a:cubicBezTo>
                  <a:cubicBezTo>
                    <a:pt x="251" y="636"/>
                    <a:pt x="251" y="636"/>
                    <a:pt x="251" y="636"/>
                  </a:cubicBezTo>
                  <a:lnTo>
                    <a:pt x="251" y="632"/>
                  </a:lnTo>
                  <a:close/>
                  <a:moveTo>
                    <a:pt x="229" y="662"/>
                  </a:moveTo>
                  <a:cubicBezTo>
                    <a:pt x="229" y="664"/>
                    <a:pt x="229" y="664"/>
                    <a:pt x="229" y="664"/>
                  </a:cubicBezTo>
                  <a:cubicBezTo>
                    <a:pt x="232" y="666"/>
                    <a:pt x="232" y="666"/>
                    <a:pt x="232" y="666"/>
                  </a:cubicBezTo>
                  <a:cubicBezTo>
                    <a:pt x="231" y="661"/>
                    <a:pt x="231" y="661"/>
                    <a:pt x="231" y="661"/>
                  </a:cubicBezTo>
                  <a:lnTo>
                    <a:pt x="229" y="662"/>
                  </a:lnTo>
                  <a:close/>
                  <a:moveTo>
                    <a:pt x="246" y="562"/>
                  </a:moveTo>
                  <a:cubicBezTo>
                    <a:pt x="244" y="562"/>
                    <a:pt x="244" y="562"/>
                    <a:pt x="244" y="562"/>
                  </a:cubicBezTo>
                  <a:cubicBezTo>
                    <a:pt x="243" y="558"/>
                    <a:pt x="243" y="558"/>
                    <a:pt x="243" y="558"/>
                  </a:cubicBezTo>
                  <a:cubicBezTo>
                    <a:pt x="241" y="554"/>
                    <a:pt x="241" y="554"/>
                    <a:pt x="241" y="554"/>
                  </a:cubicBezTo>
                  <a:cubicBezTo>
                    <a:pt x="240" y="554"/>
                    <a:pt x="240" y="554"/>
                    <a:pt x="240" y="554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6" y="567"/>
                    <a:pt x="246" y="567"/>
                    <a:pt x="246" y="567"/>
                  </a:cubicBezTo>
                  <a:lnTo>
                    <a:pt x="246" y="562"/>
                  </a:lnTo>
                  <a:close/>
                  <a:moveTo>
                    <a:pt x="245" y="571"/>
                  </a:moveTo>
                  <a:cubicBezTo>
                    <a:pt x="248" y="572"/>
                    <a:pt x="249" y="569"/>
                    <a:pt x="246" y="569"/>
                  </a:cubicBezTo>
                  <a:cubicBezTo>
                    <a:pt x="243" y="569"/>
                    <a:pt x="243" y="571"/>
                    <a:pt x="245" y="571"/>
                  </a:cubicBezTo>
                  <a:close/>
                  <a:moveTo>
                    <a:pt x="253" y="571"/>
                  </a:moveTo>
                  <a:cubicBezTo>
                    <a:pt x="250" y="571"/>
                    <a:pt x="250" y="574"/>
                    <a:pt x="253" y="576"/>
                  </a:cubicBezTo>
                  <a:cubicBezTo>
                    <a:pt x="255" y="577"/>
                    <a:pt x="256" y="576"/>
                    <a:pt x="256" y="573"/>
                  </a:cubicBezTo>
                  <a:cubicBezTo>
                    <a:pt x="255" y="571"/>
                    <a:pt x="254" y="571"/>
                    <a:pt x="253" y="571"/>
                  </a:cubicBezTo>
                  <a:close/>
                  <a:moveTo>
                    <a:pt x="200" y="696"/>
                  </a:moveTo>
                  <a:cubicBezTo>
                    <a:pt x="199" y="693"/>
                    <a:pt x="199" y="693"/>
                    <a:pt x="199" y="693"/>
                  </a:cubicBezTo>
                  <a:cubicBezTo>
                    <a:pt x="198" y="693"/>
                    <a:pt x="198" y="693"/>
                    <a:pt x="198" y="69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202" y="698"/>
                    <a:pt x="202" y="698"/>
                    <a:pt x="202" y="698"/>
                  </a:cubicBezTo>
                  <a:lnTo>
                    <a:pt x="200" y="696"/>
                  </a:lnTo>
                  <a:close/>
                  <a:moveTo>
                    <a:pt x="198" y="739"/>
                  </a:moveTo>
                  <a:cubicBezTo>
                    <a:pt x="195" y="736"/>
                    <a:pt x="195" y="736"/>
                    <a:pt x="195" y="736"/>
                  </a:cubicBezTo>
                  <a:cubicBezTo>
                    <a:pt x="195" y="740"/>
                    <a:pt x="195" y="740"/>
                    <a:pt x="195" y="740"/>
                  </a:cubicBezTo>
                  <a:lnTo>
                    <a:pt x="198" y="739"/>
                  </a:lnTo>
                  <a:close/>
                  <a:moveTo>
                    <a:pt x="266" y="598"/>
                  </a:moveTo>
                  <a:cubicBezTo>
                    <a:pt x="263" y="596"/>
                    <a:pt x="263" y="596"/>
                    <a:pt x="263" y="596"/>
                  </a:cubicBezTo>
                  <a:cubicBezTo>
                    <a:pt x="261" y="598"/>
                    <a:pt x="261" y="598"/>
                    <a:pt x="261" y="598"/>
                  </a:cubicBezTo>
                  <a:lnTo>
                    <a:pt x="266" y="598"/>
                  </a:lnTo>
                  <a:close/>
                  <a:moveTo>
                    <a:pt x="205" y="485"/>
                  </a:moveTo>
                  <a:cubicBezTo>
                    <a:pt x="206" y="482"/>
                    <a:pt x="206" y="482"/>
                    <a:pt x="206" y="482"/>
                  </a:cubicBezTo>
                  <a:cubicBezTo>
                    <a:pt x="202" y="479"/>
                    <a:pt x="202" y="479"/>
                    <a:pt x="202" y="479"/>
                  </a:cubicBezTo>
                  <a:cubicBezTo>
                    <a:pt x="200" y="482"/>
                    <a:pt x="200" y="482"/>
                    <a:pt x="200" y="482"/>
                  </a:cubicBezTo>
                  <a:lnTo>
                    <a:pt x="205" y="485"/>
                  </a:lnTo>
                  <a:close/>
                  <a:moveTo>
                    <a:pt x="199" y="439"/>
                  </a:moveTo>
                  <a:cubicBezTo>
                    <a:pt x="201" y="439"/>
                    <a:pt x="201" y="439"/>
                    <a:pt x="201" y="439"/>
                  </a:cubicBezTo>
                  <a:cubicBezTo>
                    <a:pt x="200" y="432"/>
                    <a:pt x="200" y="432"/>
                    <a:pt x="200" y="432"/>
                  </a:cubicBezTo>
                  <a:cubicBezTo>
                    <a:pt x="198" y="431"/>
                    <a:pt x="198" y="431"/>
                    <a:pt x="198" y="431"/>
                  </a:cubicBezTo>
                  <a:lnTo>
                    <a:pt x="199" y="439"/>
                  </a:lnTo>
                  <a:close/>
                  <a:moveTo>
                    <a:pt x="217" y="421"/>
                  </a:moveTo>
                  <a:cubicBezTo>
                    <a:pt x="216" y="419"/>
                    <a:pt x="216" y="419"/>
                    <a:pt x="216" y="419"/>
                  </a:cubicBezTo>
                  <a:cubicBezTo>
                    <a:pt x="214" y="419"/>
                    <a:pt x="214" y="419"/>
                    <a:pt x="214" y="419"/>
                  </a:cubicBezTo>
                  <a:cubicBezTo>
                    <a:pt x="214" y="421"/>
                    <a:pt x="214" y="421"/>
                    <a:pt x="214" y="421"/>
                  </a:cubicBezTo>
                  <a:cubicBezTo>
                    <a:pt x="214" y="425"/>
                    <a:pt x="214" y="425"/>
                    <a:pt x="214" y="425"/>
                  </a:cubicBezTo>
                  <a:lnTo>
                    <a:pt x="217" y="421"/>
                  </a:lnTo>
                  <a:close/>
                  <a:moveTo>
                    <a:pt x="220" y="411"/>
                  </a:moveTo>
                  <a:cubicBezTo>
                    <a:pt x="215" y="412"/>
                    <a:pt x="214" y="415"/>
                    <a:pt x="216" y="416"/>
                  </a:cubicBezTo>
                  <a:cubicBezTo>
                    <a:pt x="220" y="418"/>
                    <a:pt x="223" y="411"/>
                    <a:pt x="220" y="411"/>
                  </a:cubicBezTo>
                  <a:close/>
                  <a:moveTo>
                    <a:pt x="234" y="392"/>
                  </a:moveTo>
                  <a:cubicBezTo>
                    <a:pt x="232" y="384"/>
                    <a:pt x="232" y="384"/>
                    <a:pt x="232" y="384"/>
                  </a:cubicBezTo>
                  <a:cubicBezTo>
                    <a:pt x="231" y="393"/>
                    <a:pt x="231" y="393"/>
                    <a:pt x="231" y="393"/>
                  </a:cubicBezTo>
                  <a:lnTo>
                    <a:pt x="234" y="392"/>
                  </a:lnTo>
                  <a:close/>
                  <a:moveTo>
                    <a:pt x="294" y="340"/>
                  </a:moveTo>
                  <a:cubicBezTo>
                    <a:pt x="294" y="343"/>
                    <a:pt x="294" y="343"/>
                    <a:pt x="294" y="343"/>
                  </a:cubicBezTo>
                  <a:cubicBezTo>
                    <a:pt x="297" y="342"/>
                    <a:pt x="297" y="342"/>
                    <a:pt x="297" y="342"/>
                  </a:cubicBezTo>
                  <a:cubicBezTo>
                    <a:pt x="296" y="336"/>
                    <a:pt x="296" y="336"/>
                    <a:pt x="296" y="336"/>
                  </a:cubicBezTo>
                  <a:lnTo>
                    <a:pt x="294" y="340"/>
                  </a:lnTo>
                  <a:close/>
                  <a:moveTo>
                    <a:pt x="293" y="335"/>
                  </a:moveTo>
                  <a:cubicBezTo>
                    <a:pt x="290" y="340"/>
                    <a:pt x="294" y="336"/>
                    <a:pt x="294" y="336"/>
                  </a:cubicBezTo>
                  <a:cubicBezTo>
                    <a:pt x="296" y="333"/>
                    <a:pt x="295" y="331"/>
                    <a:pt x="293" y="335"/>
                  </a:cubicBezTo>
                  <a:close/>
                  <a:moveTo>
                    <a:pt x="298" y="236"/>
                  </a:moveTo>
                  <a:cubicBezTo>
                    <a:pt x="300" y="240"/>
                    <a:pt x="300" y="240"/>
                    <a:pt x="300" y="240"/>
                  </a:cubicBezTo>
                  <a:cubicBezTo>
                    <a:pt x="306" y="242"/>
                    <a:pt x="306" y="242"/>
                    <a:pt x="306" y="242"/>
                  </a:cubicBezTo>
                  <a:cubicBezTo>
                    <a:pt x="307" y="241"/>
                    <a:pt x="307" y="241"/>
                    <a:pt x="307" y="241"/>
                  </a:cubicBezTo>
                  <a:cubicBezTo>
                    <a:pt x="304" y="239"/>
                    <a:pt x="304" y="239"/>
                    <a:pt x="304" y="239"/>
                  </a:cubicBezTo>
                  <a:cubicBezTo>
                    <a:pt x="305" y="236"/>
                    <a:pt x="305" y="236"/>
                    <a:pt x="305" y="236"/>
                  </a:cubicBezTo>
                  <a:cubicBezTo>
                    <a:pt x="303" y="235"/>
                    <a:pt x="303" y="235"/>
                    <a:pt x="303" y="235"/>
                  </a:cubicBezTo>
                  <a:cubicBezTo>
                    <a:pt x="302" y="237"/>
                    <a:pt x="302" y="237"/>
                    <a:pt x="302" y="237"/>
                  </a:cubicBezTo>
                  <a:cubicBezTo>
                    <a:pt x="302" y="235"/>
                    <a:pt x="302" y="235"/>
                    <a:pt x="302" y="235"/>
                  </a:cubicBezTo>
                  <a:lnTo>
                    <a:pt x="298" y="236"/>
                  </a:lnTo>
                  <a:close/>
                  <a:moveTo>
                    <a:pt x="312" y="222"/>
                  </a:moveTo>
                  <a:cubicBezTo>
                    <a:pt x="315" y="226"/>
                    <a:pt x="315" y="226"/>
                    <a:pt x="315" y="226"/>
                  </a:cubicBezTo>
                  <a:cubicBezTo>
                    <a:pt x="314" y="221"/>
                    <a:pt x="314" y="221"/>
                    <a:pt x="314" y="221"/>
                  </a:cubicBezTo>
                  <a:lnTo>
                    <a:pt x="312" y="222"/>
                  </a:lnTo>
                  <a:close/>
                  <a:moveTo>
                    <a:pt x="320" y="227"/>
                  </a:moveTo>
                  <a:cubicBezTo>
                    <a:pt x="322" y="224"/>
                    <a:pt x="322" y="224"/>
                    <a:pt x="322" y="224"/>
                  </a:cubicBezTo>
                  <a:cubicBezTo>
                    <a:pt x="317" y="225"/>
                    <a:pt x="317" y="225"/>
                    <a:pt x="317" y="225"/>
                  </a:cubicBezTo>
                  <a:lnTo>
                    <a:pt x="320" y="227"/>
                  </a:lnTo>
                  <a:close/>
                  <a:moveTo>
                    <a:pt x="322" y="222"/>
                  </a:moveTo>
                  <a:cubicBezTo>
                    <a:pt x="326" y="222"/>
                    <a:pt x="326" y="222"/>
                    <a:pt x="326" y="222"/>
                  </a:cubicBezTo>
                  <a:cubicBezTo>
                    <a:pt x="326" y="221"/>
                    <a:pt x="326" y="221"/>
                    <a:pt x="326" y="221"/>
                  </a:cubicBezTo>
                  <a:cubicBezTo>
                    <a:pt x="322" y="220"/>
                    <a:pt x="322" y="220"/>
                    <a:pt x="322" y="220"/>
                  </a:cubicBezTo>
                  <a:lnTo>
                    <a:pt x="322" y="222"/>
                  </a:lnTo>
                  <a:close/>
                  <a:moveTo>
                    <a:pt x="325" y="217"/>
                  </a:moveTo>
                  <a:cubicBezTo>
                    <a:pt x="326" y="213"/>
                    <a:pt x="326" y="213"/>
                    <a:pt x="326" y="213"/>
                  </a:cubicBezTo>
                  <a:cubicBezTo>
                    <a:pt x="322" y="215"/>
                    <a:pt x="322" y="215"/>
                    <a:pt x="322" y="215"/>
                  </a:cubicBezTo>
                  <a:lnTo>
                    <a:pt x="325" y="217"/>
                  </a:lnTo>
                  <a:close/>
                  <a:moveTo>
                    <a:pt x="319" y="219"/>
                  </a:moveTo>
                  <a:cubicBezTo>
                    <a:pt x="317" y="218"/>
                    <a:pt x="315" y="219"/>
                    <a:pt x="315" y="219"/>
                  </a:cubicBezTo>
                  <a:cubicBezTo>
                    <a:pt x="315" y="219"/>
                    <a:pt x="314" y="220"/>
                    <a:pt x="316" y="221"/>
                  </a:cubicBezTo>
                  <a:cubicBezTo>
                    <a:pt x="319" y="221"/>
                    <a:pt x="320" y="220"/>
                    <a:pt x="319" y="219"/>
                  </a:cubicBezTo>
                  <a:close/>
                  <a:moveTo>
                    <a:pt x="354" y="202"/>
                  </a:moveTo>
                  <a:cubicBezTo>
                    <a:pt x="356" y="202"/>
                    <a:pt x="356" y="202"/>
                    <a:pt x="356" y="202"/>
                  </a:cubicBezTo>
                  <a:cubicBezTo>
                    <a:pt x="356" y="200"/>
                    <a:pt x="356" y="200"/>
                    <a:pt x="356" y="200"/>
                  </a:cubicBezTo>
                  <a:cubicBezTo>
                    <a:pt x="354" y="200"/>
                    <a:pt x="354" y="200"/>
                    <a:pt x="354" y="200"/>
                  </a:cubicBezTo>
                  <a:lnTo>
                    <a:pt x="354" y="202"/>
                  </a:lnTo>
                  <a:close/>
                </a:path>
              </a:pathLst>
            </a:custGeom>
            <a:solidFill>
              <a:srgbClr val="B6C5E5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41" name="Freeform 25"/>
            <p:cNvSpPr>
              <a:spLocks noEditPoints="1"/>
            </p:cNvSpPr>
            <p:nvPr/>
          </p:nvSpPr>
          <p:spPr bwMode="auto">
            <a:xfrm>
              <a:off x="2943" y="206"/>
              <a:ext cx="937" cy="1193"/>
            </a:xfrm>
            <a:custGeom>
              <a:avLst/>
              <a:gdLst/>
              <a:ahLst/>
              <a:cxnLst>
                <a:cxn ang="0">
                  <a:pos x="626" y="61"/>
                </a:cxn>
                <a:cxn ang="0">
                  <a:pos x="605" y="40"/>
                </a:cxn>
                <a:cxn ang="0">
                  <a:pos x="586" y="22"/>
                </a:cxn>
                <a:cxn ang="0">
                  <a:pos x="547" y="55"/>
                </a:cxn>
                <a:cxn ang="0">
                  <a:pos x="532" y="46"/>
                </a:cxn>
                <a:cxn ang="0">
                  <a:pos x="465" y="77"/>
                </a:cxn>
                <a:cxn ang="0">
                  <a:pos x="445" y="116"/>
                </a:cxn>
                <a:cxn ang="0">
                  <a:pos x="410" y="132"/>
                </a:cxn>
                <a:cxn ang="0">
                  <a:pos x="380" y="181"/>
                </a:cxn>
                <a:cxn ang="0">
                  <a:pos x="374" y="209"/>
                </a:cxn>
                <a:cxn ang="0">
                  <a:pos x="330" y="227"/>
                </a:cxn>
                <a:cxn ang="0">
                  <a:pos x="331" y="254"/>
                </a:cxn>
                <a:cxn ang="0">
                  <a:pos x="331" y="290"/>
                </a:cxn>
                <a:cxn ang="0">
                  <a:pos x="275" y="339"/>
                </a:cxn>
                <a:cxn ang="0">
                  <a:pos x="261" y="381"/>
                </a:cxn>
                <a:cxn ang="0">
                  <a:pos x="252" y="428"/>
                </a:cxn>
                <a:cxn ang="0">
                  <a:pos x="198" y="471"/>
                </a:cxn>
                <a:cxn ang="0">
                  <a:pos x="224" y="509"/>
                </a:cxn>
                <a:cxn ang="0">
                  <a:pos x="141" y="534"/>
                </a:cxn>
                <a:cxn ang="0">
                  <a:pos x="122" y="571"/>
                </a:cxn>
                <a:cxn ang="0">
                  <a:pos x="96" y="584"/>
                </a:cxn>
                <a:cxn ang="0">
                  <a:pos x="69" y="595"/>
                </a:cxn>
                <a:cxn ang="0">
                  <a:pos x="26" y="611"/>
                </a:cxn>
                <a:cxn ang="0">
                  <a:pos x="23" y="650"/>
                </a:cxn>
                <a:cxn ang="0">
                  <a:pos x="83" y="675"/>
                </a:cxn>
                <a:cxn ang="0">
                  <a:pos x="74" y="678"/>
                </a:cxn>
                <a:cxn ang="0">
                  <a:pos x="38" y="704"/>
                </a:cxn>
                <a:cxn ang="0">
                  <a:pos x="55" y="723"/>
                </a:cxn>
                <a:cxn ang="0">
                  <a:pos x="42" y="766"/>
                </a:cxn>
                <a:cxn ang="0">
                  <a:pos x="26" y="785"/>
                </a:cxn>
                <a:cxn ang="0">
                  <a:pos x="34" y="813"/>
                </a:cxn>
                <a:cxn ang="0">
                  <a:pos x="65" y="873"/>
                </a:cxn>
                <a:cxn ang="0">
                  <a:pos x="182" y="789"/>
                </a:cxn>
                <a:cxn ang="0">
                  <a:pos x="230" y="815"/>
                </a:cxn>
                <a:cxn ang="0">
                  <a:pos x="305" y="482"/>
                </a:cxn>
                <a:cxn ang="0">
                  <a:pos x="443" y="205"/>
                </a:cxn>
                <a:cxn ang="0">
                  <a:pos x="595" y="78"/>
                </a:cxn>
                <a:cxn ang="0">
                  <a:pos x="18" y="803"/>
                </a:cxn>
                <a:cxn ang="0">
                  <a:pos x="10" y="767"/>
                </a:cxn>
                <a:cxn ang="0">
                  <a:pos x="14" y="743"/>
                </a:cxn>
                <a:cxn ang="0">
                  <a:pos x="10" y="711"/>
                </a:cxn>
                <a:cxn ang="0">
                  <a:pos x="8" y="699"/>
                </a:cxn>
                <a:cxn ang="0">
                  <a:pos x="7" y="680"/>
                </a:cxn>
                <a:cxn ang="0">
                  <a:pos x="15" y="632"/>
                </a:cxn>
                <a:cxn ang="0">
                  <a:pos x="44" y="600"/>
                </a:cxn>
                <a:cxn ang="0">
                  <a:pos x="58" y="582"/>
                </a:cxn>
                <a:cxn ang="0">
                  <a:pos x="106" y="551"/>
                </a:cxn>
                <a:cxn ang="0">
                  <a:pos x="123" y="537"/>
                </a:cxn>
                <a:cxn ang="0">
                  <a:pos x="162" y="515"/>
                </a:cxn>
                <a:cxn ang="0">
                  <a:pos x="259" y="367"/>
                </a:cxn>
                <a:cxn ang="0">
                  <a:pos x="264" y="359"/>
                </a:cxn>
                <a:cxn ang="0">
                  <a:pos x="301" y="294"/>
                </a:cxn>
                <a:cxn ang="0">
                  <a:pos x="351" y="208"/>
                </a:cxn>
                <a:cxn ang="0">
                  <a:pos x="296" y="220"/>
                </a:cxn>
                <a:cxn ang="0">
                  <a:pos x="362" y="187"/>
                </a:cxn>
                <a:cxn ang="0">
                  <a:pos x="322" y="218"/>
                </a:cxn>
                <a:cxn ang="0">
                  <a:pos x="320" y="183"/>
                </a:cxn>
                <a:cxn ang="0">
                  <a:pos x="367" y="152"/>
                </a:cxn>
                <a:cxn ang="0">
                  <a:pos x="411" y="97"/>
                </a:cxn>
                <a:cxn ang="0">
                  <a:pos x="407" y="97"/>
                </a:cxn>
                <a:cxn ang="0">
                  <a:pos x="492" y="40"/>
                </a:cxn>
                <a:cxn ang="0">
                  <a:pos x="514" y="56"/>
                </a:cxn>
                <a:cxn ang="0">
                  <a:pos x="538" y="19"/>
                </a:cxn>
              </a:cxnLst>
              <a:rect l="0" t="0" r="r" b="b"/>
              <a:pathLst>
                <a:path w="690" h="880">
                  <a:moveTo>
                    <a:pt x="685" y="71"/>
                  </a:moveTo>
                  <a:cubicBezTo>
                    <a:pt x="685" y="68"/>
                    <a:pt x="685" y="68"/>
                    <a:pt x="685" y="68"/>
                  </a:cubicBezTo>
                  <a:cubicBezTo>
                    <a:pt x="681" y="68"/>
                    <a:pt x="681" y="68"/>
                    <a:pt x="681" y="68"/>
                  </a:cubicBezTo>
                  <a:cubicBezTo>
                    <a:pt x="681" y="68"/>
                    <a:pt x="681" y="66"/>
                    <a:pt x="678" y="66"/>
                  </a:cubicBezTo>
                  <a:cubicBezTo>
                    <a:pt x="673" y="66"/>
                    <a:pt x="673" y="66"/>
                    <a:pt x="673" y="66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3" y="76"/>
                    <a:pt x="673" y="76"/>
                    <a:pt x="673" y="76"/>
                  </a:cubicBezTo>
                  <a:cubicBezTo>
                    <a:pt x="673" y="72"/>
                    <a:pt x="673" y="72"/>
                    <a:pt x="673" y="72"/>
                  </a:cubicBezTo>
                  <a:cubicBezTo>
                    <a:pt x="668" y="64"/>
                    <a:pt x="668" y="64"/>
                    <a:pt x="668" y="64"/>
                  </a:cubicBezTo>
                  <a:cubicBezTo>
                    <a:pt x="666" y="64"/>
                    <a:pt x="666" y="64"/>
                    <a:pt x="666" y="64"/>
                  </a:cubicBezTo>
                  <a:cubicBezTo>
                    <a:pt x="668" y="72"/>
                    <a:pt x="668" y="72"/>
                    <a:pt x="668" y="72"/>
                  </a:cubicBezTo>
                  <a:cubicBezTo>
                    <a:pt x="666" y="76"/>
                    <a:pt x="666" y="76"/>
                    <a:pt x="666" y="76"/>
                  </a:cubicBezTo>
                  <a:cubicBezTo>
                    <a:pt x="664" y="73"/>
                    <a:pt x="664" y="73"/>
                    <a:pt x="664" y="73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59" y="77"/>
                    <a:pt x="659" y="77"/>
                    <a:pt x="659" y="77"/>
                  </a:cubicBezTo>
                  <a:cubicBezTo>
                    <a:pt x="659" y="77"/>
                    <a:pt x="656" y="81"/>
                    <a:pt x="655" y="81"/>
                  </a:cubicBezTo>
                  <a:cubicBezTo>
                    <a:pt x="654" y="80"/>
                    <a:pt x="655" y="77"/>
                    <a:pt x="656" y="75"/>
                  </a:cubicBezTo>
                  <a:cubicBezTo>
                    <a:pt x="657" y="74"/>
                    <a:pt x="657" y="67"/>
                    <a:pt x="654" y="66"/>
                  </a:cubicBezTo>
                  <a:cubicBezTo>
                    <a:pt x="652" y="64"/>
                    <a:pt x="649" y="71"/>
                    <a:pt x="649" y="71"/>
                  </a:cubicBezTo>
                  <a:cubicBezTo>
                    <a:pt x="647" y="71"/>
                    <a:pt x="647" y="71"/>
                    <a:pt x="647" y="71"/>
                  </a:cubicBezTo>
                  <a:cubicBezTo>
                    <a:pt x="647" y="71"/>
                    <a:pt x="653" y="64"/>
                    <a:pt x="649" y="62"/>
                  </a:cubicBezTo>
                  <a:cubicBezTo>
                    <a:pt x="645" y="59"/>
                    <a:pt x="641" y="62"/>
                    <a:pt x="641" y="62"/>
                  </a:cubicBezTo>
                  <a:cubicBezTo>
                    <a:pt x="637" y="59"/>
                    <a:pt x="637" y="59"/>
                    <a:pt x="637" y="59"/>
                  </a:cubicBezTo>
                  <a:cubicBezTo>
                    <a:pt x="633" y="61"/>
                    <a:pt x="633" y="61"/>
                    <a:pt x="633" y="61"/>
                  </a:cubicBezTo>
                  <a:cubicBezTo>
                    <a:pt x="632" y="59"/>
                    <a:pt x="632" y="59"/>
                    <a:pt x="632" y="59"/>
                  </a:cubicBezTo>
                  <a:cubicBezTo>
                    <a:pt x="632" y="59"/>
                    <a:pt x="629" y="62"/>
                    <a:pt x="626" y="61"/>
                  </a:cubicBezTo>
                  <a:cubicBezTo>
                    <a:pt x="624" y="60"/>
                    <a:pt x="626" y="58"/>
                    <a:pt x="626" y="58"/>
                  </a:cubicBezTo>
                  <a:cubicBezTo>
                    <a:pt x="626" y="57"/>
                    <a:pt x="624" y="56"/>
                    <a:pt x="625" y="53"/>
                  </a:cubicBezTo>
                  <a:cubicBezTo>
                    <a:pt x="625" y="51"/>
                    <a:pt x="646" y="57"/>
                    <a:pt x="646" y="57"/>
                  </a:cubicBezTo>
                  <a:cubicBezTo>
                    <a:pt x="646" y="57"/>
                    <a:pt x="655" y="57"/>
                    <a:pt x="662" y="52"/>
                  </a:cubicBezTo>
                  <a:cubicBezTo>
                    <a:pt x="668" y="47"/>
                    <a:pt x="666" y="41"/>
                    <a:pt x="666" y="41"/>
                  </a:cubicBezTo>
                  <a:cubicBezTo>
                    <a:pt x="666" y="41"/>
                    <a:pt x="678" y="35"/>
                    <a:pt x="677" y="30"/>
                  </a:cubicBezTo>
                  <a:cubicBezTo>
                    <a:pt x="675" y="26"/>
                    <a:pt x="667" y="28"/>
                    <a:pt x="667" y="28"/>
                  </a:cubicBezTo>
                  <a:cubicBezTo>
                    <a:pt x="667" y="28"/>
                    <a:pt x="664" y="24"/>
                    <a:pt x="661" y="24"/>
                  </a:cubicBezTo>
                  <a:cubicBezTo>
                    <a:pt x="656" y="24"/>
                    <a:pt x="652" y="27"/>
                    <a:pt x="652" y="27"/>
                  </a:cubicBezTo>
                  <a:cubicBezTo>
                    <a:pt x="655" y="19"/>
                    <a:pt x="655" y="19"/>
                    <a:pt x="655" y="19"/>
                  </a:cubicBezTo>
                  <a:cubicBezTo>
                    <a:pt x="651" y="19"/>
                    <a:pt x="651" y="19"/>
                    <a:pt x="651" y="19"/>
                  </a:cubicBezTo>
                  <a:cubicBezTo>
                    <a:pt x="651" y="19"/>
                    <a:pt x="652" y="16"/>
                    <a:pt x="648" y="16"/>
                  </a:cubicBezTo>
                  <a:cubicBezTo>
                    <a:pt x="644" y="15"/>
                    <a:pt x="645" y="21"/>
                    <a:pt x="642" y="21"/>
                  </a:cubicBezTo>
                  <a:cubicBezTo>
                    <a:pt x="640" y="22"/>
                    <a:pt x="642" y="16"/>
                    <a:pt x="640" y="16"/>
                  </a:cubicBezTo>
                  <a:cubicBezTo>
                    <a:pt x="639" y="16"/>
                    <a:pt x="632" y="22"/>
                    <a:pt x="632" y="22"/>
                  </a:cubicBezTo>
                  <a:cubicBezTo>
                    <a:pt x="632" y="15"/>
                    <a:pt x="632" y="15"/>
                    <a:pt x="632" y="15"/>
                  </a:cubicBezTo>
                  <a:cubicBezTo>
                    <a:pt x="632" y="15"/>
                    <a:pt x="629" y="10"/>
                    <a:pt x="622" y="11"/>
                  </a:cubicBezTo>
                  <a:cubicBezTo>
                    <a:pt x="615" y="11"/>
                    <a:pt x="616" y="22"/>
                    <a:pt x="616" y="22"/>
                  </a:cubicBezTo>
                  <a:cubicBezTo>
                    <a:pt x="617" y="25"/>
                    <a:pt x="617" y="25"/>
                    <a:pt x="617" y="25"/>
                  </a:cubicBezTo>
                  <a:cubicBezTo>
                    <a:pt x="616" y="36"/>
                    <a:pt x="616" y="36"/>
                    <a:pt x="616" y="36"/>
                  </a:cubicBezTo>
                  <a:cubicBezTo>
                    <a:pt x="619" y="36"/>
                    <a:pt x="619" y="36"/>
                    <a:pt x="619" y="36"/>
                  </a:cubicBezTo>
                  <a:cubicBezTo>
                    <a:pt x="619" y="39"/>
                    <a:pt x="619" y="39"/>
                    <a:pt x="619" y="39"/>
                  </a:cubicBezTo>
                  <a:cubicBezTo>
                    <a:pt x="614" y="39"/>
                    <a:pt x="614" y="39"/>
                    <a:pt x="614" y="39"/>
                  </a:cubicBezTo>
                  <a:cubicBezTo>
                    <a:pt x="613" y="35"/>
                    <a:pt x="613" y="35"/>
                    <a:pt x="613" y="35"/>
                  </a:cubicBezTo>
                  <a:cubicBezTo>
                    <a:pt x="608" y="40"/>
                    <a:pt x="608" y="40"/>
                    <a:pt x="608" y="40"/>
                  </a:cubicBezTo>
                  <a:cubicBezTo>
                    <a:pt x="605" y="40"/>
                    <a:pt x="605" y="40"/>
                    <a:pt x="605" y="40"/>
                  </a:cubicBezTo>
                  <a:cubicBezTo>
                    <a:pt x="605" y="42"/>
                    <a:pt x="605" y="42"/>
                    <a:pt x="605" y="42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603" y="37"/>
                    <a:pt x="606" y="34"/>
                    <a:pt x="608" y="33"/>
                  </a:cubicBezTo>
                  <a:cubicBezTo>
                    <a:pt x="610" y="31"/>
                    <a:pt x="612" y="25"/>
                    <a:pt x="610" y="22"/>
                  </a:cubicBezTo>
                  <a:cubicBezTo>
                    <a:pt x="609" y="21"/>
                    <a:pt x="605" y="26"/>
                    <a:pt x="604" y="28"/>
                  </a:cubicBezTo>
                  <a:cubicBezTo>
                    <a:pt x="604" y="30"/>
                    <a:pt x="599" y="32"/>
                    <a:pt x="599" y="32"/>
                  </a:cubicBezTo>
                  <a:cubicBezTo>
                    <a:pt x="599" y="32"/>
                    <a:pt x="601" y="29"/>
                    <a:pt x="602" y="28"/>
                  </a:cubicBezTo>
                  <a:cubicBezTo>
                    <a:pt x="603" y="27"/>
                    <a:pt x="606" y="21"/>
                    <a:pt x="606" y="21"/>
                  </a:cubicBezTo>
                  <a:cubicBezTo>
                    <a:pt x="602" y="21"/>
                    <a:pt x="602" y="21"/>
                    <a:pt x="602" y="21"/>
                  </a:cubicBezTo>
                  <a:cubicBezTo>
                    <a:pt x="601" y="21"/>
                    <a:pt x="598" y="25"/>
                    <a:pt x="598" y="25"/>
                  </a:cubicBezTo>
                  <a:cubicBezTo>
                    <a:pt x="598" y="25"/>
                    <a:pt x="598" y="22"/>
                    <a:pt x="599" y="21"/>
                  </a:cubicBezTo>
                  <a:cubicBezTo>
                    <a:pt x="599" y="19"/>
                    <a:pt x="604" y="19"/>
                    <a:pt x="608" y="18"/>
                  </a:cubicBezTo>
                  <a:cubicBezTo>
                    <a:pt x="613" y="17"/>
                    <a:pt x="612" y="5"/>
                    <a:pt x="612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5"/>
                    <a:pt x="604" y="8"/>
                    <a:pt x="603" y="6"/>
                  </a:cubicBezTo>
                  <a:cubicBezTo>
                    <a:pt x="601" y="6"/>
                    <a:pt x="604" y="2"/>
                    <a:pt x="602" y="1"/>
                  </a:cubicBezTo>
                  <a:cubicBezTo>
                    <a:pt x="600" y="0"/>
                    <a:pt x="598" y="5"/>
                    <a:pt x="596" y="5"/>
                  </a:cubicBezTo>
                  <a:cubicBezTo>
                    <a:pt x="593" y="6"/>
                    <a:pt x="591" y="1"/>
                    <a:pt x="587" y="2"/>
                  </a:cubicBezTo>
                  <a:cubicBezTo>
                    <a:pt x="584" y="4"/>
                    <a:pt x="591" y="11"/>
                    <a:pt x="589" y="11"/>
                  </a:cubicBezTo>
                  <a:cubicBezTo>
                    <a:pt x="587" y="12"/>
                    <a:pt x="585" y="9"/>
                    <a:pt x="581" y="8"/>
                  </a:cubicBezTo>
                  <a:cubicBezTo>
                    <a:pt x="577" y="8"/>
                    <a:pt x="584" y="13"/>
                    <a:pt x="584" y="13"/>
                  </a:cubicBezTo>
                  <a:cubicBezTo>
                    <a:pt x="581" y="14"/>
                    <a:pt x="581" y="14"/>
                    <a:pt x="581" y="14"/>
                  </a:cubicBezTo>
                  <a:cubicBezTo>
                    <a:pt x="583" y="17"/>
                    <a:pt x="583" y="17"/>
                    <a:pt x="583" y="17"/>
                  </a:cubicBezTo>
                  <a:cubicBezTo>
                    <a:pt x="586" y="17"/>
                    <a:pt x="586" y="17"/>
                    <a:pt x="586" y="17"/>
                  </a:cubicBezTo>
                  <a:cubicBezTo>
                    <a:pt x="593" y="21"/>
                    <a:pt x="593" y="21"/>
                    <a:pt x="593" y="21"/>
                  </a:cubicBezTo>
                  <a:cubicBezTo>
                    <a:pt x="586" y="22"/>
                    <a:pt x="586" y="22"/>
                    <a:pt x="586" y="22"/>
                  </a:cubicBezTo>
                  <a:cubicBezTo>
                    <a:pt x="587" y="27"/>
                    <a:pt x="587" y="27"/>
                    <a:pt x="587" y="27"/>
                  </a:cubicBezTo>
                  <a:cubicBezTo>
                    <a:pt x="583" y="27"/>
                    <a:pt x="583" y="27"/>
                    <a:pt x="583" y="27"/>
                  </a:cubicBezTo>
                  <a:cubicBezTo>
                    <a:pt x="583" y="30"/>
                    <a:pt x="583" y="30"/>
                    <a:pt x="583" y="30"/>
                  </a:cubicBezTo>
                  <a:cubicBezTo>
                    <a:pt x="585" y="31"/>
                    <a:pt x="585" y="31"/>
                    <a:pt x="585" y="31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7" y="36"/>
                    <a:pt x="587" y="36"/>
                    <a:pt x="587" y="36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87" y="45"/>
                    <a:pt x="587" y="45"/>
                    <a:pt x="587" y="45"/>
                  </a:cubicBezTo>
                  <a:cubicBezTo>
                    <a:pt x="580" y="45"/>
                    <a:pt x="580" y="45"/>
                    <a:pt x="580" y="45"/>
                  </a:cubicBezTo>
                  <a:cubicBezTo>
                    <a:pt x="576" y="55"/>
                    <a:pt x="576" y="55"/>
                    <a:pt x="576" y="55"/>
                  </a:cubicBezTo>
                  <a:cubicBezTo>
                    <a:pt x="574" y="35"/>
                    <a:pt x="574" y="35"/>
                    <a:pt x="574" y="35"/>
                  </a:cubicBezTo>
                  <a:cubicBezTo>
                    <a:pt x="569" y="37"/>
                    <a:pt x="569" y="37"/>
                    <a:pt x="569" y="37"/>
                  </a:cubicBezTo>
                  <a:cubicBezTo>
                    <a:pt x="575" y="26"/>
                    <a:pt x="575" y="26"/>
                    <a:pt x="575" y="26"/>
                  </a:cubicBezTo>
                  <a:cubicBezTo>
                    <a:pt x="573" y="24"/>
                    <a:pt x="573" y="24"/>
                    <a:pt x="573" y="24"/>
                  </a:cubicBezTo>
                  <a:cubicBezTo>
                    <a:pt x="573" y="24"/>
                    <a:pt x="574" y="17"/>
                    <a:pt x="569" y="17"/>
                  </a:cubicBezTo>
                  <a:cubicBezTo>
                    <a:pt x="564" y="18"/>
                    <a:pt x="564" y="32"/>
                    <a:pt x="564" y="32"/>
                  </a:cubicBezTo>
                  <a:cubicBezTo>
                    <a:pt x="560" y="33"/>
                    <a:pt x="560" y="33"/>
                    <a:pt x="560" y="33"/>
                  </a:cubicBezTo>
                  <a:cubicBezTo>
                    <a:pt x="560" y="33"/>
                    <a:pt x="561" y="41"/>
                    <a:pt x="558" y="45"/>
                  </a:cubicBezTo>
                  <a:cubicBezTo>
                    <a:pt x="556" y="50"/>
                    <a:pt x="550" y="60"/>
                    <a:pt x="550" y="60"/>
                  </a:cubicBezTo>
                  <a:cubicBezTo>
                    <a:pt x="550" y="60"/>
                    <a:pt x="555" y="62"/>
                    <a:pt x="554" y="65"/>
                  </a:cubicBezTo>
                  <a:cubicBezTo>
                    <a:pt x="553" y="68"/>
                    <a:pt x="551" y="73"/>
                    <a:pt x="551" y="73"/>
                  </a:cubicBezTo>
                  <a:cubicBezTo>
                    <a:pt x="549" y="78"/>
                    <a:pt x="549" y="78"/>
                    <a:pt x="549" y="78"/>
                  </a:cubicBezTo>
                  <a:cubicBezTo>
                    <a:pt x="546" y="74"/>
                    <a:pt x="546" y="74"/>
                    <a:pt x="546" y="74"/>
                  </a:cubicBezTo>
                  <a:cubicBezTo>
                    <a:pt x="544" y="77"/>
                    <a:pt x="544" y="77"/>
                    <a:pt x="544" y="77"/>
                  </a:cubicBezTo>
                  <a:cubicBezTo>
                    <a:pt x="541" y="71"/>
                    <a:pt x="541" y="71"/>
                    <a:pt x="541" y="71"/>
                  </a:cubicBezTo>
                  <a:cubicBezTo>
                    <a:pt x="547" y="55"/>
                    <a:pt x="547" y="55"/>
                    <a:pt x="547" y="55"/>
                  </a:cubicBezTo>
                  <a:cubicBezTo>
                    <a:pt x="542" y="55"/>
                    <a:pt x="542" y="55"/>
                    <a:pt x="542" y="55"/>
                  </a:cubicBezTo>
                  <a:cubicBezTo>
                    <a:pt x="541" y="52"/>
                    <a:pt x="541" y="52"/>
                    <a:pt x="541" y="52"/>
                  </a:cubicBezTo>
                  <a:cubicBezTo>
                    <a:pt x="553" y="34"/>
                    <a:pt x="553" y="34"/>
                    <a:pt x="553" y="34"/>
                  </a:cubicBezTo>
                  <a:cubicBezTo>
                    <a:pt x="551" y="32"/>
                    <a:pt x="551" y="32"/>
                    <a:pt x="551" y="32"/>
                  </a:cubicBezTo>
                  <a:cubicBezTo>
                    <a:pt x="551" y="32"/>
                    <a:pt x="556" y="25"/>
                    <a:pt x="554" y="24"/>
                  </a:cubicBezTo>
                  <a:cubicBezTo>
                    <a:pt x="552" y="22"/>
                    <a:pt x="546" y="29"/>
                    <a:pt x="546" y="29"/>
                  </a:cubicBezTo>
                  <a:cubicBezTo>
                    <a:pt x="546" y="22"/>
                    <a:pt x="546" y="22"/>
                    <a:pt x="546" y="22"/>
                  </a:cubicBezTo>
                  <a:cubicBezTo>
                    <a:pt x="540" y="22"/>
                    <a:pt x="540" y="22"/>
                    <a:pt x="540" y="22"/>
                  </a:cubicBezTo>
                  <a:cubicBezTo>
                    <a:pt x="542" y="26"/>
                    <a:pt x="542" y="26"/>
                    <a:pt x="542" y="26"/>
                  </a:cubicBezTo>
                  <a:cubicBezTo>
                    <a:pt x="541" y="31"/>
                    <a:pt x="541" y="31"/>
                    <a:pt x="541" y="31"/>
                  </a:cubicBezTo>
                  <a:cubicBezTo>
                    <a:pt x="537" y="26"/>
                    <a:pt x="537" y="26"/>
                    <a:pt x="537" y="26"/>
                  </a:cubicBezTo>
                  <a:cubicBezTo>
                    <a:pt x="534" y="29"/>
                    <a:pt x="534" y="29"/>
                    <a:pt x="534" y="29"/>
                  </a:cubicBezTo>
                  <a:cubicBezTo>
                    <a:pt x="535" y="24"/>
                    <a:pt x="535" y="24"/>
                    <a:pt x="535" y="24"/>
                  </a:cubicBezTo>
                  <a:cubicBezTo>
                    <a:pt x="534" y="22"/>
                    <a:pt x="534" y="22"/>
                    <a:pt x="534" y="22"/>
                  </a:cubicBezTo>
                  <a:cubicBezTo>
                    <a:pt x="532" y="26"/>
                    <a:pt x="532" y="26"/>
                    <a:pt x="532" y="26"/>
                  </a:cubicBezTo>
                  <a:cubicBezTo>
                    <a:pt x="525" y="21"/>
                    <a:pt x="525" y="21"/>
                    <a:pt x="525" y="21"/>
                  </a:cubicBezTo>
                  <a:cubicBezTo>
                    <a:pt x="523" y="27"/>
                    <a:pt x="523" y="27"/>
                    <a:pt x="523" y="27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6" y="31"/>
                    <a:pt x="526" y="31"/>
                    <a:pt x="526" y="31"/>
                  </a:cubicBezTo>
                  <a:cubicBezTo>
                    <a:pt x="526" y="35"/>
                    <a:pt x="526" y="35"/>
                    <a:pt x="526" y="35"/>
                  </a:cubicBezTo>
                  <a:cubicBezTo>
                    <a:pt x="523" y="34"/>
                    <a:pt x="523" y="34"/>
                    <a:pt x="523" y="3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9"/>
                    <a:pt x="519" y="39"/>
                    <a:pt x="519" y="39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46"/>
                    <a:pt x="532" y="46"/>
                    <a:pt x="532" y="46"/>
                  </a:cubicBezTo>
                  <a:cubicBezTo>
                    <a:pt x="532" y="48"/>
                    <a:pt x="532" y="48"/>
                    <a:pt x="532" y="48"/>
                  </a:cubicBezTo>
                  <a:cubicBezTo>
                    <a:pt x="532" y="48"/>
                    <a:pt x="530" y="46"/>
                    <a:pt x="527" y="45"/>
                  </a:cubicBezTo>
                  <a:cubicBezTo>
                    <a:pt x="525" y="43"/>
                    <a:pt x="521" y="43"/>
                    <a:pt x="521" y="43"/>
                  </a:cubicBezTo>
                  <a:cubicBezTo>
                    <a:pt x="520" y="53"/>
                    <a:pt x="520" y="53"/>
                    <a:pt x="520" y="53"/>
                  </a:cubicBezTo>
                  <a:cubicBezTo>
                    <a:pt x="522" y="52"/>
                    <a:pt x="522" y="52"/>
                    <a:pt x="522" y="52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25" y="58"/>
                    <a:pt x="522" y="57"/>
                    <a:pt x="519" y="56"/>
                  </a:cubicBezTo>
                  <a:cubicBezTo>
                    <a:pt x="515" y="56"/>
                    <a:pt x="514" y="59"/>
                    <a:pt x="514" y="59"/>
                  </a:cubicBezTo>
                  <a:cubicBezTo>
                    <a:pt x="505" y="75"/>
                    <a:pt x="505" y="75"/>
                    <a:pt x="505" y="75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4" y="78"/>
                    <a:pt x="504" y="78"/>
                    <a:pt x="504" y="78"/>
                  </a:cubicBezTo>
                  <a:cubicBezTo>
                    <a:pt x="508" y="83"/>
                    <a:pt x="508" y="83"/>
                    <a:pt x="508" y="83"/>
                  </a:cubicBezTo>
                  <a:cubicBezTo>
                    <a:pt x="505" y="85"/>
                    <a:pt x="505" y="85"/>
                    <a:pt x="505" y="85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04" y="92"/>
                    <a:pt x="504" y="92"/>
                    <a:pt x="504" y="92"/>
                  </a:cubicBezTo>
                  <a:cubicBezTo>
                    <a:pt x="499" y="83"/>
                    <a:pt x="499" y="83"/>
                    <a:pt x="499" y="83"/>
                  </a:cubicBezTo>
                  <a:cubicBezTo>
                    <a:pt x="486" y="91"/>
                    <a:pt x="486" y="91"/>
                    <a:pt x="486" y="91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6" y="89"/>
                    <a:pt x="497" y="83"/>
                    <a:pt x="498" y="79"/>
                  </a:cubicBezTo>
                  <a:cubicBezTo>
                    <a:pt x="499" y="76"/>
                    <a:pt x="489" y="78"/>
                    <a:pt x="489" y="78"/>
                  </a:cubicBezTo>
                  <a:cubicBezTo>
                    <a:pt x="489" y="78"/>
                    <a:pt x="486" y="75"/>
                    <a:pt x="484" y="78"/>
                  </a:cubicBezTo>
                  <a:cubicBezTo>
                    <a:pt x="481" y="81"/>
                    <a:pt x="487" y="84"/>
                    <a:pt x="487" y="84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1" y="76"/>
                    <a:pt x="476" y="76"/>
                  </a:cubicBezTo>
                  <a:cubicBezTo>
                    <a:pt x="472" y="76"/>
                    <a:pt x="472" y="82"/>
                    <a:pt x="472" y="82"/>
                  </a:cubicBezTo>
                  <a:cubicBezTo>
                    <a:pt x="465" y="77"/>
                    <a:pt x="465" y="77"/>
                    <a:pt x="465" y="77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464" y="80"/>
                    <a:pt x="460" y="79"/>
                    <a:pt x="458" y="82"/>
                  </a:cubicBezTo>
                  <a:cubicBezTo>
                    <a:pt x="456" y="87"/>
                    <a:pt x="465" y="87"/>
                    <a:pt x="465" y="87"/>
                  </a:cubicBezTo>
                  <a:cubicBezTo>
                    <a:pt x="462" y="90"/>
                    <a:pt x="462" y="90"/>
                    <a:pt x="462" y="90"/>
                  </a:cubicBezTo>
                  <a:cubicBezTo>
                    <a:pt x="472" y="92"/>
                    <a:pt x="472" y="92"/>
                    <a:pt x="472" y="92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3" y="94"/>
                    <a:pt x="473" y="94"/>
                    <a:pt x="473" y="94"/>
                  </a:cubicBezTo>
                  <a:cubicBezTo>
                    <a:pt x="474" y="95"/>
                    <a:pt x="474" y="95"/>
                    <a:pt x="474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7"/>
                    <a:pt x="478" y="97"/>
                    <a:pt x="478" y="97"/>
                  </a:cubicBezTo>
                  <a:cubicBezTo>
                    <a:pt x="475" y="97"/>
                    <a:pt x="475" y="97"/>
                    <a:pt x="475" y="97"/>
                  </a:cubicBezTo>
                  <a:cubicBezTo>
                    <a:pt x="478" y="103"/>
                    <a:pt x="478" y="103"/>
                    <a:pt x="478" y="103"/>
                  </a:cubicBezTo>
                  <a:cubicBezTo>
                    <a:pt x="478" y="106"/>
                    <a:pt x="478" y="106"/>
                    <a:pt x="478" y="106"/>
                  </a:cubicBezTo>
                  <a:cubicBezTo>
                    <a:pt x="478" y="106"/>
                    <a:pt x="484" y="110"/>
                    <a:pt x="482" y="111"/>
                  </a:cubicBezTo>
                  <a:cubicBezTo>
                    <a:pt x="479" y="112"/>
                    <a:pt x="474" y="103"/>
                    <a:pt x="474" y="103"/>
                  </a:cubicBezTo>
                  <a:cubicBezTo>
                    <a:pt x="469" y="100"/>
                    <a:pt x="469" y="100"/>
                    <a:pt x="469" y="100"/>
                  </a:cubicBezTo>
                  <a:cubicBezTo>
                    <a:pt x="469" y="100"/>
                    <a:pt x="465" y="94"/>
                    <a:pt x="460" y="94"/>
                  </a:cubicBezTo>
                  <a:cubicBezTo>
                    <a:pt x="457" y="94"/>
                    <a:pt x="459" y="100"/>
                    <a:pt x="459" y="100"/>
                  </a:cubicBezTo>
                  <a:cubicBezTo>
                    <a:pt x="461" y="104"/>
                    <a:pt x="461" y="104"/>
                    <a:pt x="461" y="104"/>
                  </a:cubicBezTo>
                  <a:cubicBezTo>
                    <a:pt x="458" y="106"/>
                    <a:pt x="458" y="106"/>
                    <a:pt x="458" y="106"/>
                  </a:cubicBezTo>
                  <a:cubicBezTo>
                    <a:pt x="456" y="111"/>
                    <a:pt x="456" y="111"/>
                    <a:pt x="456" y="111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57" y="102"/>
                    <a:pt x="457" y="102"/>
                    <a:pt x="457" y="102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1" y="106"/>
                    <a:pt x="451" y="106"/>
                    <a:pt x="451" y="106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448" y="124"/>
                    <a:pt x="448" y="124"/>
                    <a:pt x="448" y="124"/>
                  </a:cubicBezTo>
                  <a:cubicBezTo>
                    <a:pt x="452" y="129"/>
                    <a:pt x="452" y="129"/>
                    <a:pt x="452" y="129"/>
                  </a:cubicBezTo>
                  <a:cubicBezTo>
                    <a:pt x="444" y="126"/>
                    <a:pt x="444" y="126"/>
                    <a:pt x="444" y="126"/>
                  </a:cubicBezTo>
                  <a:cubicBezTo>
                    <a:pt x="442" y="140"/>
                    <a:pt x="442" y="140"/>
                    <a:pt x="442" y="140"/>
                  </a:cubicBezTo>
                  <a:cubicBezTo>
                    <a:pt x="440" y="140"/>
                    <a:pt x="440" y="140"/>
                    <a:pt x="440" y="140"/>
                  </a:cubicBezTo>
                  <a:cubicBezTo>
                    <a:pt x="436" y="147"/>
                    <a:pt x="436" y="147"/>
                    <a:pt x="436" y="147"/>
                  </a:cubicBezTo>
                  <a:cubicBezTo>
                    <a:pt x="434" y="144"/>
                    <a:pt x="434" y="144"/>
                    <a:pt x="434" y="144"/>
                  </a:cubicBezTo>
                  <a:cubicBezTo>
                    <a:pt x="439" y="138"/>
                    <a:pt x="439" y="138"/>
                    <a:pt x="439" y="138"/>
                  </a:cubicBezTo>
                  <a:cubicBezTo>
                    <a:pt x="441" y="129"/>
                    <a:pt x="441" y="129"/>
                    <a:pt x="441" y="129"/>
                  </a:cubicBezTo>
                  <a:cubicBezTo>
                    <a:pt x="440" y="128"/>
                    <a:pt x="440" y="128"/>
                    <a:pt x="440" y="128"/>
                  </a:cubicBezTo>
                  <a:cubicBezTo>
                    <a:pt x="443" y="125"/>
                    <a:pt x="443" y="125"/>
                    <a:pt x="443" y="125"/>
                  </a:cubicBezTo>
                  <a:cubicBezTo>
                    <a:pt x="441" y="120"/>
                    <a:pt x="441" y="120"/>
                    <a:pt x="441" y="120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09"/>
                    <a:pt x="439" y="102"/>
                    <a:pt x="439" y="102"/>
                  </a:cubicBezTo>
                  <a:cubicBezTo>
                    <a:pt x="434" y="106"/>
                    <a:pt x="434" y="106"/>
                    <a:pt x="434" y="106"/>
                  </a:cubicBezTo>
                  <a:cubicBezTo>
                    <a:pt x="434" y="106"/>
                    <a:pt x="435" y="112"/>
                    <a:pt x="432" y="115"/>
                  </a:cubicBezTo>
                  <a:cubicBezTo>
                    <a:pt x="428" y="118"/>
                    <a:pt x="431" y="124"/>
                    <a:pt x="431" y="124"/>
                  </a:cubicBezTo>
                  <a:cubicBezTo>
                    <a:pt x="434" y="126"/>
                    <a:pt x="434" y="126"/>
                    <a:pt x="434" y="126"/>
                  </a:cubicBezTo>
                  <a:cubicBezTo>
                    <a:pt x="429" y="128"/>
                    <a:pt x="429" y="128"/>
                    <a:pt x="429" y="128"/>
                  </a:cubicBezTo>
                  <a:cubicBezTo>
                    <a:pt x="429" y="137"/>
                    <a:pt x="429" y="137"/>
                    <a:pt x="429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7" y="124"/>
                    <a:pt x="427" y="124"/>
                    <a:pt x="427" y="124"/>
                  </a:cubicBezTo>
                  <a:cubicBezTo>
                    <a:pt x="426" y="124"/>
                    <a:pt x="426" y="124"/>
                    <a:pt x="426" y="124"/>
                  </a:cubicBezTo>
                  <a:cubicBezTo>
                    <a:pt x="426" y="113"/>
                    <a:pt x="426" y="113"/>
                    <a:pt x="426" y="113"/>
                  </a:cubicBezTo>
                  <a:cubicBezTo>
                    <a:pt x="426" y="113"/>
                    <a:pt x="421" y="115"/>
                    <a:pt x="413" y="119"/>
                  </a:cubicBezTo>
                  <a:cubicBezTo>
                    <a:pt x="405" y="121"/>
                    <a:pt x="410" y="132"/>
                    <a:pt x="410" y="132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3" y="132"/>
                    <a:pt x="413" y="134"/>
                    <a:pt x="412" y="137"/>
                  </a:cubicBezTo>
                  <a:cubicBezTo>
                    <a:pt x="411" y="139"/>
                    <a:pt x="416" y="142"/>
                    <a:pt x="420" y="142"/>
                  </a:cubicBezTo>
                  <a:cubicBezTo>
                    <a:pt x="424" y="143"/>
                    <a:pt x="424" y="150"/>
                    <a:pt x="424" y="150"/>
                  </a:cubicBezTo>
                  <a:cubicBezTo>
                    <a:pt x="427" y="151"/>
                    <a:pt x="427" y="151"/>
                    <a:pt x="427" y="151"/>
                  </a:cubicBezTo>
                  <a:cubicBezTo>
                    <a:pt x="425" y="152"/>
                    <a:pt x="425" y="152"/>
                    <a:pt x="425" y="152"/>
                  </a:cubicBezTo>
                  <a:cubicBezTo>
                    <a:pt x="425" y="152"/>
                    <a:pt x="421" y="150"/>
                    <a:pt x="421" y="147"/>
                  </a:cubicBezTo>
                  <a:cubicBezTo>
                    <a:pt x="421" y="144"/>
                    <a:pt x="416" y="144"/>
                    <a:pt x="412" y="143"/>
                  </a:cubicBezTo>
                  <a:cubicBezTo>
                    <a:pt x="410" y="143"/>
                    <a:pt x="407" y="134"/>
                    <a:pt x="407" y="134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9" y="136"/>
                    <a:pt x="400" y="140"/>
                    <a:pt x="402" y="143"/>
                  </a:cubicBezTo>
                  <a:cubicBezTo>
                    <a:pt x="405" y="146"/>
                    <a:pt x="409" y="147"/>
                    <a:pt x="409" y="147"/>
                  </a:cubicBezTo>
                  <a:cubicBezTo>
                    <a:pt x="409" y="147"/>
                    <a:pt x="405" y="148"/>
                    <a:pt x="402" y="146"/>
                  </a:cubicBezTo>
                  <a:cubicBezTo>
                    <a:pt x="399" y="145"/>
                    <a:pt x="394" y="138"/>
                    <a:pt x="394" y="138"/>
                  </a:cubicBezTo>
                  <a:cubicBezTo>
                    <a:pt x="390" y="139"/>
                    <a:pt x="390" y="139"/>
                    <a:pt x="390" y="139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92" y="159"/>
                    <a:pt x="392" y="159"/>
                    <a:pt x="392" y="159"/>
                  </a:cubicBezTo>
                  <a:cubicBezTo>
                    <a:pt x="380" y="160"/>
                    <a:pt x="380" y="160"/>
                    <a:pt x="380" y="160"/>
                  </a:cubicBezTo>
                  <a:cubicBezTo>
                    <a:pt x="384" y="165"/>
                    <a:pt x="384" y="165"/>
                    <a:pt x="384" y="165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84" y="174"/>
                    <a:pt x="384" y="174"/>
                    <a:pt x="384" y="174"/>
                  </a:cubicBezTo>
                  <a:cubicBezTo>
                    <a:pt x="387" y="176"/>
                    <a:pt x="387" y="176"/>
                    <a:pt x="387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0" y="181"/>
                    <a:pt x="380" y="181"/>
                    <a:pt x="380" y="181"/>
                  </a:cubicBezTo>
                  <a:cubicBezTo>
                    <a:pt x="385" y="183"/>
                    <a:pt x="385" y="183"/>
                    <a:pt x="385" y="183"/>
                  </a:cubicBezTo>
                  <a:cubicBezTo>
                    <a:pt x="377" y="183"/>
                    <a:pt x="377" y="183"/>
                    <a:pt x="377" y="183"/>
                  </a:cubicBezTo>
                  <a:cubicBezTo>
                    <a:pt x="371" y="184"/>
                    <a:pt x="377" y="187"/>
                    <a:pt x="377" y="187"/>
                  </a:cubicBezTo>
                  <a:cubicBezTo>
                    <a:pt x="382" y="189"/>
                    <a:pt x="382" y="189"/>
                    <a:pt x="382" y="189"/>
                  </a:cubicBezTo>
                  <a:cubicBezTo>
                    <a:pt x="382" y="189"/>
                    <a:pt x="375" y="187"/>
                    <a:pt x="372" y="188"/>
                  </a:cubicBezTo>
                  <a:cubicBezTo>
                    <a:pt x="370" y="188"/>
                    <a:pt x="371" y="190"/>
                    <a:pt x="371" y="190"/>
                  </a:cubicBezTo>
                  <a:cubicBezTo>
                    <a:pt x="375" y="191"/>
                    <a:pt x="375" y="191"/>
                    <a:pt x="375" y="191"/>
                  </a:cubicBezTo>
                  <a:cubicBezTo>
                    <a:pt x="374" y="195"/>
                    <a:pt x="374" y="195"/>
                    <a:pt x="374" y="195"/>
                  </a:cubicBezTo>
                  <a:cubicBezTo>
                    <a:pt x="374" y="192"/>
                    <a:pt x="374" y="192"/>
                    <a:pt x="374" y="192"/>
                  </a:cubicBezTo>
                  <a:cubicBezTo>
                    <a:pt x="370" y="191"/>
                    <a:pt x="370" y="191"/>
                    <a:pt x="370" y="191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91"/>
                    <a:pt x="367" y="191"/>
                    <a:pt x="367" y="191"/>
                  </a:cubicBezTo>
                  <a:cubicBezTo>
                    <a:pt x="367" y="191"/>
                    <a:pt x="366" y="192"/>
                    <a:pt x="361" y="192"/>
                  </a:cubicBezTo>
                  <a:cubicBezTo>
                    <a:pt x="357" y="192"/>
                    <a:pt x="357" y="200"/>
                    <a:pt x="357" y="200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68" y="203"/>
                    <a:pt x="369" y="205"/>
                    <a:pt x="372" y="205"/>
                  </a:cubicBezTo>
                  <a:cubicBezTo>
                    <a:pt x="375" y="205"/>
                    <a:pt x="382" y="199"/>
                    <a:pt x="382" y="199"/>
                  </a:cubicBezTo>
                  <a:cubicBezTo>
                    <a:pt x="380" y="203"/>
                    <a:pt x="380" y="203"/>
                    <a:pt x="380" y="203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76" y="207"/>
                    <a:pt x="376" y="207"/>
                    <a:pt x="376" y="207"/>
                  </a:cubicBezTo>
                  <a:cubicBezTo>
                    <a:pt x="376" y="213"/>
                    <a:pt x="376" y="213"/>
                    <a:pt x="376" y="213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4" y="209"/>
                    <a:pt x="374" y="209"/>
                    <a:pt x="374" y="209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211"/>
                    <a:pt x="364" y="208"/>
                    <a:pt x="361" y="208"/>
                  </a:cubicBezTo>
                  <a:cubicBezTo>
                    <a:pt x="358" y="207"/>
                    <a:pt x="353" y="209"/>
                    <a:pt x="351" y="213"/>
                  </a:cubicBezTo>
                  <a:cubicBezTo>
                    <a:pt x="348" y="215"/>
                    <a:pt x="355" y="215"/>
                    <a:pt x="358" y="216"/>
                  </a:cubicBezTo>
                  <a:cubicBezTo>
                    <a:pt x="362" y="217"/>
                    <a:pt x="361" y="221"/>
                    <a:pt x="361" y="221"/>
                  </a:cubicBezTo>
                  <a:cubicBezTo>
                    <a:pt x="364" y="223"/>
                    <a:pt x="364" y="223"/>
                    <a:pt x="364" y="223"/>
                  </a:cubicBezTo>
                  <a:cubicBezTo>
                    <a:pt x="363" y="224"/>
                    <a:pt x="363" y="224"/>
                    <a:pt x="363" y="224"/>
                  </a:cubicBezTo>
                  <a:cubicBezTo>
                    <a:pt x="363" y="224"/>
                    <a:pt x="359" y="221"/>
                    <a:pt x="357" y="219"/>
                  </a:cubicBezTo>
                  <a:cubicBezTo>
                    <a:pt x="355" y="217"/>
                    <a:pt x="348" y="216"/>
                    <a:pt x="348" y="216"/>
                  </a:cubicBezTo>
                  <a:cubicBezTo>
                    <a:pt x="347" y="218"/>
                    <a:pt x="347" y="218"/>
                    <a:pt x="347" y="218"/>
                  </a:cubicBezTo>
                  <a:cubicBezTo>
                    <a:pt x="353" y="219"/>
                    <a:pt x="353" y="219"/>
                    <a:pt x="353" y="219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52" y="223"/>
                    <a:pt x="352" y="223"/>
                    <a:pt x="352" y="223"/>
                  </a:cubicBezTo>
                  <a:cubicBezTo>
                    <a:pt x="355" y="222"/>
                    <a:pt x="355" y="222"/>
                    <a:pt x="355" y="222"/>
                  </a:cubicBezTo>
                  <a:cubicBezTo>
                    <a:pt x="358" y="223"/>
                    <a:pt x="358" y="223"/>
                    <a:pt x="358" y="223"/>
                  </a:cubicBezTo>
                  <a:cubicBezTo>
                    <a:pt x="351" y="226"/>
                    <a:pt x="351" y="226"/>
                    <a:pt x="351" y="226"/>
                  </a:cubicBezTo>
                  <a:cubicBezTo>
                    <a:pt x="352" y="230"/>
                    <a:pt x="352" y="230"/>
                    <a:pt x="352" y="230"/>
                  </a:cubicBezTo>
                  <a:cubicBezTo>
                    <a:pt x="352" y="230"/>
                    <a:pt x="354" y="229"/>
                    <a:pt x="356" y="231"/>
                  </a:cubicBezTo>
                  <a:cubicBezTo>
                    <a:pt x="357" y="233"/>
                    <a:pt x="352" y="236"/>
                    <a:pt x="348" y="235"/>
                  </a:cubicBezTo>
                  <a:cubicBezTo>
                    <a:pt x="345" y="233"/>
                    <a:pt x="346" y="221"/>
                    <a:pt x="346" y="221"/>
                  </a:cubicBezTo>
                  <a:cubicBezTo>
                    <a:pt x="343" y="221"/>
                    <a:pt x="343" y="221"/>
                    <a:pt x="343" y="221"/>
                  </a:cubicBezTo>
                  <a:cubicBezTo>
                    <a:pt x="338" y="230"/>
                    <a:pt x="338" y="230"/>
                    <a:pt x="338" y="230"/>
                  </a:cubicBezTo>
                  <a:cubicBezTo>
                    <a:pt x="337" y="224"/>
                    <a:pt x="337" y="224"/>
                    <a:pt x="337" y="224"/>
                  </a:cubicBezTo>
                  <a:cubicBezTo>
                    <a:pt x="335" y="224"/>
                    <a:pt x="335" y="224"/>
                    <a:pt x="335" y="224"/>
                  </a:cubicBezTo>
                  <a:cubicBezTo>
                    <a:pt x="334" y="229"/>
                    <a:pt x="334" y="229"/>
                    <a:pt x="334" y="229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27" y="235"/>
                    <a:pt x="327" y="235"/>
                    <a:pt x="327" y="235"/>
                  </a:cubicBezTo>
                  <a:cubicBezTo>
                    <a:pt x="329" y="238"/>
                    <a:pt x="329" y="238"/>
                    <a:pt x="329" y="238"/>
                  </a:cubicBezTo>
                  <a:cubicBezTo>
                    <a:pt x="331" y="237"/>
                    <a:pt x="331" y="237"/>
                    <a:pt x="331" y="237"/>
                  </a:cubicBezTo>
                  <a:cubicBezTo>
                    <a:pt x="331" y="234"/>
                    <a:pt x="331" y="234"/>
                    <a:pt x="331" y="234"/>
                  </a:cubicBezTo>
                  <a:cubicBezTo>
                    <a:pt x="335" y="232"/>
                    <a:pt x="335" y="232"/>
                    <a:pt x="335" y="232"/>
                  </a:cubicBezTo>
                  <a:cubicBezTo>
                    <a:pt x="337" y="234"/>
                    <a:pt x="337" y="234"/>
                    <a:pt x="337" y="234"/>
                  </a:cubicBezTo>
                  <a:cubicBezTo>
                    <a:pt x="333" y="237"/>
                    <a:pt x="333" y="237"/>
                    <a:pt x="333" y="237"/>
                  </a:cubicBezTo>
                  <a:cubicBezTo>
                    <a:pt x="335" y="238"/>
                    <a:pt x="335" y="238"/>
                    <a:pt x="335" y="238"/>
                  </a:cubicBezTo>
                  <a:cubicBezTo>
                    <a:pt x="335" y="238"/>
                    <a:pt x="339" y="238"/>
                    <a:pt x="341" y="239"/>
                  </a:cubicBezTo>
                  <a:cubicBezTo>
                    <a:pt x="343" y="239"/>
                    <a:pt x="340" y="236"/>
                    <a:pt x="340" y="234"/>
                  </a:cubicBezTo>
                  <a:cubicBezTo>
                    <a:pt x="340" y="233"/>
                    <a:pt x="344" y="234"/>
                    <a:pt x="345" y="236"/>
                  </a:cubicBezTo>
                  <a:cubicBezTo>
                    <a:pt x="346" y="238"/>
                    <a:pt x="344" y="242"/>
                    <a:pt x="343" y="242"/>
                  </a:cubicBezTo>
                  <a:cubicBezTo>
                    <a:pt x="341" y="244"/>
                    <a:pt x="342" y="242"/>
                    <a:pt x="339" y="240"/>
                  </a:cubicBezTo>
                  <a:cubicBezTo>
                    <a:pt x="336" y="239"/>
                    <a:pt x="334" y="244"/>
                    <a:pt x="330" y="244"/>
                  </a:cubicBezTo>
                  <a:cubicBezTo>
                    <a:pt x="327" y="244"/>
                    <a:pt x="322" y="245"/>
                    <a:pt x="322" y="245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2" y="248"/>
                    <a:pt x="322" y="248"/>
                    <a:pt x="322" y="248"/>
                  </a:cubicBezTo>
                  <a:cubicBezTo>
                    <a:pt x="318" y="248"/>
                    <a:pt x="318" y="248"/>
                    <a:pt x="318" y="248"/>
                  </a:cubicBezTo>
                  <a:cubicBezTo>
                    <a:pt x="315" y="252"/>
                    <a:pt x="315" y="252"/>
                    <a:pt x="315" y="252"/>
                  </a:cubicBezTo>
                  <a:cubicBezTo>
                    <a:pt x="321" y="253"/>
                    <a:pt x="321" y="253"/>
                    <a:pt x="321" y="253"/>
                  </a:cubicBezTo>
                  <a:cubicBezTo>
                    <a:pt x="315" y="256"/>
                    <a:pt x="315" y="256"/>
                    <a:pt x="315" y="256"/>
                  </a:cubicBezTo>
                  <a:cubicBezTo>
                    <a:pt x="315" y="256"/>
                    <a:pt x="318" y="260"/>
                    <a:pt x="322" y="258"/>
                  </a:cubicBezTo>
                  <a:cubicBezTo>
                    <a:pt x="327" y="256"/>
                    <a:pt x="331" y="249"/>
                    <a:pt x="331" y="249"/>
                  </a:cubicBezTo>
                  <a:cubicBezTo>
                    <a:pt x="342" y="256"/>
                    <a:pt x="342" y="256"/>
                    <a:pt x="342" y="256"/>
                  </a:cubicBezTo>
                  <a:cubicBezTo>
                    <a:pt x="334" y="253"/>
                    <a:pt x="334" y="253"/>
                    <a:pt x="334" y="253"/>
                  </a:cubicBezTo>
                  <a:cubicBezTo>
                    <a:pt x="331" y="254"/>
                    <a:pt x="331" y="254"/>
                    <a:pt x="331" y="254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29" y="256"/>
                    <a:pt x="329" y="256"/>
                    <a:pt x="329" y="256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0" y="263"/>
                    <a:pt x="330" y="263"/>
                    <a:pt x="330" y="263"/>
                  </a:cubicBezTo>
                  <a:cubicBezTo>
                    <a:pt x="328" y="267"/>
                    <a:pt x="328" y="267"/>
                    <a:pt x="328" y="267"/>
                  </a:cubicBezTo>
                  <a:cubicBezTo>
                    <a:pt x="329" y="269"/>
                    <a:pt x="335" y="267"/>
                    <a:pt x="335" y="267"/>
                  </a:cubicBezTo>
                  <a:cubicBezTo>
                    <a:pt x="339" y="265"/>
                    <a:pt x="339" y="265"/>
                    <a:pt x="339" y="265"/>
                  </a:cubicBezTo>
                  <a:cubicBezTo>
                    <a:pt x="336" y="274"/>
                    <a:pt x="336" y="274"/>
                    <a:pt x="336" y="274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7" y="278"/>
                    <a:pt x="337" y="278"/>
                    <a:pt x="337" y="278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1"/>
                    <a:pt x="339" y="281"/>
                    <a:pt x="337" y="280"/>
                  </a:cubicBezTo>
                  <a:cubicBezTo>
                    <a:pt x="335" y="280"/>
                    <a:pt x="333" y="271"/>
                    <a:pt x="331" y="270"/>
                  </a:cubicBezTo>
                  <a:cubicBezTo>
                    <a:pt x="329" y="270"/>
                    <a:pt x="327" y="271"/>
                    <a:pt x="327" y="271"/>
                  </a:cubicBezTo>
                  <a:cubicBezTo>
                    <a:pt x="327" y="271"/>
                    <a:pt x="325" y="267"/>
                    <a:pt x="322" y="266"/>
                  </a:cubicBezTo>
                  <a:cubicBezTo>
                    <a:pt x="319" y="266"/>
                    <a:pt x="313" y="273"/>
                    <a:pt x="313" y="273"/>
                  </a:cubicBezTo>
                  <a:cubicBezTo>
                    <a:pt x="321" y="274"/>
                    <a:pt x="321" y="274"/>
                    <a:pt x="321" y="274"/>
                  </a:cubicBezTo>
                  <a:cubicBezTo>
                    <a:pt x="321" y="274"/>
                    <a:pt x="318" y="276"/>
                    <a:pt x="314" y="276"/>
                  </a:cubicBezTo>
                  <a:cubicBezTo>
                    <a:pt x="312" y="276"/>
                    <a:pt x="313" y="279"/>
                    <a:pt x="312" y="281"/>
                  </a:cubicBezTo>
                  <a:cubicBezTo>
                    <a:pt x="310" y="283"/>
                    <a:pt x="306" y="285"/>
                    <a:pt x="306" y="285"/>
                  </a:cubicBezTo>
                  <a:cubicBezTo>
                    <a:pt x="317" y="285"/>
                    <a:pt x="317" y="285"/>
                    <a:pt x="317" y="285"/>
                  </a:cubicBezTo>
                  <a:cubicBezTo>
                    <a:pt x="322" y="285"/>
                    <a:pt x="327" y="282"/>
                    <a:pt x="327" y="282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35" y="285"/>
                    <a:pt x="335" y="285"/>
                    <a:pt x="335" y="285"/>
                  </a:cubicBezTo>
                  <a:cubicBezTo>
                    <a:pt x="334" y="295"/>
                    <a:pt x="334" y="295"/>
                    <a:pt x="334" y="295"/>
                  </a:cubicBezTo>
                  <a:cubicBezTo>
                    <a:pt x="331" y="290"/>
                    <a:pt x="331" y="290"/>
                    <a:pt x="331" y="290"/>
                  </a:cubicBezTo>
                  <a:cubicBezTo>
                    <a:pt x="323" y="287"/>
                    <a:pt x="323" y="287"/>
                    <a:pt x="323" y="287"/>
                  </a:cubicBezTo>
                  <a:cubicBezTo>
                    <a:pt x="318" y="294"/>
                    <a:pt x="318" y="294"/>
                    <a:pt x="318" y="294"/>
                  </a:cubicBezTo>
                  <a:cubicBezTo>
                    <a:pt x="321" y="287"/>
                    <a:pt x="321" y="287"/>
                    <a:pt x="321" y="287"/>
                  </a:cubicBezTo>
                  <a:cubicBezTo>
                    <a:pt x="308" y="288"/>
                    <a:pt x="308" y="288"/>
                    <a:pt x="308" y="288"/>
                  </a:cubicBezTo>
                  <a:cubicBezTo>
                    <a:pt x="303" y="302"/>
                    <a:pt x="303" y="302"/>
                    <a:pt x="303" y="302"/>
                  </a:cubicBezTo>
                  <a:cubicBezTo>
                    <a:pt x="297" y="301"/>
                    <a:pt x="297" y="301"/>
                    <a:pt x="297" y="301"/>
                  </a:cubicBezTo>
                  <a:cubicBezTo>
                    <a:pt x="296" y="304"/>
                    <a:pt x="296" y="304"/>
                    <a:pt x="296" y="304"/>
                  </a:cubicBezTo>
                  <a:cubicBezTo>
                    <a:pt x="296" y="304"/>
                    <a:pt x="295" y="303"/>
                    <a:pt x="290" y="305"/>
                  </a:cubicBezTo>
                  <a:cubicBezTo>
                    <a:pt x="284" y="308"/>
                    <a:pt x="284" y="311"/>
                    <a:pt x="284" y="311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286" y="316"/>
                    <a:pt x="286" y="316"/>
                    <a:pt x="286" y="316"/>
                  </a:cubicBezTo>
                  <a:cubicBezTo>
                    <a:pt x="281" y="317"/>
                    <a:pt x="281" y="317"/>
                    <a:pt x="281" y="317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79" y="321"/>
                    <a:pt x="279" y="321"/>
                    <a:pt x="279" y="321"/>
                  </a:cubicBezTo>
                  <a:cubicBezTo>
                    <a:pt x="276" y="321"/>
                    <a:pt x="276" y="321"/>
                    <a:pt x="276" y="321"/>
                  </a:cubicBezTo>
                  <a:cubicBezTo>
                    <a:pt x="282" y="327"/>
                    <a:pt x="282" y="327"/>
                    <a:pt x="282" y="327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75" y="331"/>
                    <a:pt x="275" y="331"/>
                    <a:pt x="275" y="331"/>
                  </a:cubicBezTo>
                  <a:cubicBezTo>
                    <a:pt x="277" y="333"/>
                    <a:pt x="277" y="333"/>
                    <a:pt x="277" y="333"/>
                  </a:cubicBezTo>
                  <a:cubicBezTo>
                    <a:pt x="281" y="332"/>
                    <a:pt x="281" y="332"/>
                    <a:pt x="281" y="332"/>
                  </a:cubicBezTo>
                  <a:cubicBezTo>
                    <a:pt x="287" y="335"/>
                    <a:pt x="287" y="335"/>
                    <a:pt x="287" y="335"/>
                  </a:cubicBezTo>
                  <a:cubicBezTo>
                    <a:pt x="287" y="335"/>
                    <a:pt x="282" y="334"/>
                    <a:pt x="279" y="335"/>
                  </a:cubicBezTo>
                  <a:cubicBezTo>
                    <a:pt x="276" y="336"/>
                    <a:pt x="278" y="339"/>
                    <a:pt x="278" y="339"/>
                  </a:cubicBezTo>
                  <a:cubicBezTo>
                    <a:pt x="275" y="339"/>
                    <a:pt x="275" y="339"/>
                    <a:pt x="275" y="339"/>
                  </a:cubicBezTo>
                  <a:cubicBezTo>
                    <a:pt x="275" y="335"/>
                    <a:pt x="275" y="335"/>
                    <a:pt x="275" y="335"/>
                  </a:cubicBezTo>
                  <a:cubicBezTo>
                    <a:pt x="271" y="334"/>
                    <a:pt x="271" y="334"/>
                    <a:pt x="271" y="334"/>
                  </a:cubicBezTo>
                  <a:cubicBezTo>
                    <a:pt x="270" y="336"/>
                    <a:pt x="270" y="336"/>
                    <a:pt x="270" y="336"/>
                  </a:cubicBezTo>
                  <a:cubicBezTo>
                    <a:pt x="273" y="340"/>
                    <a:pt x="273" y="340"/>
                    <a:pt x="273" y="340"/>
                  </a:cubicBezTo>
                  <a:cubicBezTo>
                    <a:pt x="273" y="340"/>
                    <a:pt x="270" y="346"/>
                    <a:pt x="272" y="348"/>
                  </a:cubicBezTo>
                  <a:cubicBezTo>
                    <a:pt x="275" y="350"/>
                    <a:pt x="284" y="347"/>
                    <a:pt x="284" y="348"/>
                  </a:cubicBezTo>
                  <a:cubicBezTo>
                    <a:pt x="284" y="349"/>
                    <a:pt x="275" y="350"/>
                    <a:pt x="275" y="350"/>
                  </a:cubicBezTo>
                  <a:cubicBezTo>
                    <a:pt x="271" y="356"/>
                    <a:pt x="271" y="356"/>
                    <a:pt x="271" y="35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85" y="351"/>
                    <a:pt x="285" y="351"/>
                    <a:pt x="285" y="351"/>
                  </a:cubicBezTo>
                  <a:cubicBezTo>
                    <a:pt x="287" y="351"/>
                    <a:pt x="287" y="351"/>
                    <a:pt x="287" y="351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0" y="353"/>
                    <a:pt x="290" y="353"/>
                    <a:pt x="290" y="353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285" y="360"/>
                    <a:pt x="285" y="360"/>
                    <a:pt x="285" y="360"/>
                  </a:cubicBezTo>
                  <a:cubicBezTo>
                    <a:pt x="285" y="360"/>
                    <a:pt x="286" y="355"/>
                    <a:pt x="285" y="353"/>
                  </a:cubicBezTo>
                  <a:cubicBezTo>
                    <a:pt x="282" y="351"/>
                    <a:pt x="277" y="356"/>
                    <a:pt x="275" y="357"/>
                  </a:cubicBezTo>
                  <a:cubicBezTo>
                    <a:pt x="273" y="359"/>
                    <a:pt x="263" y="360"/>
                    <a:pt x="262" y="363"/>
                  </a:cubicBezTo>
                  <a:cubicBezTo>
                    <a:pt x="260" y="366"/>
                    <a:pt x="269" y="364"/>
                    <a:pt x="269" y="364"/>
                  </a:cubicBezTo>
                  <a:cubicBezTo>
                    <a:pt x="268" y="371"/>
                    <a:pt x="268" y="371"/>
                    <a:pt x="268" y="371"/>
                  </a:cubicBezTo>
                  <a:cubicBezTo>
                    <a:pt x="274" y="375"/>
                    <a:pt x="274" y="375"/>
                    <a:pt x="274" y="375"/>
                  </a:cubicBezTo>
                  <a:cubicBezTo>
                    <a:pt x="274" y="375"/>
                    <a:pt x="262" y="372"/>
                    <a:pt x="261" y="375"/>
                  </a:cubicBezTo>
                  <a:cubicBezTo>
                    <a:pt x="259" y="378"/>
                    <a:pt x="261" y="381"/>
                    <a:pt x="261" y="381"/>
                  </a:cubicBezTo>
                  <a:cubicBezTo>
                    <a:pt x="259" y="381"/>
                    <a:pt x="259" y="381"/>
                    <a:pt x="259" y="381"/>
                  </a:cubicBezTo>
                  <a:cubicBezTo>
                    <a:pt x="257" y="383"/>
                    <a:pt x="257" y="383"/>
                    <a:pt x="257" y="383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7"/>
                    <a:pt x="256" y="386"/>
                    <a:pt x="253" y="389"/>
                  </a:cubicBezTo>
                  <a:cubicBezTo>
                    <a:pt x="249" y="391"/>
                    <a:pt x="254" y="398"/>
                    <a:pt x="254" y="398"/>
                  </a:cubicBezTo>
                  <a:cubicBezTo>
                    <a:pt x="258" y="399"/>
                    <a:pt x="258" y="399"/>
                    <a:pt x="258" y="399"/>
                  </a:cubicBezTo>
                  <a:cubicBezTo>
                    <a:pt x="259" y="405"/>
                    <a:pt x="259" y="405"/>
                    <a:pt x="259" y="405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49" y="396"/>
                    <a:pt x="249" y="396"/>
                    <a:pt x="249" y="396"/>
                  </a:cubicBezTo>
                  <a:cubicBezTo>
                    <a:pt x="247" y="404"/>
                    <a:pt x="247" y="404"/>
                    <a:pt x="247" y="404"/>
                  </a:cubicBezTo>
                  <a:cubicBezTo>
                    <a:pt x="252" y="404"/>
                    <a:pt x="252" y="404"/>
                    <a:pt x="252" y="404"/>
                  </a:cubicBezTo>
                  <a:cubicBezTo>
                    <a:pt x="252" y="404"/>
                    <a:pt x="248" y="406"/>
                    <a:pt x="246" y="409"/>
                  </a:cubicBezTo>
                  <a:cubicBezTo>
                    <a:pt x="244" y="411"/>
                    <a:pt x="246" y="416"/>
                    <a:pt x="246" y="416"/>
                  </a:cubicBezTo>
                  <a:cubicBezTo>
                    <a:pt x="241" y="418"/>
                    <a:pt x="241" y="418"/>
                    <a:pt x="241" y="418"/>
                  </a:cubicBezTo>
                  <a:cubicBezTo>
                    <a:pt x="243" y="420"/>
                    <a:pt x="243" y="420"/>
                    <a:pt x="243" y="420"/>
                  </a:cubicBezTo>
                  <a:cubicBezTo>
                    <a:pt x="248" y="416"/>
                    <a:pt x="248" y="416"/>
                    <a:pt x="248" y="416"/>
                  </a:cubicBezTo>
                  <a:cubicBezTo>
                    <a:pt x="248" y="413"/>
                    <a:pt x="248" y="413"/>
                    <a:pt x="248" y="413"/>
                  </a:cubicBezTo>
                  <a:cubicBezTo>
                    <a:pt x="253" y="411"/>
                    <a:pt x="253" y="411"/>
                    <a:pt x="253" y="411"/>
                  </a:cubicBezTo>
                  <a:cubicBezTo>
                    <a:pt x="249" y="415"/>
                    <a:pt x="249" y="415"/>
                    <a:pt x="249" y="415"/>
                  </a:cubicBezTo>
                  <a:cubicBezTo>
                    <a:pt x="254" y="419"/>
                    <a:pt x="254" y="419"/>
                    <a:pt x="254" y="419"/>
                  </a:cubicBezTo>
                  <a:cubicBezTo>
                    <a:pt x="253" y="423"/>
                    <a:pt x="253" y="423"/>
                    <a:pt x="253" y="423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1" y="414"/>
                    <a:pt x="271" y="414"/>
                    <a:pt x="271" y="414"/>
                  </a:cubicBezTo>
                  <a:cubicBezTo>
                    <a:pt x="256" y="427"/>
                    <a:pt x="256" y="427"/>
                    <a:pt x="256" y="427"/>
                  </a:cubicBezTo>
                  <a:cubicBezTo>
                    <a:pt x="252" y="428"/>
                    <a:pt x="252" y="428"/>
                    <a:pt x="252" y="428"/>
                  </a:cubicBezTo>
                  <a:cubicBezTo>
                    <a:pt x="249" y="421"/>
                    <a:pt x="249" y="421"/>
                    <a:pt x="249" y="421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43" y="424"/>
                    <a:pt x="243" y="424"/>
                    <a:pt x="243" y="424"/>
                  </a:cubicBezTo>
                  <a:cubicBezTo>
                    <a:pt x="243" y="424"/>
                    <a:pt x="239" y="424"/>
                    <a:pt x="239" y="426"/>
                  </a:cubicBezTo>
                  <a:cubicBezTo>
                    <a:pt x="239" y="427"/>
                    <a:pt x="235" y="435"/>
                    <a:pt x="231" y="435"/>
                  </a:cubicBezTo>
                  <a:cubicBezTo>
                    <a:pt x="228" y="436"/>
                    <a:pt x="222" y="440"/>
                    <a:pt x="222" y="440"/>
                  </a:cubicBezTo>
                  <a:cubicBezTo>
                    <a:pt x="224" y="442"/>
                    <a:pt x="224" y="442"/>
                    <a:pt x="224" y="442"/>
                  </a:cubicBezTo>
                  <a:cubicBezTo>
                    <a:pt x="224" y="442"/>
                    <a:pt x="216" y="446"/>
                    <a:pt x="221" y="450"/>
                  </a:cubicBezTo>
                  <a:cubicBezTo>
                    <a:pt x="224" y="452"/>
                    <a:pt x="231" y="441"/>
                    <a:pt x="231" y="441"/>
                  </a:cubicBezTo>
                  <a:cubicBezTo>
                    <a:pt x="242" y="436"/>
                    <a:pt x="242" y="436"/>
                    <a:pt x="242" y="436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8" y="446"/>
                    <a:pt x="232" y="447"/>
                    <a:pt x="228" y="450"/>
                  </a:cubicBezTo>
                  <a:cubicBezTo>
                    <a:pt x="223" y="452"/>
                    <a:pt x="226" y="457"/>
                    <a:pt x="226" y="457"/>
                  </a:cubicBezTo>
                  <a:cubicBezTo>
                    <a:pt x="223" y="458"/>
                    <a:pt x="223" y="458"/>
                    <a:pt x="223" y="458"/>
                  </a:cubicBezTo>
                  <a:cubicBezTo>
                    <a:pt x="219" y="455"/>
                    <a:pt x="219" y="455"/>
                    <a:pt x="219" y="455"/>
                  </a:cubicBezTo>
                  <a:cubicBezTo>
                    <a:pt x="215" y="457"/>
                    <a:pt x="215" y="457"/>
                    <a:pt x="215" y="457"/>
                  </a:cubicBezTo>
                  <a:cubicBezTo>
                    <a:pt x="215" y="457"/>
                    <a:pt x="219" y="463"/>
                    <a:pt x="221" y="465"/>
                  </a:cubicBezTo>
                  <a:cubicBezTo>
                    <a:pt x="222" y="467"/>
                    <a:pt x="231" y="459"/>
                    <a:pt x="231" y="459"/>
                  </a:cubicBezTo>
                  <a:cubicBezTo>
                    <a:pt x="226" y="468"/>
                    <a:pt x="226" y="468"/>
                    <a:pt x="226" y="468"/>
                  </a:cubicBezTo>
                  <a:cubicBezTo>
                    <a:pt x="221" y="471"/>
                    <a:pt x="221" y="471"/>
                    <a:pt x="221" y="471"/>
                  </a:cubicBezTo>
                  <a:cubicBezTo>
                    <a:pt x="213" y="459"/>
                    <a:pt x="213" y="459"/>
                    <a:pt x="213" y="459"/>
                  </a:cubicBezTo>
                  <a:cubicBezTo>
                    <a:pt x="204" y="467"/>
                    <a:pt x="204" y="467"/>
                    <a:pt x="204" y="467"/>
                  </a:cubicBezTo>
                  <a:cubicBezTo>
                    <a:pt x="207" y="470"/>
                    <a:pt x="207" y="470"/>
                    <a:pt x="207" y="470"/>
                  </a:cubicBezTo>
                  <a:cubicBezTo>
                    <a:pt x="200" y="468"/>
                    <a:pt x="200" y="468"/>
                    <a:pt x="200" y="468"/>
                  </a:cubicBezTo>
                  <a:cubicBezTo>
                    <a:pt x="198" y="471"/>
                    <a:pt x="198" y="471"/>
                    <a:pt x="198" y="471"/>
                  </a:cubicBezTo>
                  <a:cubicBezTo>
                    <a:pt x="203" y="474"/>
                    <a:pt x="203" y="474"/>
                    <a:pt x="203" y="474"/>
                  </a:cubicBezTo>
                  <a:cubicBezTo>
                    <a:pt x="198" y="475"/>
                    <a:pt x="198" y="475"/>
                    <a:pt x="198" y="475"/>
                  </a:cubicBezTo>
                  <a:cubicBezTo>
                    <a:pt x="198" y="475"/>
                    <a:pt x="189" y="485"/>
                    <a:pt x="188" y="486"/>
                  </a:cubicBezTo>
                  <a:cubicBezTo>
                    <a:pt x="188" y="487"/>
                    <a:pt x="191" y="490"/>
                    <a:pt x="191" y="490"/>
                  </a:cubicBezTo>
                  <a:cubicBezTo>
                    <a:pt x="184" y="489"/>
                    <a:pt x="184" y="489"/>
                    <a:pt x="184" y="489"/>
                  </a:cubicBezTo>
                  <a:cubicBezTo>
                    <a:pt x="182" y="498"/>
                    <a:pt x="182" y="498"/>
                    <a:pt x="182" y="498"/>
                  </a:cubicBezTo>
                  <a:cubicBezTo>
                    <a:pt x="182" y="498"/>
                    <a:pt x="188" y="498"/>
                    <a:pt x="188" y="500"/>
                  </a:cubicBezTo>
                  <a:cubicBezTo>
                    <a:pt x="188" y="502"/>
                    <a:pt x="179" y="504"/>
                    <a:pt x="174" y="505"/>
                  </a:cubicBezTo>
                  <a:cubicBezTo>
                    <a:pt x="169" y="507"/>
                    <a:pt x="169" y="517"/>
                    <a:pt x="169" y="517"/>
                  </a:cubicBezTo>
                  <a:cubicBezTo>
                    <a:pt x="169" y="517"/>
                    <a:pt x="184" y="509"/>
                    <a:pt x="183" y="514"/>
                  </a:cubicBezTo>
                  <a:cubicBezTo>
                    <a:pt x="183" y="518"/>
                    <a:pt x="176" y="517"/>
                    <a:pt x="176" y="517"/>
                  </a:cubicBezTo>
                  <a:cubicBezTo>
                    <a:pt x="177" y="520"/>
                    <a:pt x="177" y="520"/>
                    <a:pt x="177" y="520"/>
                  </a:cubicBezTo>
                  <a:cubicBezTo>
                    <a:pt x="182" y="522"/>
                    <a:pt x="182" y="522"/>
                    <a:pt x="182" y="52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181" y="529"/>
                    <a:pt x="181" y="529"/>
                    <a:pt x="181" y="529"/>
                  </a:cubicBezTo>
                  <a:cubicBezTo>
                    <a:pt x="198" y="520"/>
                    <a:pt x="198" y="520"/>
                    <a:pt x="198" y="520"/>
                  </a:cubicBezTo>
                  <a:cubicBezTo>
                    <a:pt x="198" y="520"/>
                    <a:pt x="202" y="517"/>
                    <a:pt x="203" y="516"/>
                  </a:cubicBezTo>
                  <a:cubicBezTo>
                    <a:pt x="205" y="515"/>
                    <a:pt x="206" y="513"/>
                    <a:pt x="209" y="512"/>
                  </a:cubicBezTo>
                  <a:cubicBezTo>
                    <a:pt x="211" y="512"/>
                    <a:pt x="213" y="508"/>
                    <a:pt x="213" y="505"/>
                  </a:cubicBezTo>
                  <a:cubicBezTo>
                    <a:pt x="213" y="502"/>
                    <a:pt x="202" y="507"/>
                    <a:pt x="202" y="507"/>
                  </a:cubicBezTo>
                  <a:cubicBezTo>
                    <a:pt x="202" y="507"/>
                    <a:pt x="209" y="502"/>
                    <a:pt x="212" y="500"/>
                  </a:cubicBezTo>
                  <a:cubicBezTo>
                    <a:pt x="214" y="499"/>
                    <a:pt x="215" y="494"/>
                    <a:pt x="221" y="494"/>
                  </a:cubicBezTo>
                  <a:cubicBezTo>
                    <a:pt x="225" y="494"/>
                    <a:pt x="226" y="498"/>
                    <a:pt x="226" y="498"/>
                  </a:cubicBezTo>
                  <a:cubicBezTo>
                    <a:pt x="215" y="503"/>
                    <a:pt x="215" y="503"/>
                    <a:pt x="215" y="503"/>
                  </a:cubicBezTo>
                  <a:cubicBezTo>
                    <a:pt x="214" y="506"/>
                    <a:pt x="214" y="506"/>
                    <a:pt x="214" y="506"/>
                  </a:cubicBezTo>
                  <a:cubicBezTo>
                    <a:pt x="214" y="506"/>
                    <a:pt x="223" y="506"/>
                    <a:pt x="224" y="509"/>
                  </a:cubicBezTo>
                  <a:cubicBezTo>
                    <a:pt x="224" y="513"/>
                    <a:pt x="214" y="515"/>
                    <a:pt x="211" y="516"/>
                  </a:cubicBezTo>
                  <a:cubicBezTo>
                    <a:pt x="208" y="516"/>
                    <a:pt x="203" y="521"/>
                    <a:pt x="202" y="524"/>
                  </a:cubicBezTo>
                  <a:cubicBezTo>
                    <a:pt x="202" y="528"/>
                    <a:pt x="206" y="522"/>
                    <a:pt x="208" y="523"/>
                  </a:cubicBezTo>
                  <a:cubicBezTo>
                    <a:pt x="209" y="525"/>
                    <a:pt x="206" y="526"/>
                    <a:pt x="205" y="528"/>
                  </a:cubicBezTo>
                  <a:cubicBezTo>
                    <a:pt x="203" y="530"/>
                    <a:pt x="208" y="531"/>
                    <a:pt x="208" y="531"/>
                  </a:cubicBezTo>
                  <a:cubicBezTo>
                    <a:pt x="205" y="533"/>
                    <a:pt x="205" y="533"/>
                    <a:pt x="205" y="533"/>
                  </a:cubicBezTo>
                  <a:cubicBezTo>
                    <a:pt x="205" y="533"/>
                    <a:pt x="194" y="530"/>
                    <a:pt x="188" y="532"/>
                  </a:cubicBezTo>
                  <a:cubicBezTo>
                    <a:pt x="181" y="534"/>
                    <a:pt x="187" y="539"/>
                    <a:pt x="187" y="539"/>
                  </a:cubicBezTo>
                  <a:cubicBezTo>
                    <a:pt x="180" y="538"/>
                    <a:pt x="180" y="538"/>
                    <a:pt x="180" y="538"/>
                  </a:cubicBezTo>
                  <a:cubicBezTo>
                    <a:pt x="175" y="540"/>
                    <a:pt x="175" y="540"/>
                    <a:pt x="175" y="540"/>
                  </a:cubicBezTo>
                  <a:cubicBezTo>
                    <a:pt x="180" y="532"/>
                    <a:pt x="180" y="532"/>
                    <a:pt x="180" y="532"/>
                  </a:cubicBezTo>
                  <a:cubicBezTo>
                    <a:pt x="175" y="518"/>
                    <a:pt x="175" y="518"/>
                    <a:pt x="175" y="518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6" y="523"/>
                    <a:pt x="166" y="523"/>
                    <a:pt x="166" y="523"/>
                  </a:cubicBezTo>
                  <a:cubicBezTo>
                    <a:pt x="158" y="526"/>
                    <a:pt x="158" y="526"/>
                    <a:pt x="158" y="526"/>
                  </a:cubicBezTo>
                  <a:cubicBezTo>
                    <a:pt x="157" y="530"/>
                    <a:pt x="157" y="530"/>
                    <a:pt x="157" y="530"/>
                  </a:cubicBezTo>
                  <a:cubicBezTo>
                    <a:pt x="164" y="531"/>
                    <a:pt x="164" y="531"/>
                    <a:pt x="164" y="531"/>
                  </a:cubicBezTo>
                  <a:cubicBezTo>
                    <a:pt x="157" y="532"/>
                    <a:pt x="157" y="532"/>
                    <a:pt x="157" y="532"/>
                  </a:cubicBezTo>
                  <a:cubicBezTo>
                    <a:pt x="156" y="536"/>
                    <a:pt x="156" y="536"/>
                    <a:pt x="156" y="536"/>
                  </a:cubicBezTo>
                  <a:cubicBezTo>
                    <a:pt x="162" y="537"/>
                    <a:pt x="162" y="537"/>
                    <a:pt x="162" y="537"/>
                  </a:cubicBezTo>
                  <a:cubicBezTo>
                    <a:pt x="150" y="539"/>
                    <a:pt x="150" y="539"/>
                    <a:pt x="150" y="539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47" y="534"/>
                    <a:pt x="147" y="534"/>
                    <a:pt x="147" y="534"/>
                  </a:cubicBezTo>
                  <a:cubicBezTo>
                    <a:pt x="145" y="532"/>
                    <a:pt x="145" y="532"/>
                    <a:pt x="145" y="532"/>
                  </a:cubicBezTo>
                  <a:cubicBezTo>
                    <a:pt x="141" y="534"/>
                    <a:pt x="141" y="534"/>
                    <a:pt x="141" y="534"/>
                  </a:cubicBezTo>
                  <a:cubicBezTo>
                    <a:pt x="145" y="538"/>
                    <a:pt x="145" y="538"/>
                    <a:pt x="145" y="538"/>
                  </a:cubicBezTo>
                  <a:cubicBezTo>
                    <a:pt x="138" y="538"/>
                    <a:pt x="138" y="538"/>
                    <a:pt x="138" y="538"/>
                  </a:cubicBezTo>
                  <a:cubicBezTo>
                    <a:pt x="134" y="541"/>
                    <a:pt x="134" y="541"/>
                    <a:pt x="134" y="541"/>
                  </a:cubicBezTo>
                  <a:cubicBezTo>
                    <a:pt x="139" y="547"/>
                    <a:pt x="139" y="547"/>
                    <a:pt x="139" y="547"/>
                  </a:cubicBezTo>
                  <a:cubicBezTo>
                    <a:pt x="143" y="548"/>
                    <a:pt x="143" y="548"/>
                    <a:pt x="143" y="548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5" y="552"/>
                    <a:pt x="135" y="552"/>
                    <a:pt x="135" y="552"/>
                  </a:cubicBezTo>
                  <a:cubicBezTo>
                    <a:pt x="126" y="551"/>
                    <a:pt x="126" y="551"/>
                    <a:pt x="126" y="551"/>
                  </a:cubicBezTo>
                  <a:cubicBezTo>
                    <a:pt x="126" y="555"/>
                    <a:pt x="126" y="555"/>
                    <a:pt x="126" y="555"/>
                  </a:cubicBezTo>
                  <a:cubicBezTo>
                    <a:pt x="132" y="563"/>
                    <a:pt x="132" y="563"/>
                    <a:pt x="132" y="563"/>
                  </a:cubicBezTo>
                  <a:cubicBezTo>
                    <a:pt x="138" y="561"/>
                    <a:pt x="138" y="561"/>
                    <a:pt x="138" y="561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2" y="566"/>
                    <a:pt x="132" y="566"/>
                    <a:pt x="132" y="566"/>
                  </a:cubicBezTo>
                  <a:cubicBezTo>
                    <a:pt x="137" y="568"/>
                    <a:pt x="137" y="568"/>
                    <a:pt x="137" y="568"/>
                  </a:cubicBezTo>
                  <a:cubicBezTo>
                    <a:pt x="135" y="569"/>
                    <a:pt x="135" y="569"/>
                    <a:pt x="135" y="569"/>
                  </a:cubicBezTo>
                  <a:cubicBezTo>
                    <a:pt x="130" y="567"/>
                    <a:pt x="130" y="567"/>
                    <a:pt x="130" y="567"/>
                  </a:cubicBezTo>
                  <a:cubicBezTo>
                    <a:pt x="129" y="561"/>
                    <a:pt x="129" y="561"/>
                    <a:pt x="129" y="561"/>
                  </a:cubicBezTo>
                  <a:cubicBezTo>
                    <a:pt x="123" y="552"/>
                    <a:pt x="123" y="552"/>
                    <a:pt x="123" y="552"/>
                  </a:cubicBezTo>
                  <a:cubicBezTo>
                    <a:pt x="114" y="557"/>
                    <a:pt x="114" y="557"/>
                    <a:pt x="114" y="557"/>
                  </a:cubicBezTo>
                  <a:cubicBezTo>
                    <a:pt x="116" y="558"/>
                    <a:pt x="116" y="558"/>
                    <a:pt x="116" y="558"/>
                  </a:cubicBezTo>
                  <a:cubicBezTo>
                    <a:pt x="118" y="558"/>
                    <a:pt x="118" y="558"/>
                    <a:pt x="118" y="558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32" y="577"/>
                    <a:pt x="132" y="577"/>
                    <a:pt x="132" y="577"/>
                  </a:cubicBezTo>
                  <a:cubicBezTo>
                    <a:pt x="133" y="579"/>
                    <a:pt x="133" y="579"/>
                    <a:pt x="133" y="579"/>
                  </a:cubicBezTo>
                  <a:cubicBezTo>
                    <a:pt x="122" y="571"/>
                    <a:pt x="122" y="571"/>
                    <a:pt x="122" y="571"/>
                  </a:cubicBezTo>
                  <a:cubicBezTo>
                    <a:pt x="122" y="562"/>
                    <a:pt x="122" y="562"/>
                    <a:pt x="122" y="562"/>
                  </a:cubicBezTo>
                  <a:cubicBezTo>
                    <a:pt x="113" y="562"/>
                    <a:pt x="113" y="562"/>
                    <a:pt x="113" y="562"/>
                  </a:cubicBezTo>
                  <a:cubicBezTo>
                    <a:pt x="111" y="565"/>
                    <a:pt x="111" y="565"/>
                    <a:pt x="111" y="565"/>
                  </a:cubicBezTo>
                  <a:cubicBezTo>
                    <a:pt x="112" y="560"/>
                    <a:pt x="112" y="560"/>
                    <a:pt x="112" y="560"/>
                  </a:cubicBezTo>
                  <a:cubicBezTo>
                    <a:pt x="108" y="560"/>
                    <a:pt x="108" y="560"/>
                    <a:pt x="108" y="560"/>
                  </a:cubicBezTo>
                  <a:cubicBezTo>
                    <a:pt x="107" y="563"/>
                    <a:pt x="107" y="563"/>
                    <a:pt x="107" y="563"/>
                  </a:cubicBezTo>
                  <a:cubicBezTo>
                    <a:pt x="101" y="564"/>
                    <a:pt x="101" y="564"/>
                    <a:pt x="101" y="564"/>
                  </a:cubicBezTo>
                  <a:cubicBezTo>
                    <a:pt x="96" y="557"/>
                    <a:pt x="96" y="557"/>
                    <a:pt x="96" y="557"/>
                  </a:cubicBezTo>
                  <a:cubicBezTo>
                    <a:pt x="96" y="557"/>
                    <a:pt x="92" y="557"/>
                    <a:pt x="85" y="562"/>
                  </a:cubicBezTo>
                  <a:cubicBezTo>
                    <a:pt x="80" y="567"/>
                    <a:pt x="93" y="567"/>
                    <a:pt x="94" y="569"/>
                  </a:cubicBezTo>
                  <a:cubicBezTo>
                    <a:pt x="94" y="571"/>
                    <a:pt x="91" y="570"/>
                    <a:pt x="88" y="570"/>
                  </a:cubicBezTo>
                  <a:cubicBezTo>
                    <a:pt x="83" y="571"/>
                    <a:pt x="87" y="577"/>
                    <a:pt x="87" y="577"/>
                  </a:cubicBezTo>
                  <a:cubicBezTo>
                    <a:pt x="87" y="577"/>
                    <a:pt x="104" y="571"/>
                    <a:pt x="105" y="573"/>
                  </a:cubicBezTo>
                  <a:cubicBezTo>
                    <a:pt x="106" y="575"/>
                    <a:pt x="99" y="575"/>
                    <a:pt x="99" y="575"/>
                  </a:cubicBezTo>
                  <a:cubicBezTo>
                    <a:pt x="99" y="578"/>
                    <a:pt x="99" y="578"/>
                    <a:pt x="99" y="578"/>
                  </a:cubicBezTo>
                  <a:cubicBezTo>
                    <a:pt x="99" y="578"/>
                    <a:pt x="108" y="575"/>
                    <a:pt x="113" y="573"/>
                  </a:cubicBezTo>
                  <a:cubicBezTo>
                    <a:pt x="118" y="573"/>
                    <a:pt x="122" y="579"/>
                    <a:pt x="122" y="579"/>
                  </a:cubicBezTo>
                  <a:cubicBezTo>
                    <a:pt x="122" y="579"/>
                    <a:pt x="117" y="576"/>
                    <a:pt x="114" y="575"/>
                  </a:cubicBezTo>
                  <a:cubicBezTo>
                    <a:pt x="112" y="575"/>
                    <a:pt x="104" y="578"/>
                    <a:pt x="104" y="578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2" y="581"/>
                    <a:pt x="102" y="581"/>
                    <a:pt x="102" y="581"/>
                  </a:cubicBezTo>
                  <a:cubicBezTo>
                    <a:pt x="100" y="582"/>
                    <a:pt x="100" y="582"/>
                    <a:pt x="100" y="582"/>
                  </a:cubicBezTo>
                  <a:cubicBezTo>
                    <a:pt x="102" y="586"/>
                    <a:pt x="102" y="586"/>
                    <a:pt x="102" y="586"/>
                  </a:cubicBezTo>
                  <a:cubicBezTo>
                    <a:pt x="108" y="586"/>
                    <a:pt x="108" y="586"/>
                    <a:pt x="108" y="586"/>
                  </a:cubicBezTo>
                  <a:cubicBezTo>
                    <a:pt x="104" y="591"/>
                    <a:pt x="104" y="591"/>
                    <a:pt x="104" y="591"/>
                  </a:cubicBezTo>
                  <a:cubicBezTo>
                    <a:pt x="96" y="584"/>
                    <a:pt x="96" y="584"/>
                    <a:pt x="96" y="584"/>
                  </a:cubicBezTo>
                  <a:cubicBezTo>
                    <a:pt x="92" y="582"/>
                    <a:pt x="92" y="582"/>
                    <a:pt x="92" y="582"/>
                  </a:cubicBezTo>
                  <a:cubicBezTo>
                    <a:pt x="92" y="585"/>
                    <a:pt x="92" y="585"/>
                    <a:pt x="92" y="585"/>
                  </a:cubicBezTo>
                  <a:cubicBezTo>
                    <a:pt x="92" y="585"/>
                    <a:pt x="90" y="581"/>
                    <a:pt x="87" y="580"/>
                  </a:cubicBezTo>
                  <a:cubicBezTo>
                    <a:pt x="83" y="579"/>
                    <a:pt x="83" y="583"/>
                    <a:pt x="83" y="583"/>
                  </a:cubicBezTo>
                  <a:cubicBezTo>
                    <a:pt x="83" y="583"/>
                    <a:pt x="81" y="581"/>
                    <a:pt x="80" y="580"/>
                  </a:cubicBezTo>
                  <a:cubicBezTo>
                    <a:pt x="78" y="580"/>
                    <a:pt x="74" y="583"/>
                    <a:pt x="74" y="583"/>
                  </a:cubicBezTo>
                  <a:cubicBezTo>
                    <a:pt x="74" y="583"/>
                    <a:pt x="72" y="582"/>
                    <a:pt x="69" y="581"/>
                  </a:cubicBezTo>
                  <a:cubicBezTo>
                    <a:pt x="66" y="581"/>
                    <a:pt x="65" y="584"/>
                    <a:pt x="63" y="587"/>
                  </a:cubicBezTo>
                  <a:cubicBezTo>
                    <a:pt x="62" y="589"/>
                    <a:pt x="74" y="586"/>
                    <a:pt x="74" y="586"/>
                  </a:cubicBezTo>
                  <a:cubicBezTo>
                    <a:pt x="74" y="586"/>
                    <a:pt x="82" y="592"/>
                    <a:pt x="84" y="594"/>
                  </a:cubicBezTo>
                  <a:cubicBezTo>
                    <a:pt x="85" y="595"/>
                    <a:pt x="84" y="600"/>
                    <a:pt x="84" y="600"/>
                  </a:cubicBezTo>
                  <a:cubicBezTo>
                    <a:pt x="87" y="603"/>
                    <a:pt x="87" y="603"/>
                    <a:pt x="87" y="603"/>
                  </a:cubicBezTo>
                  <a:cubicBezTo>
                    <a:pt x="92" y="604"/>
                    <a:pt x="92" y="604"/>
                    <a:pt x="92" y="604"/>
                  </a:cubicBezTo>
                  <a:cubicBezTo>
                    <a:pt x="94" y="603"/>
                    <a:pt x="94" y="603"/>
                    <a:pt x="94" y="603"/>
                  </a:cubicBezTo>
                  <a:cubicBezTo>
                    <a:pt x="93" y="605"/>
                    <a:pt x="93" y="605"/>
                    <a:pt x="93" y="605"/>
                  </a:cubicBezTo>
                  <a:cubicBezTo>
                    <a:pt x="85" y="605"/>
                    <a:pt x="85" y="605"/>
                    <a:pt x="85" y="605"/>
                  </a:cubicBezTo>
                  <a:cubicBezTo>
                    <a:pt x="87" y="608"/>
                    <a:pt x="87" y="608"/>
                    <a:pt x="87" y="608"/>
                  </a:cubicBezTo>
                  <a:cubicBezTo>
                    <a:pt x="83" y="614"/>
                    <a:pt x="83" y="614"/>
                    <a:pt x="83" y="614"/>
                  </a:cubicBezTo>
                  <a:cubicBezTo>
                    <a:pt x="85" y="616"/>
                    <a:pt x="85" y="616"/>
                    <a:pt x="85" y="616"/>
                  </a:cubicBezTo>
                  <a:cubicBezTo>
                    <a:pt x="80" y="615"/>
                    <a:pt x="80" y="615"/>
                    <a:pt x="80" y="615"/>
                  </a:cubicBezTo>
                  <a:cubicBezTo>
                    <a:pt x="84" y="607"/>
                    <a:pt x="84" y="607"/>
                    <a:pt x="84" y="607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82" y="594"/>
                    <a:pt x="82" y="594"/>
                    <a:pt x="82" y="594"/>
                  </a:cubicBezTo>
                  <a:cubicBezTo>
                    <a:pt x="73" y="593"/>
                    <a:pt x="73" y="593"/>
                    <a:pt x="73" y="593"/>
                  </a:cubicBezTo>
                  <a:cubicBezTo>
                    <a:pt x="73" y="597"/>
                    <a:pt x="73" y="597"/>
                    <a:pt x="73" y="597"/>
                  </a:cubicBezTo>
                  <a:cubicBezTo>
                    <a:pt x="69" y="595"/>
                    <a:pt x="69" y="595"/>
                    <a:pt x="69" y="595"/>
                  </a:cubicBezTo>
                  <a:cubicBezTo>
                    <a:pt x="66" y="595"/>
                    <a:pt x="66" y="595"/>
                    <a:pt x="66" y="595"/>
                  </a:cubicBezTo>
                  <a:cubicBezTo>
                    <a:pt x="72" y="611"/>
                    <a:pt x="72" y="611"/>
                    <a:pt x="72" y="611"/>
                  </a:cubicBezTo>
                  <a:cubicBezTo>
                    <a:pt x="71" y="613"/>
                    <a:pt x="71" y="613"/>
                    <a:pt x="71" y="613"/>
                  </a:cubicBezTo>
                  <a:cubicBezTo>
                    <a:pt x="68" y="607"/>
                    <a:pt x="68" y="607"/>
                    <a:pt x="68" y="607"/>
                  </a:cubicBezTo>
                  <a:cubicBezTo>
                    <a:pt x="65" y="602"/>
                    <a:pt x="65" y="602"/>
                    <a:pt x="65" y="602"/>
                  </a:cubicBezTo>
                  <a:cubicBezTo>
                    <a:pt x="65" y="602"/>
                    <a:pt x="66" y="598"/>
                    <a:pt x="63" y="597"/>
                  </a:cubicBezTo>
                  <a:cubicBezTo>
                    <a:pt x="61" y="596"/>
                    <a:pt x="52" y="603"/>
                    <a:pt x="52" y="603"/>
                  </a:cubicBezTo>
                  <a:cubicBezTo>
                    <a:pt x="56" y="607"/>
                    <a:pt x="56" y="607"/>
                    <a:pt x="56" y="607"/>
                  </a:cubicBezTo>
                  <a:cubicBezTo>
                    <a:pt x="50" y="607"/>
                    <a:pt x="50" y="607"/>
                    <a:pt x="50" y="607"/>
                  </a:cubicBezTo>
                  <a:cubicBezTo>
                    <a:pt x="50" y="607"/>
                    <a:pt x="52" y="608"/>
                    <a:pt x="55" y="610"/>
                  </a:cubicBezTo>
                  <a:cubicBezTo>
                    <a:pt x="57" y="613"/>
                    <a:pt x="61" y="616"/>
                    <a:pt x="61" y="616"/>
                  </a:cubicBezTo>
                  <a:cubicBezTo>
                    <a:pt x="55" y="615"/>
                    <a:pt x="55" y="615"/>
                    <a:pt x="55" y="615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8" y="617"/>
                    <a:pt x="48" y="617"/>
                    <a:pt x="48" y="617"/>
                  </a:cubicBezTo>
                  <a:cubicBezTo>
                    <a:pt x="51" y="610"/>
                    <a:pt x="51" y="610"/>
                    <a:pt x="51" y="610"/>
                  </a:cubicBezTo>
                  <a:cubicBezTo>
                    <a:pt x="51" y="610"/>
                    <a:pt x="50" y="608"/>
                    <a:pt x="46" y="608"/>
                  </a:cubicBezTo>
                  <a:cubicBezTo>
                    <a:pt x="42" y="608"/>
                    <a:pt x="43" y="612"/>
                    <a:pt x="43" y="612"/>
                  </a:cubicBezTo>
                  <a:cubicBezTo>
                    <a:pt x="43" y="612"/>
                    <a:pt x="40" y="608"/>
                    <a:pt x="38" y="608"/>
                  </a:cubicBezTo>
                  <a:cubicBezTo>
                    <a:pt x="34" y="608"/>
                    <a:pt x="33" y="612"/>
                    <a:pt x="33" y="612"/>
                  </a:cubicBezTo>
                  <a:cubicBezTo>
                    <a:pt x="39" y="615"/>
                    <a:pt x="39" y="615"/>
                    <a:pt x="39" y="615"/>
                  </a:cubicBezTo>
                  <a:cubicBezTo>
                    <a:pt x="38" y="616"/>
                    <a:pt x="38" y="616"/>
                    <a:pt x="38" y="616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32" y="609"/>
                    <a:pt x="32" y="609"/>
                    <a:pt x="32" y="609"/>
                  </a:cubicBezTo>
                  <a:cubicBezTo>
                    <a:pt x="28" y="605"/>
                    <a:pt x="28" y="605"/>
                    <a:pt x="28" y="605"/>
                  </a:cubicBezTo>
                  <a:cubicBezTo>
                    <a:pt x="25" y="609"/>
                    <a:pt x="25" y="609"/>
                    <a:pt x="25" y="609"/>
                  </a:cubicBezTo>
                  <a:cubicBezTo>
                    <a:pt x="26" y="611"/>
                    <a:pt x="26" y="611"/>
                    <a:pt x="26" y="611"/>
                  </a:cubicBezTo>
                  <a:cubicBezTo>
                    <a:pt x="26" y="611"/>
                    <a:pt x="32" y="616"/>
                    <a:pt x="32" y="618"/>
                  </a:cubicBezTo>
                  <a:cubicBezTo>
                    <a:pt x="31" y="621"/>
                    <a:pt x="25" y="620"/>
                    <a:pt x="25" y="624"/>
                  </a:cubicBezTo>
                  <a:cubicBezTo>
                    <a:pt x="25" y="627"/>
                    <a:pt x="34" y="623"/>
                    <a:pt x="34" y="623"/>
                  </a:cubicBezTo>
                  <a:cubicBezTo>
                    <a:pt x="50" y="627"/>
                    <a:pt x="50" y="627"/>
                    <a:pt x="50" y="627"/>
                  </a:cubicBezTo>
                  <a:cubicBezTo>
                    <a:pt x="49" y="628"/>
                    <a:pt x="49" y="628"/>
                    <a:pt x="49" y="628"/>
                  </a:cubicBezTo>
                  <a:cubicBezTo>
                    <a:pt x="64" y="632"/>
                    <a:pt x="64" y="632"/>
                    <a:pt x="64" y="632"/>
                  </a:cubicBezTo>
                  <a:cubicBezTo>
                    <a:pt x="71" y="629"/>
                    <a:pt x="71" y="629"/>
                    <a:pt x="71" y="629"/>
                  </a:cubicBezTo>
                  <a:cubicBezTo>
                    <a:pt x="78" y="631"/>
                    <a:pt x="78" y="631"/>
                    <a:pt x="78" y="631"/>
                  </a:cubicBezTo>
                  <a:cubicBezTo>
                    <a:pt x="78" y="632"/>
                    <a:pt x="78" y="632"/>
                    <a:pt x="78" y="632"/>
                  </a:cubicBezTo>
                  <a:cubicBezTo>
                    <a:pt x="72" y="631"/>
                    <a:pt x="72" y="631"/>
                    <a:pt x="72" y="631"/>
                  </a:cubicBezTo>
                  <a:cubicBezTo>
                    <a:pt x="65" y="633"/>
                    <a:pt x="65" y="633"/>
                    <a:pt x="65" y="633"/>
                  </a:cubicBezTo>
                  <a:cubicBezTo>
                    <a:pt x="56" y="631"/>
                    <a:pt x="56" y="631"/>
                    <a:pt x="56" y="631"/>
                  </a:cubicBezTo>
                  <a:cubicBezTo>
                    <a:pt x="55" y="633"/>
                    <a:pt x="55" y="633"/>
                    <a:pt x="55" y="633"/>
                  </a:cubicBezTo>
                  <a:cubicBezTo>
                    <a:pt x="55" y="633"/>
                    <a:pt x="42" y="626"/>
                    <a:pt x="35" y="626"/>
                  </a:cubicBezTo>
                  <a:cubicBezTo>
                    <a:pt x="28" y="626"/>
                    <a:pt x="29" y="629"/>
                    <a:pt x="29" y="629"/>
                  </a:cubicBezTo>
                  <a:cubicBezTo>
                    <a:pt x="29" y="629"/>
                    <a:pt x="28" y="629"/>
                    <a:pt x="25" y="631"/>
                  </a:cubicBezTo>
                  <a:cubicBezTo>
                    <a:pt x="23" y="632"/>
                    <a:pt x="25" y="635"/>
                    <a:pt x="25" y="635"/>
                  </a:cubicBezTo>
                  <a:cubicBezTo>
                    <a:pt x="25" y="635"/>
                    <a:pt x="19" y="634"/>
                    <a:pt x="17" y="638"/>
                  </a:cubicBezTo>
                  <a:cubicBezTo>
                    <a:pt x="16" y="641"/>
                    <a:pt x="19" y="642"/>
                    <a:pt x="19" y="642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2" y="646"/>
                    <a:pt x="32" y="646"/>
                    <a:pt x="32" y="646"/>
                  </a:cubicBezTo>
                  <a:cubicBezTo>
                    <a:pt x="26" y="644"/>
                    <a:pt x="26" y="644"/>
                    <a:pt x="26" y="644"/>
                  </a:cubicBezTo>
                  <a:cubicBezTo>
                    <a:pt x="24" y="646"/>
                    <a:pt x="24" y="646"/>
                    <a:pt x="24" y="646"/>
                  </a:cubicBezTo>
                  <a:cubicBezTo>
                    <a:pt x="28" y="648"/>
                    <a:pt x="28" y="648"/>
                    <a:pt x="28" y="648"/>
                  </a:cubicBezTo>
                  <a:cubicBezTo>
                    <a:pt x="23" y="648"/>
                    <a:pt x="23" y="648"/>
                    <a:pt x="23" y="648"/>
                  </a:cubicBezTo>
                  <a:cubicBezTo>
                    <a:pt x="23" y="650"/>
                    <a:pt x="23" y="650"/>
                    <a:pt x="23" y="650"/>
                  </a:cubicBezTo>
                  <a:cubicBezTo>
                    <a:pt x="32" y="652"/>
                    <a:pt x="32" y="652"/>
                    <a:pt x="32" y="652"/>
                  </a:cubicBezTo>
                  <a:cubicBezTo>
                    <a:pt x="17" y="655"/>
                    <a:pt x="17" y="655"/>
                    <a:pt x="17" y="655"/>
                  </a:cubicBezTo>
                  <a:cubicBezTo>
                    <a:pt x="17" y="657"/>
                    <a:pt x="17" y="657"/>
                    <a:pt x="17" y="657"/>
                  </a:cubicBezTo>
                  <a:cubicBezTo>
                    <a:pt x="20" y="657"/>
                    <a:pt x="20" y="657"/>
                    <a:pt x="20" y="657"/>
                  </a:cubicBezTo>
                  <a:cubicBezTo>
                    <a:pt x="20" y="660"/>
                    <a:pt x="20" y="660"/>
                    <a:pt x="20" y="660"/>
                  </a:cubicBezTo>
                  <a:cubicBezTo>
                    <a:pt x="30" y="660"/>
                    <a:pt x="30" y="660"/>
                    <a:pt x="30" y="660"/>
                  </a:cubicBezTo>
                  <a:cubicBezTo>
                    <a:pt x="17" y="663"/>
                    <a:pt x="17" y="663"/>
                    <a:pt x="17" y="663"/>
                  </a:cubicBezTo>
                  <a:cubicBezTo>
                    <a:pt x="15" y="667"/>
                    <a:pt x="15" y="667"/>
                    <a:pt x="15" y="667"/>
                  </a:cubicBezTo>
                  <a:cubicBezTo>
                    <a:pt x="22" y="670"/>
                    <a:pt x="22" y="670"/>
                    <a:pt x="22" y="670"/>
                  </a:cubicBezTo>
                  <a:cubicBezTo>
                    <a:pt x="18" y="670"/>
                    <a:pt x="18" y="670"/>
                    <a:pt x="18" y="670"/>
                  </a:cubicBezTo>
                  <a:cubicBezTo>
                    <a:pt x="23" y="675"/>
                    <a:pt x="23" y="675"/>
                    <a:pt x="23" y="675"/>
                  </a:cubicBezTo>
                  <a:cubicBezTo>
                    <a:pt x="26" y="675"/>
                    <a:pt x="26" y="675"/>
                    <a:pt x="26" y="675"/>
                  </a:cubicBezTo>
                  <a:cubicBezTo>
                    <a:pt x="28" y="677"/>
                    <a:pt x="28" y="677"/>
                    <a:pt x="28" y="677"/>
                  </a:cubicBezTo>
                  <a:cubicBezTo>
                    <a:pt x="48" y="672"/>
                    <a:pt x="48" y="672"/>
                    <a:pt x="48" y="672"/>
                  </a:cubicBezTo>
                  <a:cubicBezTo>
                    <a:pt x="46" y="675"/>
                    <a:pt x="46" y="675"/>
                    <a:pt x="46" y="675"/>
                  </a:cubicBezTo>
                  <a:cubicBezTo>
                    <a:pt x="55" y="674"/>
                    <a:pt x="55" y="674"/>
                    <a:pt x="55" y="674"/>
                  </a:cubicBezTo>
                  <a:cubicBezTo>
                    <a:pt x="55" y="674"/>
                    <a:pt x="56" y="677"/>
                    <a:pt x="61" y="677"/>
                  </a:cubicBezTo>
                  <a:cubicBezTo>
                    <a:pt x="65" y="677"/>
                    <a:pt x="63" y="668"/>
                    <a:pt x="63" y="668"/>
                  </a:cubicBezTo>
                  <a:cubicBezTo>
                    <a:pt x="66" y="667"/>
                    <a:pt x="66" y="667"/>
                    <a:pt x="66" y="667"/>
                  </a:cubicBezTo>
                  <a:cubicBezTo>
                    <a:pt x="71" y="661"/>
                    <a:pt x="71" y="661"/>
                    <a:pt x="71" y="661"/>
                  </a:cubicBezTo>
                  <a:cubicBezTo>
                    <a:pt x="72" y="662"/>
                    <a:pt x="72" y="662"/>
                    <a:pt x="72" y="662"/>
                  </a:cubicBezTo>
                  <a:cubicBezTo>
                    <a:pt x="67" y="670"/>
                    <a:pt x="67" y="670"/>
                    <a:pt x="67" y="670"/>
                  </a:cubicBezTo>
                  <a:cubicBezTo>
                    <a:pt x="69" y="674"/>
                    <a:pt x="69" y="674"/>
                    <a:pt x="69" y="674"/>
                  </a:cubicBezTo>
                  <a:cubicBezTo>
                    <a:pt x="79" y="675"/>
                    <a:pt x="79" y="675"/>
                    <a:pt x="79" y="675"/>
                  </a:cubicBezTo>
                  <a:cubicBezTo>
                    <a:pt x="83" y="671"/>
                    <a:pt x="83" y="671"/>
                    <a:pt x="83" y="671"/>
                  </a:cubicBezTo>
                  <a:cubicBezTo>
                    <a:pt x="83" y="675"/>
                    <a:pt x="83" y="675"/>
                    <a:pt x="83" y="675"/>
                  </a:cubicBezTo>
                  <a:cubicBezTo>
                    <a:pt x="76" y="677"/>
                    <a:pt x="76" y="677"/>
                    <a:pt x="76" y="677"/>
                  </a:cubicBezTo>
                  <a:cubicBezTo>
                    <a:pt x="78" y="679"/>
                    <a:pt x="78" y="679"/>
                    <a:pt x="78" y="679"/>
                  </a:cubicBezTo>
                  <a:cubicBezTo>
                    <a:pt x="90" y="675"/>
                    <a:pt x="90" y="675"/>
                    <a:pt x="90" y="675"/>
                  </a:cubicBezTo>
                  <a:cubicBezTo>
                    <a:pt x="89" y="668"/>
                    <a:pt x="89" y="668"/>
                    <a:pt x="89" y="668"/>
                  </a:cubicBezTo>
                  <a:cubicBezTo>
                    <a:pt x="89" y="668"/>
                    <a:pt x="91" y="664"/>
                    <a:pt x="93" y="661"/>
                  </a:cubicBezTo>
                  <a:cubicBezTo>
                    <a:pt x="94" y="659"/>
                    <a:pt x="98" y="656"/>
                    <a:pt x="98" y="656"/>
                  </a:cubicBezTo>
                  <a:cubicBezTo>
                    <a:pt x="99" y="658"/>
                    <a:pt x="99" y="658"/>
                    <a:pt x="99" y="658"/>
                  </a:cubicBezTo>
                  <a:cubicBezTo>
                    <a:pt x="99" y="658"/>
                    <a:pt x="97" y="660"/>
                    <a:pt x="95" y="662"/>
                  </a:cubicBezTo>
                  <a:cubicBezTo>
                    <a:pt x="93" y="663"/>
                    <a:pt x="90" y="668"/>
                    <a:pt x="90" y="668"/>
                  </a:cubicBezTo>
                  <a:cubicBezTo>
                    <a:pt x="92" y="671"/>
                    <a:pt x="92" y="671"/>
                    <a:pt x="92" y="671"/>
                  </a:cubicBezTo>
                  <a:cubicBezTo>
                    <a:pt x="93" y="675"/>
                    <a:pt x="93" y="675"/>
                    <a:pt x="93" y="675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98" y="676"/>
                    <a:pt x="98" y="676"/>
                    <a:pt x="98" y="676"/>
                  </a:cubicBezTo>
                  <a:cubicBezTo>
                    <a:pt x="96" y="676"/>
                    <a:pt x="96" y="676"/>
                    <a:pt x="96" y="676"/>
                  </a:cubicBezTo>
                  <a:cubicBezTo>
                    <a:pt x="92" y="677"/>
                    <a:pt x="92" y="677"/>
                    <a:pt x="92" y="677"/>
                  </a:cubicBezTo>
                  <a:cubicBezTo>
                    <a:pt x="92" y="680"/>
                    <a:pt x="92" y="680"/>
                    <a:pt x="92" y="680"/>
                  </a:cubicBezTo>
                  <a:cubicBezTo>
                    <a:pt x="88" y="678"/>
                    <a:pt x="88" y="678"/>
                    <a:pt x="88" y="678"/>
                  </a:cubicBezTo>
                  <a:cubicBezTo>
                    <a:pt x="80" y="680"/>
                    <a:pt x="80" y="680"/>
                    <a:pt x="80" y="680"/>
                  </a:cubicBezTo>
                  <a:cubicBezTo>
                    <a:pt x="80" y="686"/>
                    <a:pt x="80" y="686"/>
                    <a:pt x="80" y="686"/>
                  </a:cubicBezTo>
                  <a:cubicBezTo>
                    <a:pt x="82" y="691"/>
                    <a:pt x="82" y="691"/>
                    <a:pt x="82" y="691"/>
                  </a:cubicBezTo>
                  <a:cubicBezTo>
                    <a:pt x="79" y="688"/>
                    <a:pt x="79" y="688"/>
                    <a:pt x="79" y="688"/>
                  </a:cubicBezTo>
                  <a:cubicBezTo>
                    <a:pt x="76" y="690"/>
                    <a:pt x="76" y="690"/>
                    <a:pt x="76" y="690"/>
                  </a:cubicBezTo>
                  <a:cubicBezTo>
                    <a:pt x="78" y="686"/>
                    <a:pt x="78" y="686"/>
                    <a:pt x="78" y="686"/>
                  </a:cubicBezTo>
                  <a:cubicBezTo>
                    <a:pt x="77" y="681"/>
                    <a:pt x="77" y="681"/>
                    <a:pt x="77" y="68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4" y="678"/>
                    <a:pt x="74" y="678"/>
                    <a:pt x="74" y="678"/>
                  </a:cubicBezTo>
                  <a:cubicBezTo>
                    <a:pt x="74" y="678"/>
                    <a:pt x="67" y="676"/>
                    <a:pt x="66" y="675"/>
                  </a:cubicBezTo>
                  <a:cubicBezTo>
                    <a:pt x="65" y="675"/>
                    <a:pt x="64" y="679"/>
                    <a:pt x="64" y="679"/>
                  </a:cubicBezTo>
                  <a:cubicBezTo>
                    <a:pt x="56" y="680"/>
                    <a:pt x="56" y="680"/>
                    <a:pt x="56" y="680"/>
                  </a:cubicBezTo>
                  <a:cubicBezTo>
                    <a:pt x="56" y="678"/>
                    <a:pt x="56" y="678"/>
                    <a:pt x="56" y="678"/>
                  </a:cubicBezTo>
                  <a:cubicBezTo>
                    <a:pt x="42" y="676"/>
                    <a:pt x="42" y="676"/>
                    <a:pt x="42" y="676"/>
                  </a:cubicBezTo>
                  <a:cubicBezTo>
                    <a:pt x="41" y="678"/>
                    <a:pt x="41" y="678"/>
                    <a:pt x="41" y="678"/>
                  </a:cubicBezTo>
                  <a:cubicBezTo>
                    <a:pt x="39" y="676"/>
                    <a:pt x="39" y="676"/>
                    <a:pt x="39" y="676"/>
                  </a:cubicBezTo>
                  <a:cubicBezTo>
                    <a:pt x="33" y="678"/>
                    <a:pt x="33" y="678"/>
                    <a:pt x="33" y="678"/>
                  </a:cubicBezTo>
                  <a:cubicBezTo>
                    <a:pt x="31" y="681"/>
                    <a:pt x="31" y="681"/>
                    <a:pt x="31" y="681"/>
                  </a:cubicBezTo>
                  <a:cubicBezTo>
                    <a:pt x="24" y="680"/>
                    <a:pt x="24" y="680"/>
                    <a:pt x="24" y="680"/>
                  </a:cubicBezTo>
                  <a:cubicBezTo>
                    <a:pt x="24" y="680"/>
                    <a:pt x="23" y="678"/>
                    <a:pt x="19" y="678"/>
                  </a:cubicBezTo>
                  <a:cubicBezTo>
                    <a:pt x="16" y="678"/>
                    <a:pt x="15" y="682"/>
                    <a:pt x="15" y="682"/>
                  </a:cubicBezTo>
                  <a:cubicBezTo>
                    <a:pt x="18" y="686"/>
                    <a:pt x="18" y="686"/>
                    <a:pt x="18" y="686"/>
                  </a:cubicBezTo>
                  <a:cubicBezTo>
                    <a:pt x="14" y="687"/>
                    <a:pt x="14" y="687"/>
                    <a:pt x="14" y="687"/>
                  </a:cubicBezTo>
                  <a:cubicBezTo>
                    <a:pt x="14" y="687"/>
                    <a:pt x="14" y="692"/>
                    <a:pt x="18" y="693"/>
                  </a:cubicBezTo>
                  <a:cubicBezTo>
                    <a:pt x="22" y="695"/>
                    <a:pt x="24" y="691"/>
                    <a:pt x="24" y="691"/>
                  </a:cubicBezTo>
                  <a:cubicBezTo>
                    <a:pt x="28" y="691"/>
                    <a:pt x="28" y="691"/>
                    <a:pt x="28" y="691"/>
                  </a:cubicBezTo>
                  <a:cubicBezTo>
                    <a:pt x="27" y="692"/>
                    <a:pt x="27" y="692"/>
                    <a:pt x="27" y="692"/>
                  </a:cubicBezTo>
                  <a:cubicBezTo>
                    <a:pt x="27" y="692"/>
                    <a:pt x="23" y="692"/>
                    <a:pt x="22" y="697"/>
                  </a:cubicBezTo>
                  <a:cubicBezTo>
                    <a:pt x="20" y="703"/>
                    <a:pt x="27" y="704"/>
                    <a:pt x="27" y="704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7" y="707"/>
                    <a:pt x="27" y="707"/>
                    <a:pt x="27" y="707"/>
                  </a:cubicBezTo>
                  <a:cubicBezTo>
                    <a:pt x="30" y="707"/>
                    <a:pt x="30" y="707"/>
                    <a:pt x="30" y="707"/>
                  </a:cubicBezTo>
                  <a:cubicBezTo>
                    <a:pt x="30" y="707"/>
                    <a:pt x="29" y="705"/>
                    <a:pt x="29" y="703"/>
                  </a:cubicBezTo>
                  <a:cubicBezTo>
                    <a:pt x="29" y="702"/>
                    <a:pt x="32" y="701"/>
                    <a:pt x="32" y="701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8" y="704"/>
                    <a:pt x="36" y="708"/>
                    <a:pt x="35" y="711"/>
                  </a:cubicBezTo>
                  <a:cubicBezTo>
                    <a:pt x="34" y="714"/>
                    <a:pt x="34" y="719"/>
                    <a:pt x="34" y="719"/>
                  </a:cubicBezTo>
                  <a:cubicBezTo>
                    <a:pt x="25" y="720"/>
                    <a:pt x="25" y="720"/>
                    <a:pt x="25" y="720"/>
                  </a:cubicBezTo>
                  <a:cubicBezTo>
                    <a:pt x="25" y="720"/>
                    <a:pt x="24" y="713"/>
                    <a:pt x="19" y="714"/>
                  </a:cubicBezTo>
                  <a:cubicBezTo>
                    <a:pt x="15" y="715"/>
                    <a:pt x="19" y="723"/>
                    <a:pt x="19" y="723"/>
                  </a:cubicBezTo>
                  <a:cubicBezTo>
                    <a:pt x="19" y="723"/>
                    <a:pt x="15" y="723"/>
                    <a:pt x="15" y="727"/>
                  </a:cubicBezTo>
                  <a:cubicBezTo>
                    <a:pt x="15" y="731"/>
                    <a:pt x="18" y="730"/>
                    <a:pt x="18" y="730"/>
                  </a:cubicBezTo>
                  <a:cubicBezTo>
                    <a:pt x="17" y="733"/>
                    <a:pt x="17" y="733"/>
                    <a:pt x="17" y="733"/>
                  </a:cubicBezTo>
                  <a:cubicBezTo>
                    <a:pt x="22" y="738"/>
                    <a:pt x="22" y="738"/>
                    <a:pt x="22" y="738"/>
                  </a:cubicBezTo>
                  <a:cubicBezTo>
                    <a:pt x="26" y="735"/>
                    <a:pt x="26" y="735"/>
                    <a:pt x="26" y="735"/>
                  </a:cubicBezTo>
                  <a:cubicBezTo>
                    <a:pt x="29" y="727"/>
                    <a:pt x="29" y="727"/>
                    <a:pt x="29" y="727"/>
                  </a:cubicBezTo>
                  <a:cubicBezTo>
                    <a:pt x="27" y="734"/>
                    <a:pt x="27" y="734"/>
                    <a:pt x="27" y="734"/>
                  </a:cubicBezTo>
                  <a:cubicBezTo>
                    <a:pt x="27" y="738"/>
                    <a:pt x="27" y="738"/>
                    <a:pt x="27" y="738"/>
                  </a:cubicBezTo>
                  <a:cubicBezTo>
                    <a:pt x="32" y="738"/>
                    <a:pt x="32" y="738"/>
                    <a:pt x="32" y="738"/>
                  </a:cubicBezTo>
                  <a:cubicBezTo>
                    <a:pt x="33" y="739"/>
                    <a:pt x="31" y="743"/>
                    <a:pt x="31" y="743"/>
                  </a:cubicBezTo>
                  <a:cubicBezTo>
                    <a:pt x="32" y="744"/>
                    <a:pt x="32" y="744"/>
                    <a:pt x="32" y="744"/>
                  </a:cubicBezTo>
                  <a:cubicBezTo>
                    <a:pt x="30" y="744"/>
                    <a:pt x="30" y="744"/>
                    <a:pt x="30" y="744"/>
                  </a:cubicBezTo>
                  <a:cubicBezTo>
                    <a:pt x="30" y="746"/>
                    <a:pt x="30" y="746"/>
                    <a:pt x="30" y="746"/>
                  </a:cubicBezTo>
                  <a:cubicBezTo>
                    <a:pt x="34" y="750"/>
                    <a:pt x="34" y="750"/>
                    <a:pt x="34" y="750"/>
                  </a:cubicBezTo>
                  <a:cubicBezTo>
                    <a:pt x="38" y="745"/>
                    <a:pt x="38" y="745"/>
                    <a:pt x="38" y="745"/>
                  </a:cubicBezTo>
                  <a:cubicBezTo>
                    <a:pt x="38" y="738"/>
                    <a:pt x="38" y="738"/>
                    <a:pt x="38" y="738"/>
                  </a:cubicBezTo>
                  <a:cubicBezTo>
                    <a:pt x="40" y="737"/>
                    <a:pt x="40" y="737"/>
                    <a:pt x="40" y="737"/>
                  </a:cubicBezTo>
                  <a:cubicBezTo>
                    <a:pt x="42" y="731"/>
                    <a:pt x="42" y="731"/>
                    <a:pt x="42" y="731"/>
                  </a:cubicBezTo>
                  <a:cubicBezTo>
                    <a:pt x="42" y="731"/>
                    <a:pt x="45" y="734"/>
                    <a:pt x="47" y="731"/>
                  </a:cubicBezTo>
                  <a:cubicBezTo>
                    <a:pt x="48" y="730"/>
                    <a:pt x="47" y="726"/>
                    <a:pt x="47" y="726"/>
                  </a:cubicBezTo>
                  <a:cubicBezTo>
                    <a:pt x="47" y="726"/>
                    <a:pt x="49" y="725"/>
                    <a:pt x="55" y="723"/>
                  </a:cubicBezTo>
                  <a:cubicBezTo>
                    <a:pt x="59" y="720"/>
                    <a:pt x="64" y="720"/>
                    <a:pt x="64" y="720"/>
                  </a:cubicBezTo>
                  <a:cubicBezTo>
                    <a:pt x="64" y="722"/>
                    <a:pt x="64" y="722"/>
                    <a:pt x="64" y="722"/>
                  </a:cubicBezTo>
                  <a:cubicBezTo>
                    <a:pt x="71" y="719"/>
                    <a:pt x="71" y="719"/>
                    <a:pt x="71" y="719"/>
                  </a:cubicBezTo>
                  <a:cubicBezTo>
                    <a:pt x="72" y="715"/>
                    <a:pt x="72" y="715"/>
                    <a:pt x="72" y="715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3" y="719"/>
                    <a:pt x="73" y="719"/>
                    <a:pt x="73" y="719"/>
                  </a:cubicBezTo>
                  <a:cubicBezTo>
                    <a:pt x="77" y="720"/>
                    <a:pt x="77" y="720"/>
                    <a:pt x="77" y="720"/>
                  </a:cubicBezTo>
                  <a:cubicBezTo>
                    <a:pt x="77" y="720"/>
                    <a:pt x="68" y="721"/>
                    <a:pt x="65" y="726"/>
                  </a:cubicBezTo>
                  <a:cubicBezTo>
                    <a:pt x="62" y="731"/>
                    <a:pt x="63" y="735"/>
                    <a:pt x="62" y="738"/>
                  </a:cubicBezTo>
                  <a:cubicBezTo>
                    <a:pt x="62" y="740"/>
                    <a:pt x="58" y="743"/>
                    <a:pt x="58" y="743"/>
                  </a:cubicBezTo>
                  <a:cubicBezTo>
                    <a:pt x="62" y="726"/>
                    <a:pt x="62" y="726"/>
                    <a:pt x="62" y="726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62" y="723"/>
                    <a:pt x="58" y="724"/>
                    <a:pt x="56" y="726"/>
                  </a:cubicBezTo>
                  <a:cubicBezTo>
                    <a:pt x="52" y="727"/>
                    <a:pt x="47" y="735"/>
                    <a:pt x="47" y="735"/>
                  </a:cubicBezTo>
                  <a:cubicBezTo>
                    <a:pt x="47" y="735"/>
                    <a:pt x="44" y="736"/>
                    <a:pt x="44" y="739"/>
                  </a:cubicBezTo>
                  <a:cubicBezTo>
                    <a:pt x="45" y="742"/>
                    <a:pt x="50" y="740"/>
                    <a:pt x="48" y="742"/>
                  </a:cubicBezTo>
                  <a:cubicBezTo>
                    <a:pt x="47" y="743"/>
                    <a:pt x="43" y="743"/>
                    <a:pt x="41" y="745"/>
                  </a:cubicBezTo>
                  <a:cubicBezTo>
                    <a:pt x="39" y="747"/>
                    <a:pt x="39" y="752"/>
                    <a:pt x="39" y="752"/>
                  </a:cubicBezTo>
                  <a:cubicBezTo>
                    <a:pt x="32" y="752"/>
                    <a:pt x="32" y="752"/>
                    <a:pt x="32" y="752"/>
                  </a:cubicBezTo>
                  <a:cubicBezTo>
                    <a:pt x="28" y="757"/>
                    <a:pt x="28" y="757"/>
                    <a:pt x="28" y="757"/>
                  </a:cubicBezTo>
                  <a:cubicBezTo>
                    <a:pt x="33" y="762"/>
                    <a:pt x="33" y="762"/>
                    <a:pt x="33" y="762"/>
                  </a:cubicBezTo>
                  <a:cubicBezTo>
                    <a:pt x="39" y="759"/>
                    <a:pt x="39" y="759"/>
                    <a:pt x="39" y="759"/>
                  </a:cubicBezTo>
                  <a:cubicBezTo>
                    <a:pt x="38" y="764"/>
                    <a:pt x="38" y="764"/>
                    <a:pt x="38" y="764"/>
                  </a:cubicBezTo>
                  <a:cubicBezTo>
                    <a:pt x="40" y="765"/>
                    <a:pt x="40" y="765"/>
                    <a:pt x="40" y="765"/>
                  </a:cubicBezTo>
                  <a:cubicBezTo>
                    <a:pt x="46" y="760"/>
                    <a:pt x="46" y="760"/>
                    <a:pt x="46" y="760"/>
                  </a:cubicBezTo>
                  <a:cubicBezTo>
                    <a:pt x="42" y="766"/>
                    <a:pt x="42" y="766"/>
                    <a:pt x="42" y="766"/>
                  </a:cubicBezTo>
                  <a:cubicBezTo>
                    <a:pt x="44" y="768"/>
                    <a:pt x="44" y="768"/>
                    <a:pt x="44" y="768"/>
                  </a:cubicBezTo>
                  <a:cubicBezTo>
                    <a:pt x="34" y="765"/>
                    <a:pt x="34" y="765"/>
                    <a:pt x="34" y="765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72"/>
                    <a:pt x="34" y="772"/>
                    <a:pt x="34" y="772"/>
                  </a:cubicBezTo>
                  <a:cubicBezTo>
                    <a:pt x="26" y="768"/>
                    <a:pt x="26" y="768"/>
                    <a:pt x="26" y="768"/>
                  </a:cubicBezTo>
                  <a:cubicBezTo>
                    <a:pt x="23" y="770"/>
                    <a:pt x="23" y="770"/>
                    <a:pt x="23" y="770"/>
                  </a:cubicBezTo>
                  <a:cubicBezTo>
                    <a:pt x="20" y="778"/>
                    <a:pt x="20" y="778"/>
                    <a:pt x="20" y="778"/>
                  </a:cubicBezTo>
                  <a:cubicBezTo>
                    <a:pt x="18" y="780"/>
                    <a:pt x="18" y="780"/>
                    <a:pt x="18" y="780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9" y="767"/>
                    <a:pt x="19" y="767"/>
                    <a:pt x="19" y="767"/>
                  </a:cubicBezTo>
                  <a:cubicBezTo>
                    <a:pt x="18" y="771"/>
                    <a:pt x="18" y="771"/>
                    <a:pt x="18" y="771"/>
                  </a:cubicBezTo>
                  <a:cubicBezTo>
                    <a:pt x="15" y="771"/>
                    <a:pt x="15" y="771"/>
                    <a:pt x="15" y="771"/>
                  </a:cubicBezTo>
                  <a:cubicBezTo>
                    <a:pt x="10" y="780"/>
                    <a:pt x="10" y="780"/>
                    <a:pt x="10" y="780"/>
                  </a:cubicBezTo>
                  <a:cubicBezTo>
                    <a:pt x="13" y="793"/>
                    <a:pt x="13" y="793"/>
                    <a:pt x="13" y="793"/>
                  </a:cubicBezTo>
                  <a:cubicBezTo>
                    <a:pt x="14" y="792"/>
                    <a:pt x="14" y="792"/>
                    <a:pt x="14" y="792"/>
                  </a:cubicBezTo>
                  <a:cubicBezTo>
                    <a:pt x="14" y="800"/>
                    <a:pt x="14" y="800"/>
                    <a:pt x="14" y="800"/>
                  </a:cubicBezTo>
                  <a:cubicBezTo>
                    <a:pt x="17" y="800"/>
                    <a:pt x="17" y="800"/>
                    <a:pt x="17" y="800"/>
                  </a:cubicBezTo>
                  <a:cubicBezTo>
                    <a:pt x="17" y="793"/>
                    <a:pt x="17" y="793"/>
                    <a:pt x="17" y="793"/>
                  </a:cubicBezTo>
                  <a:cubicBezTo>
                    <a:pt x="22" y="792"/>
                    <a:pt x="22" y="792"/>
                    <a:pt x="22" y="792"/>
                  </a:cubicBezTo>
                  <a:cubicBezTo>
                    <a:pt x="22" y="789"/>
                    <a:pt x="22" y="789"/>
                    <a:pt x="22" y="789"/>
                  </a:cubicBezTo>
                  <a:cubicBezTo>
                    <a:pt x="25" y="791"/>
                    <a:pt x="25" y="791"/>
                    <a:pt x="25" y="791"/>
                  </a:cubicBezTo>
                  <a:cubicBezTo>
                    <a:pt x="23" y="794"/>
                    <a:pt x="23" y="794"/>
                    <a:pt x="23" y="794"/>
                  </a:cubicBezTo>
                  <a:cubicBezTo>
                    <a:pt x="24" y="796"/>
                    <a:pt x="24" y="796"/>
                    <a:pt x="24" y="796"/>
                  </a:cubicBezTo>
                  <a:cubicBezTo>
                    <a:pt x="32" y="788"/>
                    <a:pt x="32" y="788"/>
                    <a:pt x="32" y="788"/>
                  </a:cubicBezTo>
                  <a:cubicBezTo>
                    <a:pt x="30" y="784"/>
                    <a:pt x="30" y="784"/>
                    <a:pt x="30" y="784"/>
                  </a:cubicBezTo>
                  <a:cubicBezTo>
                    <a:pt x="26" y="785"/>
                    <a:pt x="26" y="785"/>
                    <a:pt x="26" y="785"/>
                  </a:cubicBezTo>
                  <a:cubicBezTo>
                    <a:pt x="31" y="782"/>
                    <a:pt x="31" y="782"/>
                    <a:pt x="31" y="782"/>
                  </a:cubicBezTo>
                  <a:cubicBezTo>
                    <a:pt x="32" y="778"/>
                    <a:pt x="32" y="778"/>
                    <a:pt x="32" y="778"/>
                  </a:cubicBezTo>
                  <a:cubicBezTo>
                    <a:pt x="34" y="783"/>
                    <a:pt x="34" y="783"/>
                    <a:pt x="34" y="783"/>
                  </a:cubicBezTo>
                  <a:cubicBezTo>
                    <a:pt x="39" y="784"/>
                    <a:pt x="39" y="784"/>
                    <a:pt x="39" y="784"/>
                  </a:cubicBezTo>
                  <a:cubicBezTo>
                    <a:pt x="35" y="785"/>
                    <a:pt x="35" y="785"/>
                    <a:pt x="35" y="785"/>
                  </a:cubicBezTo>
                  <a:cubicBezTo>
                    <a:pt x="36" y="788"/>
                    <a:pt x="36" y="788"/>
                    <a:pt x="36" y="788"/>
                  </a:cubicBezTo>
                  <a:cubicBezTo>
                    <a:pt x="41" y="786"/>
                    <a:pt x="41" y="786"/>
                    <a:pt x="41" y="786"/>
                  </a:cubicBezTo>
                  <a:cubicBezTo>
                    <a:pt x="43" y="780"/>
                    <a:pt x="43" y="780"/>
                    <a:pt x="43" y="780"/>
                  </a:cubicBezTo>
                  <a:cubicBezTo>
                    <a:pt x="45" y="778"/>
                    <a:pt x="45" y="778"/>
                    <a:pt x="45" y="778"/>
                  </a:cubicBezTo>
                  <a:cubicBezTo>
                    <a:pt x="47" y="773"/>
                    <a:pt x="47" y="773"/>
                    <a:pt x="47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7" y="780"/>
                    <a:pt x="47" y="780"/>
                    <a:pt x="47" y="780"/>
                  </a:cubicBezTo>
                  <a:cubicBezTo>
                    <a:pt x="52" y="777"/>
                    <a:pt x="52" y="777"/>
                    <a:pt x="52" y="777"/>
                  </a:cubicBezTo>
                  <a:cubicBezTo>
                    <a:pt x="52" y="778"/>
                    <a:pt x="52" y="778"/>
                    <a:pt x="52" y="778"/>
                  </a:cubicBezTo>
                  <a:cubicBezTo>
                    <a:pt x="45" y="782"/>
                    <a:pt x="45" y="782"/>
                    <a:pt x="45" y="782"/>
                  </a:cubicBezTo>
                  <a:cubicBezTo>
                    <a:pt x="44" y="788"/>
                    <a:pt x="44" y="788"/>
                    <a:pt x="44" y="788"/>
                  </a:cubicBezTo>
                  <a:cubicBezTo>
                    <a:pt x="38" y="790"/>
                    <a:pt x="38" y="790"/>
                    <a:pt x="38" y="790"/>
                  </a:cubicBezTo>
                  <a:cubicBezTo>
                    <a:pt x="40" y="792"/>
                    <a:pt x="40" y="792"/>
                    <a:pt x="40" y="792"/>
                  </a:cubicBezTo>
                  <a:cubicBezTo>
                    <a:pt x="40" y="792"/>
                    <a:pt x="41" y="790"/>
                    <a:pt x="44" y="791"/>
                  </a:cubicBezTo>
                  <a:cubicBezTo>
                    <a:pt x="46" y="792"/>
                    <a:pt x="41" y="796"/>
                    <a:pt x="41" y="796"/>
                  </a:cubicBezTo>
                  <a:cubicBezTo>
                    <a:pt x="49" y="793"/>
                    <a:pt x="49" y="793"/>
                    <a:pt x="49" y="793"/>
                  </a:cubicBezTo>
                  <a:cubicBezTo>
                    <a:pt x="49" y="793"/>
                    <a:pt x="42" y="797"/>
                    <a:pt x="41" y="798"/>
                  </a:cubicBezTo>
                  <a:cubicBezTo>
                    <a:pt x="39" y="799"/>
                    <a:pt x="36" y="803"/>
                    <a:pt x="36" y="803"/>
                  </a:cubicBezTo>
                  <a:cubicBezTo>
                    <a:pt x="38" y="805"/>
                    <a:pt x="38" y="805"/>
                    <a:pt x="38" y="805"/>
                  </a:cubicBezTo>
                  <a:cubicBezTo>
                    <a:pt x="31" y="807"/>
                    <a:pt x="31" y="807"/>
                    <a:pt x="31" y="807"/>
                  </a:cubicBezTo>
                  <a:cubicBezTo>
                    <a:pt x="34" y="813"/>
                    <a:pt x="34" y="813"/>
                    <a:pt x="34" y="813"/>
                  </a:cubicBezTo>
                  <a:cubicBezTo>
                    <a:pt x="35" y="817"/>
                    <a:pt x="35" y="817"/>
                    <a:pt x="35" y="817"/>
                  </a:cubicBezTo>
                  <a:cubicBezTo>
                    <a:pt x="43" y="813"/>
                    <a:pt x="43" y="813"/>
                    <a:pt x="43" y="813"/>
                  </a:cubicBezTo>
                  <a:cubicBezTo>
                    <a:pt x="50" y="814"/>
                    <a:pt x="50" y="814"/>
                    <a:pt x="50" y="814"/>
                  </a:cubicBezTo>
                  <a:cubicBezTo>
                    <a:pt x="44" y="815"/>
                    <a:pt x="44" y="815"/>
                    <a:pt x="44" y="815"/>
                  </a:cubicBezTo>
                  <a:cubicBezTo>
                    <a:pt x="38" y="819"/>
                    <a:pt x="38" y="819"/>
                    <a:pt x="38" y="819"/>
                  </a:cubicBezTo>
                  <a:cubicBezTo>
                    <a:pt x="38" y="822"/>
                    <a:pt x="38" y="822"/>
                    <a:pt x="38" y="822"/>
                  </a:cubicBezTo>
                  <a:cubicBezTo>
                    <a:pt x="30" y="816"/>
                    <a:pt x="30" y="816"/>
                    <a:pt x="30" y="816"/>
                  </a:cubicBezTo>
                  <a:cubicBezTo>
                    <a:pt x="25" y="820"/>
                    <a:pt x="25" y="820"/>
                    <a:pt x="25" y="820"/>
                  </a:cubicBezTo>
                  <a:cubicBezTo>
                    <a:pt x="25" y="814"/>
                    <a:pt x="25" y="814"/>
                    <a:pt x="25" y="814"/>
                  </a:cubicBezTo>
                  <a:cubicBezTo>
                    <a:pt x="19" y="812"/>
                    <a:pt x="19" y="812"/>
                    <a:pt x="19" y="812"/>
                  </a:cubicBezTo>
                  <a:cubicBezTo>
                    <a:pt x="20" y="820"/>
                    <a:pt x="20" y="820"/>
                    <a:pt x="20" y="820"/>
                  </a:cubicBezTo>
                  <a:cubicBezTo>
                    <a:pt x="18" y="821"/>
                    <a:pt x="18" y="821"/>
                    <a:pt x="18" y="821"/>
                  </a:cubicBezTo>
                  <a:cubicBezTo>
                    <a:pt x="17" y="824"/>
                    <a:pt x="17" y="824"/>
                    <a:pt x="17" y="824"/>
                  </a:cubicBezTo>
                  <a:cubicBezTo>
                    <a:pt x="14" y="829"/>
                    <a:pt x="14" y="829"/>
                    <a:pt x="14" y="829"/>
                  </a:cubicBezTo>
                  <a:cubicBezTo>
                    <a:pt x="14" y="829"/>
                    <a:pt x="18" y="841"/>
                    <a:pt x="23" y="844"/>
                  </a:cubicBezTo>
                  <a:cubicBezTo>
                    <a:pt x="26" y="847"/>
                    <a:pt x="29" y="849"/>
                    <a:pt x="31" y="853"/>
                  </a:cubicBezTo>
                  <a:cubicBezTo>
                    <a:pt x="33" y="857"/>
                    <a:pt x="49" y="863"/>
                    <a:pt x="49" y="863"/>
                  </a:cubicBezTo>
                  <a:cubicBezTo>
                    <a:pt x="50" y="866"/>
                    <a:pt x="50" y="866"/>
                    <a:pt x="50" y="866"/>
                  </a:cubicBezTo>
                  <a:cubicBezTo>
                    <a:pt x="53" y="862"/>
                    <a:pt x="53" y="862"/>
                    <a:pt x="53" y="862"/>
                  </a:cubicBezTo>
                  <a:cubicBezTo>
                    <a:pt x="58" y="865"/>
                    <a:pt x="58" y="865"/>
                    <a:pt x="58" y="865"/>
                  </a:cubicBezTo>
                  <a:cubicBezTo>
                    <a:pt x="48" y="872"/>
                    <a:pt x="48" y="872"/>
                    <a:pt x="48" y="872"/>
                  </a:cubicBezTo>
                  <a:cubicBezTo>
                    <a:pt x="50" y="876"/>
                    <a:pt x="50" y="876"/>
                    <a:pt x="50" y="876"/>
                  </a:cubicBezTo>
                  <a:cubicBezTo>
                    <a:pt x="58" y="876"/>
                    <a:pt x="58" y="876"/>
                    <a:pt x="58" y="876"/>
                  </a:cubicBezTo>
                  <a:cubicBezTo>
                    <a:pt x="56" y="873"/>
                    <a:pt x="56" y="873"/>
                    <a:pt x="56" y="873"/>
                  </a:cubicBezTo>
                  <a:cubicBezTo>
                    <a:pt x="60" y="871"/>
                    <a:pt x="60" y="871"/>
                    <a:pt x="60" y="871"/>
                  </a:cubicBezTo>
                  <a:cubicBezTo>
                    <a:pt x="65" y="873"/>
                    <a:pt x="65" y="873"/>
                    <a:pt x="65" y="873"/>
                  </a:cubicBezTo>
                  <a:cubicBezTo>
                    <a:pt x="60" y="875"/>
                    <a:pt x="60" y="875"/>
                    <a:pt x="60" y="875"/>
                  </a:cubicBezTo>
                  <a:cubicBezTo>
                    <a:pt x="64" y="879"/>
                    <a:pt x="64" y="879"/>
                    <a:pt x="64" y="879"/>
                  </a:cubicBezTo>
                  <a:cubicBezTo>
                    <a:pt x="68" y="877"/>
                    <a:pt x="68" y="877"/>
                    <a:pt x="68" y="877"/>
                  </a:cubicBezTo>
                  <a:cubicBezTo>
                    <a:pt x="68" y="877"/>
                    <a:pt x="74" y="880"/>
                    <a:pt x="80" y="880"/>
                  </a:cubicBezTo>
                  <a:cubicBezTo>
                    <a:pt x="85" y="880"/>
                    <a:pt x="88" y="878"/>
                    <a:pt x="92" y="877"/>
                  </a:cubicBezTo>
                  <a:cubicBezTo>
                    <a:pt x="96" y="876"/>
                    <a:pt x="101" y="870"/>
                    <a:pt x="101" y="870"/>
                  </a:cubicBezTo>
                  <a:cubicBezTo>
                    <a:pt x="101" y="877"/>
                    <a:pt x="101" y="877"/>
                    <a:pt x="101" y="877"/>
                  </a:cubicBezTo>
                  <a:cubicBezTo>
                    <a:pt x="124" y="857"/>
                    <a:pt x="124" y="857"/>
                    <a:pt x="124" y="857"/>
                  </a:cubicBezTo>
                  <a:cubicBezTo>
                    <a:pt x="124" y="853"/>
                    <a:pt x="124" y="853"/>
                    <a:pt x="124" y="853"/>
                  </a:cubicBezTo>
                  <a:cubicBezTo>
                    <a:pt x="142" y="839"/>
                    <a:pt x="142" y="839"/>
                    <a:pt x="142" y="839"/>
                  </a:cubicBezTo>
                  <a:cubicBezTo>
                    <a:pt x="141" y="835"/>
                    <a:pt x="141" y="835"/>
                    <a:pt x="141" y="835"/>
                  </a:cubicBezTo>
                  <a:cubicBezTo>
                    <a:pt x="145" y="836"/>
                    <a:pt x="145" y="836"/>
                    <a:pt x="145" y="836"/>
                  </a:cubicBezTo>
                  <a:cubicBezTo>
                    <a:pt x="150" y="830"/>
                    <a:pt x="150" y="830"/>
                    <a:pt x="150" y="830"/>
                  </a:cubicBezTo>
                  <a:cubicBezTo>
                    <a:pt x="146" y="828"/>
                    <a:pt x="146" y="828"/>
                    <a:pt x="146" y="828"/>
                  </a:cubicBezTo>
                  <a:cubicBezTo>
                    <a:pt x="161" y="817"/>
                    <a:pt x="161" y="817"/>
                    <a:pt x="161" y="817"/>
                  </a:cubicBezTo>
                  <a:cubicBezTo>
                    <a:pt x="156" y="810"/>
                    <a:pt x="156" y="810"/>
                    <a:pt x="156" y="810"/>
                  </a:cubicBezTo>
                  <a:cubicBezTo>
                    <a:pt x="159" y="812"/>
                    <a:pt x="159" y="812"/>
                    <a:pt x="159" y="812"/>
                  </a:cubicBezTo>
                  <a:cubicBezTo>
                    <a:pt x="167" y="821"/>
                    <a:pt x="167" y="821"/>
                    <a:pt x="167" y="821"/>
                  </a:cubicBezTo>
                  <a:cubicBezTo>
                    <a:pt x="180" y="817"/>
                    <a:pt x="180" y="817"/>
                    <a:pt x="180" y="817"/>
                  </a:cubicBezTo>
                  <a:cubicBezTo>
                    <a:pt x="181" y="805"/>
                    <a:pt x="181" y="805"/>
                    <a:pt x="181" y="805"/>
                  </a:cubicBezTo>
                  <a:cubicBezTo>
                    <a:pt x="184" y="808"/>
                    <a:pt x="184" y="808"/>
                    <a:pt x="184" y="808"/>
                  </a:cubicBezTo>
                  <a:cubicBezTo>
                    <a:pt x="188" y="806"/>
                    <a:pt x="188" y="806"/>
                    <a:pt x="188" y="806"/>
                  </a:cubicBezTo>
                  <a:cubicBezTo>
                    <a:pt x="186" y="803"/>
                    <a:pt x="186" y="803"/>
                    <a:pt x="186" y="803"/>
                  </a:cubicBezTo>
                  <a:cubicBezTo>
                    <a:pt x="189" y="803"/>
                    <a:pt x="189" y="803"/>
                    <a:pt x="189" y="803"/>
                  </a:cubicBezTo>
                  <a:cubicBezTo>
                    <a:pt x="188" y="791"/>
                    <a:pt x="188" y="791"/>
                    <a:pt x="188" y="791"/>
                  </a:cubicBezTo>
                  <a:cubicBezTo>
                    <a:pt x="182" y="789"/>
                    <a:pt x="182" y="789"/>
                    <a:pt x="182" y="789"/>
                  </a:cubicBezTo>
                  <a:cubicBezTo>
                    <a:pt x="179" y="782"/>
                    <a:pt x="179" y="782"/>
                    <a:pt x="179" y="782"/>
                  </a:cubicBezTo>
                  <a:cubicBezTo>
                    <a:pt x="183" y="785"/>
                    <a:pt x="183" y="785"/>
                    <a:pt x="183" y="785"/>
                  </a:cubicBezTo>
                  <a:cubicBezTo>
                    <a:pt x="183" y="776"/>
                    <a:pt x="183" y="776"/>
                    <a:pt x="183" y="776"/>
                  </a:cubicBezTo>
                  <a:cubicBezTo>
                    <a:pt x="178" y="771"/>
                    <a:pt x="178" y="771"/>
                    <a:pt x="178" y="771"/>
                  </a:cubicBezTo>
                  <a:cubicBezTo>
                    <a:pt x="181" y="770"/>
                    <a:pt x="181" y="770"/>
                    <a:pt x="181" y="770"/>
                  </a:cubicBezTo>
                  <a:cubicBezTo>
                    <a:pt x="186" y="773"/>
                    <a:pt x="186" y="773"/>
                    <a:pt x="186" y="773"/>
                  </a:cubicBezTo>
                  <a:cubicBezTo>
                    <a:pt x="186" y="785"/>
                    <a:pt x="186" y="785"/>
                    <a:pt x="186" y="785"/>
                  </a:cubicBezTo>
                  <a:cubicBezTo>
                    <a:pt x="186" y="785"/>
                    <a:pt x="191" y="784"/>
                    <a:pt x="192" y="781"/>
                  </a:cubicBezTo>
                  <a:cubicBezTo>
                    <a:pt x="192" y="776"/>
                    <a:pt x="189" y="773"/>
                    <a:pt x="189" y="773"/>
                  </a:cubicBezTo>
                  <a:cubicBezTo>
                    <a:pt x="189" y="773"/>
                    <a:pt x="189" y="767"/>
                    <a:pt x="190" y="762"/>
                  </a:cubicBezTo>
                  <a:cubicBezTo>
                    <a:pt x="190" y="758"/>
                    <a:pt x="197" y="759"/>
                    <a:pt x="199" y="762"/>
                  </a:cubicBezTo>
                  <a:cubicBezTo>
                    <a:pt x="200" y="765"/>
                    <a:pt x="197" y="769"/>
                    <a:pt x="197" y="769"/>
                  </a:cubicBezTo>
                  <a:cubicBezTo>
                    <a:pt x="195" y="764"/>
                    <a:pt x="195" y="764"/>
                    <a:pt x="195" y="764"/>
                  </a:cubicBezTo>
                  <a:cubicBezTo>
                    <a:pt x="193" y="769"/>
                    <a:pt x="193" y="769"/>
                    <a:pt x="193" y="769"/>
                  </a:cubicBezTo>
                  <a:cubicBezTo>
                    <a:pt x="194" y="776"/>
                    <a:pt x="194" y="776"/>
                    <a:pt x="194" y="776"/>
                  </a:cubicBezTo>
                  <a:cubicBezTo>
                    <a:pt x="194" y="788"/>
                    <a:pt x="194" y="788"/>
                    <a:pt x="194" y="788"/>
                  </a:cubicBezTo>
                  <a:cubicBezTo>
                    <a:pt x="192" y="789"/>
                    <a:pt x="192" y="789"/>
                    <a:pt x="192" y="789"/>
                  </a:cubicBezTo>
                  <a:cubicBezTo>
                    <a:pt x="195" y="800"/>
                    <a:pt x="195" y="800"/>
                    <a:pt x="195" y="800"/>
                  </a:cubicBezTo>
                  <a:cubicBezTo>
                    <a:pt x="198" y="798"/>
                    <a:pt x="198" y="798"/>
                    <a:pt x="198" y="798"/>
                  </a:cubicBezTo>
                  <a:cubicBezTo>
                    <a:pt x="199" y="809"/>
                    <a:pt x="199" y="809"/>
                    <a:pt x="199" y="809"/>
                  </a:cubicBezTo>
                  <a:cubicBezTo>
                    <a:pt x="208" y="810"/>
                    <a:pt x="208" y="810"/>
                    <a:pt x="208" y="810"/>
                  </a:cubicBezTo>
                  <a:cubicBezTo>
                    <a:pt x="211" y="808"/>
                    <a:pt x="211" y="808"/>
                    <a:pt x="211" y="808"/>
                  </a:cubicBezTo>
                  <a:cubicBezTo>
                    <a:pt x="212" y="814"/>
                    <a:pt x="212" y="814"/>
                    <a:pt x="212" y="814"/>
                  </a:cubicBezTo>
                  <a:cubicBezTo>
                    <a:pt x="212" y="814"/>
                    <a:pt x="220" y="809"/>
                    <a:pt x="221" y="814"/>
                  </a:cubicBezTo>
                  <a:cubicBezTo>
                    <a:pt x="222" y="819"/>
                    <a:pt x="219" y="828"/>
                    <a:pt x="223" y="828"/>
                  </a:cubicBezTo>
                  <a:cubicBezTo>
                    <a:pt x="227" y="828"/>
                    <a:pt x="228" y="822"/>
                    <a:pt x="230" y="815"/>
                  </a:cubicBezTo>
                  <a:cubicBezTo>
                    <a:pt x="232" y="808"/>
                    <a:pt x="236" y="800"/>
                    <a:pt x="236" y="800"/>
                  </a:cubicBezTo>
                  <a:cubicBezTo>
                    <a:pt x="236" y="800"/>
                    <a:pt x="227" y="782"/>
                    <a:pt x="230" y="780"/>
                  </a:cubicBezTo>
                  <a:cubicBezTo>
                    <a:pt x="232" y="776"/>
                    <a:pt x="238" y="777"/>
                    <a:pt x="238" y="773"/>
                  </a:cubicBezTo>
                  <a:cubicBezTo>
                    <a:pt x="239" y="768"/>
                    <a:pt x="232" y="767"/>
                    <a:pt x="237" y="764"/>
                  </a:cubicBezTo>
                  <a:cubicBezTo>
                    <a:pt x="241" y="760"/>
                    <a:pt x="252" y="766"/>
                    <a:pt x="256" y="754"/>
                  </a:cubicBezTo>
                  <a:cubicBezTo>
                    <a:pt x="259" y="741"/>
                    <a:pt x="255" y="738"/>
                    <a:pt x="256" y="734"/>
                  </a:cubicBezTo>
                  <a:cubicBezTo>
                    <a:pt x="257" y="729"/>
                    <a:pt x="265" y="733"/>
                    <a:pt x="262" y="725"/>
                  </a:cubicBezTo>
                  <a:cubicBezTo>
                    <a:pt x="260" y="718"/>
                    <a:pt x="254" y="704"/>
                    <a:pt x="254" y="704"/>
                  </a:cubicBezTo>
                  <a:cubicBezTo>
                    <a:pt x="252" y="695"/>
                    <a:pt x="252" y="695"/>
                    <a:pt x="252" y="695"/>
                  </a:cubicBezTo>
                  <a:cubicBezTo>
                    <a:pt x="247" y="689"/>
                    <a:pt x="247" y="689"/>
                    <a:pt x="247" y="689"/>
                  </a:cubicBezTo>
                  <a:cubicBezTo>
                    <a:pt x="256" y="686"/>
                    <a:pt x="256" y="686"/>
                    <a:pt x="256" y="686"/>
                  </a:cubicBezTo>
                  <a:cubicBezTo>
                    <a:pt x="256" y="686"/>
                    <a:pt x="264" y="692"/>
                    <a:pt x="266" y="680"/>
                  </a:cubicBezTo>
                  <a:cubicBezTo>
                    <a:pt x="270" y="668"/>
                    <a:pt x="269" y="664"/>
                    <a:pt x="265" y="660"/>
                  </a:cubicBezTo>
                  <a:cubicBezTo>
                    <a:pt x="261" y="657"/>
                    <a:pt x="256" y="654"/>
                    <a:pt x="256" y="654"/>
                  </a:cubicBezTo>
                  <a:cubicBezTo>
                    <a:pt x="246" y="644"/>
                    <a:pt x="246" y="644"/>
                    <a:pt x="246" y="644"/>
                  </a:cubicBezTo>
                  <a:cubicBezTo>
                    <a:pt x="252" y="609"/>
                    <a:pt x="252" y="609"/>
                    <a:pt x="252" y="609"/>
                  </a:cubicBezTo>
                  <a:cubicBezTo>
                    <a:pt x="244" y="586"/>
                    <a:pt x="244" y="586"/>
                    <a:pt x="244" y="586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4" y="567"/>
                    <a:pt x="244" y="567"/>
                    <a:pt x="244" y="567"/>
                  </a:cubicBezTo>
                  <a:cubicBezTo>
                    <a:pt x="248" y="561"/>
                    <a:pt x="248" y="561"/>
                    <a:pt x="248" y="561"/>
                  </a:cubicBezTo>
                  <a:cubicBezTo>
                    <a:pt x="241" y="542"/>
                    <a:pt x="241" y="542"/>
                    <a:pt x="241" y="542"/>
                  </a:cubicBezTo>
                  <a:cubicBezTo>
                    <a:pt x="249" y="531"/>
                    <a:pt x="249" y="531"/>
                    <a:pt x="249" y="531"/>
                  </a:cubicBezTo>
                  <a:cubicBezTo>
                    <a:pt x="246" y="522"/>
                    <a:pt x="246" y="522"/>
                    <a:pt x="246" y="522"/>
                  </a:cubicBezTo>
                  <a:cubicBezTo>
                    <a:pt x="246" y="522"/>
                    <a:pt x="258" y="494"/>
                    <a:pt x="270" y="491"/>
                  </a:cubicBezTo>
                  <a:cubicBezTo>
                    <a:pt x="280" y="488"/>
                    <a:pt x="300" y="494"/>
                    <a:pt x="300" y="494"/>
                  </a:cubicBezTo>
                  <a:cubicBezTo>
                    <a:pt x="305" y="482"/>
                    <a:pt x="305" y="482"/>
                    <a:pt x="305" y="48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309" y="425"/>
                    <a:pt x="309" y="425"/>
                    <a:pt x="309" y="425"/>
                  </a:cubicBezTo>
                  <a:cubicBezTo>
                    <a:pt x="310" y="415"/>
                    <a:pt x="310" y="415"/>
                    <a:pt x="310" y="415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3" y="390"/>
                    <a:pt x="313" y="390"/>
                    <a:pt x="313" y="390"/>
                  </a:cubicBezTo>
                  <a:cubicBezTo>
                    <a:pt x="315" y="378"/>
                    <a:pt x="315" y="378"/>
                    <a:pt x="315" y="378"/>
                  </a:cubicBezTo>
                  <a:cubicBezTo>
                    <a:pt x="311" y="358"/>
                    <a:pt x="311" y="358"/>
                    <a:pt x="311" y="358"/>
                  </a:cubicBezTo>
                  <a:cubicBezTo>
                    <a:pt x="324" y="356"/>
                    <a:pt x="324" y="356"/>
                    <a:pt x="324" y="356"/>
                  </a:cubicBezTo>
                  <a:cubicBezTo>
                    <a:pt x="337" y="346"/>
                    <a:pt x="337" y="346"/>
                    <a:pt x="337" y="346"/>
                  </a:cubicBezTo>
                  <a:cubicBezTo>
                    <a:pt x="334" y="333"/>
                    <a:pt x="334" y="333"/>
                    <a:pt x="334" y="333"/>
                  </a:cubicBezTo>
                  <a:cubicBezTo>
                    <a:pt x="334" y="333"/>
                    <a:pt x="339" y="332"/>
                    <a:pt x="341" y="326"/>
                  </a:cubicBezTo>
                  <a:cubicBezTo>
                    <a:pt x="343" y="319"/>
                    <a:pt x="341" y="314"/>
                    <a:pt x="347" y="308"/>
                  </a:cubicBezTo>
                  <a:cubicBezTo>
                    <a:pt x="355" y="300"/>
                    <a:pt x="361" y="298"/>
                    <a:pt x="359" y="292"/>
                  </a:cubicBezTo>
                  <a:cubicBezTo>
                    <a:pt x="358" y="284"/>
                    <a:pt x="351" y="273"/>
                    <a:pt x="351" y="273"/>
                  </a:cubicBezTo>
                  <a:cubicBezTo>
                    <a:pt x="351" y="266"/>
                    <a:pt x="351" y="266"/>
                    <a:pt x="351" y="266"/>
                  </a:cubicBezTo>
                  <a:cubicBezTo>
                    <a:pt x="351" y="266"/>
                    <a:pt x="359" y="268"/>
                    <a:pt x="360" y="263"/>
                  </a:cubicBezTo>
                  <a:cubicBezTo>
                    <a:pt x="360" y="258"/>
                    <a:pt x="364" y="241"/>
                    <a:pt x="364" y="241"/>
                  </a:cubicBezTo>
                  <a:cubicBezTo>
                    <a:pt x="378" y="226"/>
                    <a:pt x="378" y="226"/>
                    <a:pt x="378" y="226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4" y="234"/>
                    <a:pt x="397" y="223"/>
                    <a:pt x="399" y="218"/>
                  </a:cubicBezTo>
                  <a:cubicBezTo>
                    <a:pt x="400" y="213"/>
                    <a:pt x="397" y="198"/>
                    <a:pt x="397" y="198"/>
                  </a:cubicBezTo>
                  <a:cubicBezTo>
                    <a:pt x="405" y="193"/>
                    <a:pt x="405" y="193"/>
                    <a:pt x="405" y="193"/>
                  </a:cubicBezTo>
                  <a:cubicBezTo>
                    <a:pt x="409" y="198"/>
                    <a:pt x="409" y="198"/>
                    <a:pt x="409" y="198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43" y="205"/>
                    <a:pt x="443" y="205"/>
                    <a:pt x="443" y="205"/>
                  </a:cubicBezTo>
                  <a:cubicBezTo>
                    <a:pt x="450" y="195"/>
                    <a:pt x="450" y="195"/>
                    <a:pt x="450" y="195"/>
                  </a:cubicBezTo>
                  <a:cubicBezTo>
                    <a:pt x="442" y="191"/>
                    <a:pt x="442" y="191"/>
                    <a:pt x="442" y="191"/>
                  </a:cubicBezTo>
                  <a:cubicBezTo>
                    <a:pt x="442" y="191"/>
                    <a:pt x="450" y="182"/>
                    <a:pt x="449" y="174"/>
                  </a:cubicBezTo>
                  <a:cubicBezTo>
                    <a:pt x="448" y="168"/>
                    <a:pt x="441" y="159"/>
                    <a:pt x="441" y="159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5" y="154"/>
                    <a:pt x="455" y="154"/>
                    <a:pt x="455" y="154"/>
                  </a:cubicBezTo>
                  <a:cubicBezTo>
                    <a:pt x="455" y="154"/>
                    <a:pt x="464" y="159"/>
                    <a:pt x="466" y="157"/>
                  </a:cubicBezTo>
                  <a:cubicBezTo>
                    <a:pt x="467" y="155"/>
                    <a:pt x="459" y="148"/>
                    <a:pt x="465" y="144"/>
                  </a:cubicBezTo>
                  <a:cubicBezTo>
                    <a:pt x="469" y="139"/>
                    <a:pt x="478" y="142"/>
                    <a:pt x="478" y="142"/>
                  </a:cubicBezTo>
                  <a:cubicBezTo>
                    <a:pt x="478" y="142"/>
                    <a:pt x="485" y="152"/>
                    <a:pt x="490" y="157"/>
                  </a:cubicBezTo>
                  <a:cubicBezTo>
                    <a:pt x="497" y="163"/>
                    <a:pt x="499" y="172"/>
                    <a:pt x="499" y="172"/>
                  </a:cubicBezTo>
                  <a:cubicBezTo>
                    <a:pt x="504" y="171"/>
                    <a:pt x="504" y="171"/>
                    <a:pt x="504" y="171"/>
                  </a:cubicBezTo>
                  <a:cubicBezTo>
                    <a:pt x="515" y="171"/>
                    <a:pt x="515" y="171"/>
                    <a:pt x="515" y="171"/>
                  </a:cubicBezTo>
                  <a:cubicBezTo>
                    <a:pt x="522" y="175"/>
                    <a:pt x="522" y="175"/>
                    <a:pt x="522" y="175"/>
                  </a:cubicBezTo>
                  <a:cubicBezTo>
                    <a:pt x="531" y="169"/>
                    <a:pt x="531" y="169"/>
                    <a:pt x="531" y="169"/>
                  </a:cubicBezTo>
                  <a:cubicBezTo>
                    <a:pt x="531" y="169"/>
                    <a:pt x="533" y="161"/>
                    <a:pt x="539" y="161"/>
                  </a:cubicBezTo>
                  <a:cubicBezTo>
                    <a:pt x="544" y="161"/>
                    <a:pt x="546" y="166"/>
                    <a:pt x="546" y="166"/>
                  </a:cubicBezTo>
                  <a:cubicBezTo>
                    <a:pt x="558" y="167"/>
                    <a:pt x="558" y="167"/>
                    <a:pt x="558" y="167"/>
                  </a:cubicBezTo>
                  <a:cubicBezTo>
                    <a:pt x="565" y="174"/>
                    <a:pt x="565" y="174"/>
                    <a:pt x="565" y="174"/>
                  </a:cubicBezTo>
                  <a:cubicBezTo>
                    <a:pt x="565" y="174"/>
                    <a:pt x="567" y="161"/>
                    <a:pt x="570" y="157"/>
                  </a:cubicBezTo>
                  <a:cubicBezTo>
                    <a:pt x="572" y="154"/>
                    <a:pt x="575" y="150"/>
                    <a:pt x="575" y="144"/>
                  </a:cubicBezTo>
                  <a:cubicBezTo>
                    <a:pt x="574" y="139"/>
                    <a:pt x="572" y="130"/>
                    <a:pt x="572" y="130"/>
                  </a:cubicBezTo>
                  <a:cubicBezTo>
                    <a:pt x="574" y="97"/>
                    <a:pt x="574" y="97"/>
                    <a:pt x="574" y="97"/>
                  </a:cubicBezTo>
                  <a:cubicBezTo>
                    <a:pt x="577" y="93"/>
                    <a:pt x="577" y="93"/>
                    <a:pt x="577" y="93"/>
                  </a:cubicBezTo>
                  <a:cubicBezTo>
                    <a:pt x="577" y="93"/>
                    <a:pt x="576" y="81"/>
                    <a:pt x="582" y="79"/>
                  </a:cubicBezTo>
                  <a:cubicBezTo>
                    <a:pt x="588" y="76"/>
                    <a:pt x="595" y="78"/>
                    <a:pt x="595" y="78"/>
                  </a:cubicBezTo>
                  <a:cubicBezTo>
                    <a:pt x="595" y="78"/>
                    <a:pt x="604" y="66"/>
                    <a:pt x="610" y="65"/>
                  </a:cubicBezTo>
                  <a:cubicBezTo>
                    <a:pt x="616" y="64"/>
                    <a:pt x="625" y="77"/>
                    <a:pt x="625" y="77"/>
                  </a:cubicBezTo>
                  <a:cubicBezTo>
                    <a:pt x="648" y="80"/>
                    <a:pt x="648" y="80"/>
                    <a:pt x="648" y="80"/>
                  </a:cubicBezTo>
                  <a:cubicBezTo>
                    <a:pt x="655" y="91"/>
                    <a:pt x="655" y="91"/>
                    <a:pt x="655" y="91"/>
                  </a:cubicBezTo>
                  <a:cubicBezTo>
                    <a:pt x="655" y="91"/>
                    <a:pt x="647" y="105"/>
                    <a:pt x="647" y="110"/>
                  </a:cubicBezTo>
                  <a:cubicBezTo>
                    <a:pt x="647" y="116"/>
                    <a:pt x="650" y="121"/>
                    <a:pt x="650" y="121"/>
                  </a:cubicBezTo>
                  <a:cubicBezTo>
                    <a:pt x="650" y="121"/>
                    <a:pt x="654" y="125"/>
                    <a:pt x="656" y="123"/>
                  </a:cubicBezTo>
                  <a:cubicBezTo>
                    <a:pt x="659" y="121"/>
                    <a:pt x="658" y="107"/>
                    <a:pt x="658" y="107"/>
                  </a:cubicBezTo>
                  <a:cubicBezTo>
                    <a:pt x="658" y="107"/>
                    <a:pt x="655" y="108"/>
                    <a:pt x="656" y="105"/>
                  </a:cubicBezTo>
                  <a:cubicBezTo>
                    <a:pt x="657" y="102"/>
                    <a:pt x="661" y="102"/>
                    <a:pt x="663" y="100"/>
                  </a:cubicBezTo>
                  <a:cubicBezTo>
                    <a:pt x="666" y="98"/>
                    <a:pt x="665" y="93"/>
                    <a:pt x="666" y="93"/>
                  </a:cubicBezTo>
                  <a:cubicBezTo>
                    <a:pt x="668" y="92"/>
                    <a:pt x="674" y="94"/>
                    <a:pt x="674" y="90"/>
                  </a:cubicBezTo>
                  <a:cubicBezTo>
                    <a:pt x="674" y="85"/>
                    <a:pt x="669" y="78"/>
                    <a:pt x="669" y="78"/>
                  </a:cubicBezTo>
                  <a:cubicBezTo>
                    <a:pt x="669" y="78"/>
                    <a:pt x="673" y="78"/>
                    <a:pt x="675" y="79"/>
                  </a:cubicBezTo>
                  <a:cubicBezTo>
                    <a:pt x="678" y="79"/>
                    <a:pt x="685" y="87"/>
                    <a:pt x="687" y="80"/>
                  </a:cubicBezTo>
                  <a:cubicBezTo>
                    <a:pt x="690" y="74"/>
                    <a:pt x="685" y="71"/>
                    <a:pt x="685" y="71"/>
                  </a:cubicBezTo>
                  <a:close/>
                  <a:moveTo>
                    <a:pt x="8" y="787"/>
                  </a:moveTo>
                  <a:cubicBezTo>
                    <a:pt x="8" y="787"/>
                    <a:pt x="7" y="793"/>
                    <a:pt x="8" y="794"/>
                  </a:cubicBezTo>
                  <a:cubicBezTo>
                    <a:pt x="9" y="796"/>
                    <a:pt x="6" y="800"/>
                    <a:pt x="6" y="800"/>
                  </a:cubicBezTo>
                  <a:cubicBezTo>
                    <a:pt x="9" y="800"/>
                    <a:pt x="9" y="800"/>
                    <a:pt x="9" y="800"/>
                  </a:cubicBezTo>
                  <a:cubicBezTo>
                    <a:pt x="11" y="798"/>
                    <a:pt x="11" y="798"/>
                    <a:pt x="11" y="798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0" y="785"/>
                    <a:pt x="10" y="785"/>
                    <a:pt x="10" y="785"/>
                  </a:cubicBezTo>
                  <a:lnTo>
                    <a:pt x="8" y="787"/>
                  </a:lnTo>
                  <a:close/>
                  <a:moveTo>
                    <a:pt x="27" y="805"/>
                  </a:moveTo>
                  <a:cubicBezTo>
                    <a:pt x="18" y="803"/>
                    <a:pt x="18" y="803"/>
                    <a:pt x="18" y="803"/>
                  </a:cubicBezTo>
                  <a:cubicBezTo>
                    <a:pt x="26" y="808"/>
                    <a:pt x="26" y="808"/>
                    <a:pt x="26" y="808"/>
                  </a:cubicBezTo>
                  <a:lnTo>
                    <a:pt x="27" y="805"/>
                  </a:lnTo>
                  <a:close/>
                  <a:moveTo>
                    <a:pt x="36" y="794"/>
                  </a:moveTo>
                  <a:cubicBezTo>
                    <a:pt x="32" y="794"/>
                    <a:pt x="32" y="794"/>
                    <a:pt x="32" y="794"/>
                  </a:cubicBezTo>
                  <a:cubicBezTo>
                    <a:pt x="30" y="799"/>
                    <a:pt x="30" y="799"/>
                    <a:pt x="30" y="799"/>
                  </a:cubicBezTo>
                  <a:cubicBezTo>
                    <a:pt x="38" y="798"/>
                    <a:pt x="38" y="798"/>
                    <a:pt x="38" y="798"/>
                  </a:cubicBezTo>
                  <a:lnTo>
                    <a:pt x="36" y="794"/>
                  </a:lnTo>
                  <a:close/>
                  <a:moveTo>
                    <a:pt x="16" y="750"/>
                  </a:moveTo>
                  <a:cubicBezTo>
                    <a:pt x="16" y="753"/>
                    <a:pt x="16" y="753"/>
                    <a:pt x="16" y="753"/>
                  </a:cubicBezTo>
                  <a:cubicBezTo>
                    <a:pt x="14" y="754"/>
                    <a:pt x="14" y="754"/>
                    <a:pt x="14" y="754"/>
                  </a:cubicBezTo>
                  <a:cubicBezTo>
                    <a:pt x="14" y="754"/>
                    <a:pt x="16" y="762"/>
                    <a:pt x="20" y="762"/>
                  </a:cubicBezTo>
                  <a:cubicBezTo>
                    <a:pt x="26" y="762"/>
                    <a:pt x="22" y="753"/>
                    <a:pt x="22" y="753"/>
                  </a:cubicBezTo>
                  <a:cubicBezTo>
                    <a:pt x="17" y="750"/>
                    <a:pt x="17" y="750"/>
                    <a:pt x="17" y="750"/>
                  </a:cubicBezTo>
                  <a:lnTo>
                    <a:pt x="16" y="750"/>
                  </a:lnTo>
                  <a:close/>
                  <a:moveTo>
                    <a:pt x="15" y="768"/>
                  </a:moveTo>
                  <a:cubicBezTo>
                    <a:pt x="17" y="766"/>
                    <a:pt x="17" y="766"/>
                    <a:pt x="17" y="766"/>
                  </a:cubicBezTo>
                  <a:cubicBezTo>
                    <a:pt x="15" y="762"/>
                    <a:pt x="15" y="762"/>
                    <a:pt x="15" y="762"/>
                  </a:cubicBezTo>
                  <a:cubicBezTo>
                    <a:pt x="15" y="758"/>
                    <a:pt x="15" y="758"/>
                    <a:pt x="15" y="758"/>
                  </a:cubicBezTo>
                  <a:cubicBezTo>
                    <a:pt x="11" y="756"/>
                    <a:pt x="11" y="756"/>
                    <a:pt x="11" y="756"/>
                  </a:cubicBezTo>
                  <a:cubicBezTo>
                    <a:pt x="11" y="757"/>
                    <a:pt x="11" y="757"/>
                    <a:pt x="11" y="757"/>
                  </a:cubicBezTo>
                  <a:cubicBezTo>
                    <a:pt x="11" y="757"/>
                    <a:pt x="10" y="758"/>
                    <a:pt x="9" y="760"/>
                  </a:cubicBezTo>
                  <a:cubicBezTo>
                    <a:pt x="8" y="762"/>
                    <a:pt x="12" y="764"/>
                    <a:pt x="12" y="764"/>
                  </a:cubicBezTo>
                  <a:cubicBezTo>
                    <a:pt x="9" y="767"/>
                    <a:pt x="9" y="767"/>
                    <a:pt x="9" y="767"/>
                  </a:cubicBezTo>
                  <a:cubicBezTo>
                    <a:pt x="9" y="773"/>
                    <a:pt x="9" y="773"/>
                    <a:pt x="9" y="773"/>
                  </a:cubicBezTo>
                  <a:cubicBezTo>
                    <a:pt x="13" y="772"/>
                    <a:pt x="13" y="772"/>
                    <a:pt x="13" y="772"/>
                  </a:cubicBezTo>
                  <a:cubicBezTo>
                    <a:pt x="10" y="767"/>
                    <a:pt x="10" y="767"/>
                    <a:pt x="10" y="767"/>
                  </a:cubicBezTo>
                  <a:cubicBezTo>
                    <a:pt x="14" y="764"/>
                    <a:pt x="14" y="764"/>
                    <a:pt x="14" y="764"/>
                  </a:cubicBezTo>
                  <a:cubicBezTo>
                    <a:pt x="15" y="764"/>
                    <a:pt x="15" y="764"/>
                    <a:pt x="15" y="764"/>
                  </a:cubicBezTo>
                  <a:cubicBezTo>
                    <a:pt x="14" y="766"/>
                    <a:pt x="14" y="766"/>
                    <a:pt x="14" y="766"/>
                  </a:cubicBezTo>
                  <a:lnTo>
                    <a:pt x="15" y="768"/>
                  </a:lnTo>
                  <a:close/>
                  <a:moveTo>
                    <a:pt x="29" y="766"/>
                  </a:moveTo>
                  <a:cubicBezTo>
                    <a:pt x="33" y="764"/>
                    <a:pt x="33" y="764"/>
                    <a:pt x="33" y="764"/>
                  </a:cubicBezTo>
                  <a:cubicBezTo>
                    <a:pt x="27" y="759"/>
                    <a:pt x="27" y="759"/>
                    <a:pt x="27" y="759"/>
                  </a:cubicBezTo>
                  <a:cubicBezTo>
                    <a:pt x="25" y="761"/>
                    <a:pt x="25" y="761"/>
                    <a:pt x="25" y="761"/>
                  </a:cubicBezTo>
                  <a:lnTo>
                    <a:pt x="29" y="766"/>
                  </a:lnTo>
                  <a:close/>
                  <a:moveTo>
                    <a:pt x="28" y="743"/>
                  </a:moveTo>
                  <a:cubicBezTo>
                    <a:pt x="23" y="744"/>
                    <a:pt x="23" y="744"/>
                    <a:pt x="23" y="744"/>
                  </a:cubicBezTo>
                  <a:cubicBezTo>
                    <a:pt x="23" y="747"/>
                    <a:pt x="23" y="747"/>
                    <a:pt x="23" y="747"/>
                  </a:cubicBezTo>
                  <a:cubicBezTo>
                    <a:pt x="20" y="749"/>
                    <a:pt x="20" y="749"/>
                    <a:pt x="20" y="749"/>
                  </a:cubicBezTo>
                  <a:cubicBezTo>
                    <a:pt x="23" y="751"/>
                    <a:pt x="23" y="751"/>
                    <a:pt x="23" y="751"/>
                  </a:cubicBezTo>
                  <a:cubicBezTo>
                    <a:pt x="25" y="754"/>
                    <a:pt x="25" y="754"/>
                    <a:pt x="25" y="754"/>
                  </a:cubicBezTo>
                  <a:cubicBezTo>
                    <a:pt x="27" y="754"/>
                    <a:pt x="27" y="754"/>
                    <a:pt x="27" y="754"/>
                  </a:cubicBezTo>
                  <a:cubicBezTo>
                    <a:pt x="27" y="751"/>
                    <a:pt x="27" y="751"/>
                    <a:pt x="27" y="751"/>
                  </a:cubicBezTo>
                  <a:cubicBezTo>
                    <a:pt x="29" y="749"/>
                    <a:pt x="29" y="749"/>
                    <a:pt x="29" y="749"/>
                  </a:cubicBezTo>
                  <a:lnTo>
                    <a:pt x="28" y="743"/>
                  </a:lnTo>
                  <a:close/>
                  <a:moveTo>
                    <a:pt x="19" y="743"/>
                  </a:moveTo>
                  <a:cubicBezTo>
                    <a:pt x="16" y="746"/>
                    <a:pt x="19" y="747"/>
                    <a:pt x="20" y="746"/>
                  </a:cubicBezTo>
                  <a:cubicBezTo>
                    <a:pt x="23" y="744"/>
                    <a:pt x="22" y="740"/>
                    <a:pt x="19" y="743"/>
                  </a:cubicBezTo>
                  <a:close/>
                  <a:moveTo>
                    <a:pt x="10" y="738"/>
                  </a:moveTo>
                  <a:cubicBezTo>
                    <a:pt x="11" y="740"/>
                    <a:pt x="11" y="740"/>
                    <a:pt x="11" y="740"/>
                  </a:cubicBezTo>
                  <a:cubicBezTo>
                    <a:pt x="12" y="740"/>
                    <a:pt x="12" y="740"/>
                    <a:pt x="12" y="740"/>
                  </a:cubicBezTo>
                  <a:cubicBezTo>
                    <a:pt x="14" y="743"/>
                    <a:pt x="14" y="743"/>
                    <a:pt x="14" y="743"/>
                  </a:cubicBezTo>
                  <a:cubicBezTo>
                    <a:pt x="12" y="745"/>
                    <a:pt x="12" y="745"/>
                    <a:pt x="12" y="745"/>
                  </a:cubicBezTo>
                  <a:cubicBezTo>
                    <a:pt x="15" y="746"/>
                    <a:pt x="15" y="746"/>
                    <a:pt x="15" y="746"/>
                  </a:cubicBezTo>
                  <a:cubicBezTo>
                    <a:pt x="16" y="742"/>
                    <a:pt x="16" y="742"/>
                    <a:pt x="16" y="742"/>
                  </a:cubicBezTo>
                  <a:cubicBezTo>
                    <a:pt x="12" y="737"/>
                    <a:pt x="12" y="737"/>
                    <a:pt x="12" y="737"/>
                  </a:cubicBezTo>
                  <a:lnTo>
                    <a:pt x="10" y="738"/>
                  </a:lnTo>
                  <a:close/>
                  <a:moveTo>
                    <a:pt x="13" y="749"/>
                  </a:moveTo>
                  <a:cubicBezTo>
                    <a:pt x="11" y="746"/>
                    <a:pt x="11" y="746"/>
                    <a:pt x="11" y="746"/>
                  </a:cubicBezTo>
                  <a:cubicBezTo>
                    <a:pt x="8" y="749"/>
                    <a:pt x="8" y="749"/>
                    <a:pt x="8" y="749"/>
                  </a:cubicBezTo>
                  <a:cubicBezTo>
                    <a:pt x="9" y="751"/>
                    <a:pt x="9" y="751"/>
                    <a:pt x="9" y="751"/>
                  </a:cubicBezTo>
                  <a:lnTo>
                    <a:pt x="13" y="749"/>
                  </a:lnTo>
                  <a:close/>
                  <a:moveTo>
                    <a:pt x="41" y="738"/>
                  </a:moveTo>
                  <a:cubicBezTo>
                    <a:pt x="39" y="740"/>
                    <a:pt x="39" y="740"/>
                    <a:pt x="39" y="740"/>
                  </a:cubicBezTo>
                  <a:cubicBezTo>
                    <a:pt x="40" y="744"/>
                    <a:pt x="40" y="744"/>
                    <a:pt x="40" y="744"/>
                  </a:cubicBezTo>
                  <a:cubicBezTo>
                    <a:pt x="43" y="741"/>
                    <a:pt x="43" y="741"/>
                    <a:pt x="43" y="741"/>
                  </a:cubicBezTo>
                  <a:lnTo>
                    <a:pt x="41" y="738"/>
                  </a:lnTo>
                  <a:close/>
                  <a:moveTo>
                    <a:pt x="9" y="733"/>
                  </a:moveTo>
                  <a:cubicBezTo>
                    <a:pt x="11" y="734"/>
                    <a:pt x="13" y="734"/>
                    <a:pt x="13" y="734"/>
                  </a:cubicBezTo>
                  <a:cubicBezTo>
                    <a:pt x="11" y="729"/>
                    <a:pt x="11" y="729"/>
                    <a:pt x="11" y="729"/>
                  </a:cubicBezTo>
                  <a:cubicBezTo>
                    <a:pt x="13" y="727"/>
                    <a:pt x="13" y="727"/>
                    <a:pt x="13" y="727"/>
                  </a:cubicBezTo>
                  <a:cubicBezTo>
                    <a:pt x="10" y="719"/>
                    <a:pt x="10" y="719"/>
                    <a:pt x="10" y="719"/>
                  </a:cubicBezTo>
                  <a:cubicBezTo>
                    <a:pt x="9" y="722"/>
                    <a:pt x="9" y="722"/>
                    <a:pt x="9" y="722"/>
                  </a:cubicBezTo>
                  <a:cubicBezTo>
                    <a:pt x="11" y="726"/>
                    <a:pt x="11" y="726"/>
                    <a:pt x="11" y="726"/>
                  </a:cubicBezTo>
                  <a:cubicBezTo>
                    <a:pt x="7" y="727"/>
                    <a:pt x="7" y="727"/>
                    <a:pt x="7" y="727"/>
                  </a:cubicBezTo>
                  <a:cubicBezTo>
                    <a:pt x="7" y="727"/>
                    <a:pt x="7" y="731"/>
                    <a:pt x="9" y="733"/>
                  </a:cubicBezTo>
                  <a:close/>
                  <a:moveTo>
                    <a:pt x="16" y="715"/>
                  </a:moveTo>
                  <a:cubicBezTo>
                    <a:pt x="10" y="711"/>
                    <a:pt x="10" y="711"/>
                    <a:pt x="10" y="711"/>
                  </a:cubicBezTo>
                  <a:cubicBezTo>
                    <a:pt x="9" y="712"/>
                    <a:pt x="9" y="712"/>
                    <a:pt x="9" y="712"/>
                  </a:cubicBezTo>
                  <a:cubicBezTo>
                    <a:pt x="12" y="714"/>
                    <a:pt x="12" y="714"/>
                    <a:pt x="12" y="714"/>
                  </a:cubicBezTo>
                  <a:cubicBezTo>
                    <a:pt x="12" y="718"/>
                    <a:pt x="12" y="718"/>
                    <a:pt x="12" y="718"/>
                  </a:cubicBezTo>
                  <a:cubicBezTo>
                    <a:pt x="14" y="721"/>
                    <a:pt x="14" y="721"/>
                    <a:pt x="14" y="721"/>
                  </a:cubicBezTo>
                  <a:cubicBezTo>
                    <a:pt x="17" y="721"/>
                    <a:pt x="17" y="721"/>
                    <a:pt x="17" y="721"/>
                  </a:cubicBezTo>
                  <a:lnTo>
                    <a:pt x="16" y="715"/>
                  </a:lnTo>
                  <a:close/>
                  <a:moveTo>
                    <a:pt x="24" y="713"/>
                  </a:moveTo>
                  <a:cubicBezTo>
                    <a:pt x="28" y="719"/>
                    <a:pt x="28" y="719"/>
                    <a:pt x="28" y="719"/>
                  </a:cubicBezTo>
                  <a:cubicBezTo>
                    <a:pt x="32" y="717"/>
                    <a:pt x="32" y="717"/>
                    <a:pt x="32" y="717"/>
                  </a:cubicBezTo>
                  <a:cubicBezTo>
                    <a:pt x="34" y="706"/>
                    <a:pt x="34" y="706"/>
                    <a:pt x="34" y="706"/>
                  </a:cubicBezTo>
                  <a:cubicBezTo>
                    <a:pt x="33" y="705"/>
                    <a:pt x="33" y="705"/>
                    <a:pt x="33" y="705"/>
                  </a:cubicBezTo>
                  <a:cubicBezTo>
                    <a:pt x="29" y="710"/>
                    <a:pt x="29" y="710"/>
                    <a:pt x="29" y="710"/>
                  </a:cubicBezTo>
                  <a:cubicBezTo>
                    <a:pt x="29" y="710"/>
                    <a:pt x="28" y="710"/>
                    <a:pt x="26" y="711"/>
                  </a:cubicBezTo>
                  <a:cubicBezTo>
                    <a:pt x="24" y="711"/>
                    <a:pt x="24" y="713"/>
                    <a:pt x="24" y="713"/>
                  </a:cubicBezTo>
                  <a:close/>
                  <a:moveTo>
                    <a:pt x="22" y="703"/>
                  </a:moveTo>
                  <a:cubicBezTo>
                    <a:pt x="13" y="694"/>
                    <a:pt x="13" y="694"/>
                    <a:pt x="13" y="694"/>
                  </a:cubicBezTo>
                  <a:cubicBezTo>
                    <a:pt x="12" y="695"/>
                    <a:pt x="12" y="695"/>
                    <a:pt x="12" y="695"/>
                  </a:cubicBezTo>
                  <a:cubicBezTo>
                    <a:pt x="18" y="703"/>
                    <a:pt x="18" y="703"/>
                    <a:pt x="18" y="703"/>
                  </a:cubicBezTo>
                  <a:cubicBezTo>
                    <a:pt x="17" y="705"/>
                    <a:pt x="17" y="705"/>
                    <a:pt x="17" y="705"/>
                  </a:cubicBezTo>
                  <a:cubicBezTo>
                    <a:pt x="15" y="704"/>
                    <a:pt x="15" y="704"/>
                    <a:pt x="15" y="704"/>
                  </a:cubicBezTo>
                  <a:cubicBezTo>
                    <a:pt x="20" y="711"/>
                    <a:pt x="20" y="711"/>
                    <a:pt x="20" y="711"/>
                  </a:cubicBezTo>
                  <a:cubicBezTo>
                    <a:pt x="23" y="711"/>
                    <a:pt x="25" y="708"/>
                    <a:pt x="25" y="708"/>
                  </a:cubicBezTo>
                  <a:cubicBezTo>
                    <a:pt x="23" y="705"/>
                    <a:pt x="23" y="705"/>
                    <a:pt x="23" y="705"/>
                  </a:cubicBezTo>
                  <a:lnTo>
                    <a:pt x="22" y="703"/>
                  </a:lnTo>
                  <a:close/>
                  <a:moveTo>
                    <a:pt x="9" y="699"/>
                  </a:moveTo>
                  <a:cubicBezTo>
                    <a:pt x="8" y="699"/>
                    <a:pt x="8" y="699"/>
                    <a:pt x="8" y="699"/>
                  </a:cubicBezTo>
                  <a:cubicBezTo>
                    <a:pt x="8" y="699"/>
                    <a:pt x="10" y="703"/>
                    <a:pt x="11" y="704"/>
                  </a:cubicBezTo>
                  <a:cubicBezTo>
                    <a:pt x="12" y="705"/>
                    <a:pt x="14" y="707"/>
                    <a:pt x="14" y="707"/>
                  </a:cubicBezTo>
                  <a:cubicBezTo>
                    <a:pt x="14" y="707"/>
                    <a:pt x="15" y="705"/>
                    <a:pt x="13" y="703"/>
                  </a:cubicBezTo>
                  <a:cubicBezTo>
                    <a:pt x="12" y="701"/>
                    <a:pt x="9" y="699"/>
                    <a:pt x="9" y="699"/>
                  </a:cubicBezTo>
                  <a:close/>
                  <a:moveTo>
                    <a:pt x="10" y="707"/>
                  </a:moveTo>
                  <a:cubicBezTo>
                    <a:pt x="9" y="707"/>
                    <a:pt x="10" y="709"/>
                    <a:pt x="11" y="710"/>
                  </a:cubicBezTo>
                  <a:cubicBezTo>
                    <a:pt x="12" y="710"/>
                    <a:pt x="16" y="712"/>
                    <a:pt x="16" y="712"/>
                  </a:cubicBezTo>
                  <a:cubicBezTo>
                    <a:pt x="16" y="710"/>
                    <a:pt x="16" y="710"/>
                    <a:pt x="16" y="710"/>
                  </a:cubicBezTo>
                  <a:cubicBezTo>
                    <a:pt x="16" y="710"/>
                    <a:pt x="11" y="707"/>
                    <a:pt x="10" y="707"/>
                  </a:cubicBezTo>
                  <a:close/>
                  <a:moveTo>
                    <a:pt x="9" y="693"/>
                  </a:moveTo>
                  <a:cubicBezTo>
                    <a:pt x="7" y="695"/>
                    <a:pt x="7" y="695"/>
                    <a:pt x="7" y="695"/>
                  </a:cubicBezTo>
                  <a:cubicBezTo>
                    <a:pt x="11" y="698"/>
                    <a:pt x="11" y="698"/>
                    <a:pt x="11" y="698"/>
                  </a:cubicBezTo>
                  <a:lnTo>
                    <a:pt x="9" y="693"/>
                  </a:lnTo>
                  <a:close/>
                  <a:moveTo>
                    <a:pt x="10" y="692"/>
                  </a:moveTo>
                  <a:cubicBezTo>
                    <a:pt x="9" y="687"/>
                    <a:pt x="9" y="687"/>
                    <a:pt x="9" y="687"/>
                  </a:cubicBezTo>
                  <a:cubicBezTo>
                    <a:pt x="7" y="689"/>
                    <a:pt x="7" y="689"/>
                    <a:pt x="7" y="689"/>
                  </a:cubicBezTo>
                  <a:lnTo>
                    <a:pt x="10" y="692"/>
                  </a:lnTo>
                  <a:close/>
                  <a:moveTo>
                    <a:pt x="9" y="678"/>
                  </a:moveTo>
                  <a:cubicBezTo>
                    <a:pt x="11" y="676"/>
                    <a:pt x="11" y="676"/>
                    <a:pt x="11" y="676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15" y="676"/>
                    <a:pt x="15" y="674"/>
                  </a:cubicBezTo>
                  <a:cubicBezTo>
                    <a:pt x="15" y="671"/>
                    <a:pt x="12" y="670"/>
                    <a:pt x="12" y="670"/>
                  </a:cubicBezTo>
                  <a:cubicBezTo>
                    <a:pt x="10" y="671"/>
                    <a:pt x="10" y="671"/>
                    <a:pt x="10" y="671"/>
                  </a:cubicBezTo>
                  <a:cubicBezTo>
                    <a:pt x="10" y="671"/>
                    <a:pt x="8" y="675"/>
                    <a:pt x="9" y="678"/>
                  </a:cubicBezTo>
                  <a:close/>
                  <a:moveTo>
                    <a:pt x="6" y="680"/>
                  </a:moveTo>
                  <a:cubicBezTo>
                    <a:pt x="7" y="680"/>
                    <a:pt x="7" y="680"/>
                    <a:pt x="7" y="680"/>
                  </a:cubicBezTo>
                  <a:cubicBezTo>
                    <a:pt x="8" y="676"/>
                    <a:pt x="8" y="676"/>
                    <a:pt x="8" y="676"/>
                  </a:cubicBezTo>
                  <a:cubicBezTo>
                    <a:pt x="7" y="676"/>
                    <a:pt x="7" y="676"/>
                    <a:pt x="7" y="676"/>
                  </a:cubicBezTo>
                  <a:lnTo>
                    <a:pt x="6" y="680"/>
                  </a:lnTo>
                  <a:close/>
                  <a:moveTo>
                    <a:pt x="3" y="678"/>
                  </a:moveTo>
                  <a:cubicBezTo>
                    <a:pt x="0" y="678"/>
                    <a:pt x="1" y="681"/>
                    <a:pt x="2" y="681"/>
                  </a:cubicBezTo>
                  <a:cubicBezTo>
                    <a:pt x="4" y="682"/>
                    <a:pt x="7" y="677"/>
                    <a:pt x="3" y="678"/>
                  </a:cubicBezTo>
                  <a:close/>
                  <a:moveTo>
                    <a:pt x="7" y="661"/>
                  </a:moveTo>
                  <a:cubicBezTo>
                    <a:pt x="3" y="661"/>
                    <a:pt x="4" y="663"/>
                    <a:pt x="6" y="663"/>
                  </a:cubicBezTo>
                  <a:cubicBezTo>
                    <a:pt x="9" y="663"/>
                    <a:pt x="10" y="662"/>
                    <a:pt x="7" y="661"/>
                  </a:cubicBezTo>
                  <a:close/>
                  <a:moveTo>
                    <a:pt x="17" y="658"/>
                  </a:moveTo>
                  <a:cubicBezTo>
                    <a:pt x="14" y="657"/>
                    <a:pt x="14" y="657"/>
                    <a:pt x="14" y="657"/>
                  </a:cubicBezTo>
                  <a:cubicBezTo>
                    <a:pt x="11" y="660"/>
                    <a:pt x="11" y="660"/>
                    <a:pt x="11" y="660"/>
                  </a:cubicBezTo>
                  <a:cubicBezTo>
                    <a:pt x="13" y="662"/>
                    <a:pt x="13" y="662"/>
                    <a:pt x="13" y="662"/>
                  </a:cubicBezTo>
                  <a:lnTo>
                    <a:pt x="17" y="658"/>
                  </a:lnTo>
                  <a:close/>
                  <a:moveTo>
                    <a:pt x="18" y="649"/>
                  </a:moveTo>
                  <a:cubicBezTo>
                    <a:pt x="14" y="646"/>
                    <a:pt x="14" y="646"/>
                    <a:pt x="14" y="646"/>
                  </a:cubicBezTo>
                  <a:cubicBezTo>
                    <a:pt x="15" y="650"/>
                    <a:pt x="15" y="650"/>
                    <a:pt x="15" y="650"/>
                  </a:cubicBezTo>
                  <a:lnTo>
                    <a:pt x="18" y="649"/>
                  </a:lnTo>
                  <a:close/>
                  <a:moveTo>
                    <a:pt x="22" y="643"/>
                  </a:moveTo>
                  <a:cubicBezTo>
                    <a:pt x="17" y="645"/>
                    <a:pt x="17" y="645"/>
                    <a:pt x="17" y="645"/>
                  </a:cubicBezTo>
                  <a:cubicBezTo>
                    <a:pt x="22" y="647"/>
                    <a:pt x="22" y="647"/>
                    <a:pt x="22" y="647"/>
                  </a:cubicBezTo>
                  <a:lnTo>
                    <a:pt x="22" y="643"/>
                  </a:lnTo>
                  <a:close/>
                  <a:moveTo>
                    <a:pt x="14" y="639"/>
                  </a:moveTo>
                  <a:cubicBezTo>
                    <a:pt x="14" y="635"/>
                    <a:pt x="11" y="635"/>
                    <a:pt x="12" y="638"/>
                  </a:cubicBezTo>
                  <a:cubicBezTo>
                    <a:pt x="12" y="641"/>
                    <a:pt x="14" y="641"/>
                    <a:pt x="14" y="639"/>
                  </a:cubicBezTo>
                  <a:close/>
                  <a:moveTo>
                    <a:pt x="15" y="632"/>
                  </a:moveTo>
                  <a:cubicBezTo>
                    <a:pt x="24" y="629"/>
                    <a:pt x="24" y="629"/>
                    <a:pt x="24" y="629"/>
                  </a:cubicBezTo>
                  <a:cubicBezTo>
                    <a:pt x="25" y="626"/>
                    <a:pt x="25" y="626"/>
                    <a:pt x="25" y="626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15" y="623"/>
                    <a:pt x="15" y="623"/>
                    <a:pt x="15" y="623"/>
                  </a:cubicBezTo>
                  <a:cubicBezTo>
                    <a:pt x="15" y="626"/>
                    <a:pt x="15" y="626"/>
                    <a:pt x="15" y="626"/>
                  </a:cubicBezTo>
                  <a:cubicBezTo>
                    <a:pt x="12" y="627"/>
                    <a:pt x="12" y="627"/>
                    <a:pt x="12" y="627"/>
                  </a:cubicBezTo>
                  <a:cubicBezTo>
                    <a:pt x="16" y="628"/>
                    <a:pt x="16" y="628"/>
                    <a:pt x="16" y="628"/>
                  </a:cubicBezTo>
                  <a:lnTo>
                    <a:pt x="15" y="632"/>
                  </a:lnTo>
                  <a:close/>
                  <a:moveTo>
                    <a:pt x="12" y="630"/>
                  </a:moveTo>
                  <a:cubicBezTo>
                    <a:pt x="13" y="632"/>
                    <a:pt x="13" y="632"/>
                    <a:pt x="13" y="632"/>
                  </a:cubicBezTo>
                  <a:cubicBezTo>
                    <a:pt x="14" y="633"/>
                    <a:pt x="14" y="633"/>
                    <a:pt x="14" y="633"/>
                  </a:cubicBezTo>
                  <a:cubicBezTo>
                    <a:pt x="14" y="629"/>
                    <a:pt x="14" y="629"/>
                    <a:pt x="14" y="629"/>
                  </a:cubicBezTo>
                  <a:lnTo>
                    <a:pt x="12" y="630"/>
                  </a:lnTo>
                  <a:close/>
                  <a:moveTo>
                    <a:pt x="20" y="618"/>
                  </a:moveTo>
                  <a:cubicBezTo>
                    <a:pt x="22" y="619"/>
                    <a:pt x="22" y="623"/>
                    <a:pt x="22" y="623"/>
                  </a:cubicBezTo>
                  <a:cubicBezTo>
                    <a:pt x="25" y="623"/>
                    <a:pt x="25" y="623"/>
                    <a:pt x="25" y="623"/>
                  </a:cubicBezTo>
                  <a:cubicBezTo>
                    <a:pt x="25" y="616"/>
                    <a:pt x="25" y="616"/>
                    <a:pt x="25" y="616"/>
                  </a:cubicBezTo>
                  <a:cubicBezTo>
                    <a:pt x="20" y="615"/>
                    <a:pt x="20" y="615"/>
                    <a:pt x="20" y="615"/>
                  </a:cubicBezTo>
                  <a:cubicBezTo>
                    <a:pt x="20" y="615"/>
                    <a:pt x="18" y="617"/>
                    <a:pt x="20" y="618"/>
                  </a:cubicBezTo>
                  <a:close/>
                  <a:moveTo>
                    <a:pt x="36" y="604"/>
                  </a:moveTo>
                  <a:cubicBezTo>
                    <a:pt x="36" y="601"/>
                    <a:pt x="36" y="601"/>
                    <a:pt x="36" y="601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4"/>
                    <a:pt x="34" y="604"/>
                    <a:pt x="34" y="604"/>
                  </a:cubicBezTo>
                  <a:lnTo>
                    <a:pt x="36" y="604"/>
                  </a:lnTo>
                  <a:close/>
                  <a:moveTo>
                    <a:pt x="45" y="607"/>
                  </a:moveTo>
                  <a:cubicBezTo>
                    <a:pt x="48" y="605"/>
                    <a:pt x="48" y="601"/>
                    <a:pt x="44" y="600"/>
                  </a:cubicBezTo>
                  <a:cubicBezTo>
                    <a:pt x="40" y="598"/>
                    <a:pt x="40" y="603"/>
                    <a:pt x="40" y="603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7"/>
                    <a:pt x="42" y="608"/>
                    <a:pt x="45" y="607"/>
                  </a:cubicBezTo>
                  <a:close/>
                  <a:moveTo>
                    <a:pt x="42" y="598"/>
                  </a:moveTo>
                  <a:cubicBezTo>
                    <a:pt x="45" y="598"/>
                    <a:pt x="45" y="598"/>
                    <a:pt x="45" y="598"/>
                  </a:cubicBezTo>
                  <a:cubicBezTo>
                    <a:pt x="46" y="596"/>
                    <a:pt x="46" y="596"/>
                    <a:pt x="46" y="596"/>
                  </a:cubicBezTo>
                  <a:cubicBezTo>
                    <a:pt x="43" y="593"/>
                    <a:pt x="43" y="593"/>
                    <a:pt x="43" y="593"/>
                  </a:cubicBezTo>
                  <a:cubicBezTo>
                    <a:pt x="41" y="593"/>
                    <a:pt x="41" y="593"/>
                    <a:pt x="41" y="593"/>
                  </a:cubicBezTo>
                  <a:cubicBezTo>
                    <a:pt x="42" y="596"/>
                    <a:pt x="42" y="596"/>
                    <a:pt x="42" y="596"/>
                  </a:cubicBezTo>
                  <a:lnTo>
                    <a:pt x="42" y="598"/>
                  </a:lnTo>
                  <a:close/>
                  <a:moveTo>
                    <a:pt x="53" y="593"/>
                  </a:moveTo>
                  <a:cubicBezTo>
                    <a:pt x="49" y="594"/>
                    <a:pt x="49" y="594"/>
                    <a:pt x="49" y="594"/>
                  </a:cubicBezTo>
                  <a:cubicBezTo>
                    <a:pt x="49" y="603"/>
                    <a:pt x="49" y="603"/>
                    <a:pt x="49" y="603"/>
                  </a:cubicBezTo>
                  <a:cubicBezTo>
                    <a:pt x="57" y="598"/>
                    <a:pt x="57" y="598"/>
                    <a:pt x="57" y="598"/>
                  </a:cubicBezTo>
                  <a:lnTo>
                    <a:pt x="53" y="593"/>
                  </a:lnTo>
                  <a:close/>
                  <a:moveTo>
                    <a:pt x="57" y="593"/>
                  </a:moveTo>
                  <a:cubicBezTo>
                    <a:pt x="60" y="596"/>
                    <a:pt x="60" y="596"/>
                    <a:pt x="60" y="596"/>
                  </a:cubicBezTo>
                  <a:cubicBezTo>
                    <a:pt x="65" y="594"/>
                    <a:pt x="65" y="594"/>
                    <a:pt x="65" y="594"/>
                  </a:cubicBezTo>
                  <a:cubicBezTo>
                    <a:pt x="61" y="592"/>
                    <a:pt x="61" y="592"/>
                    <a:pt x="61" y="592"/>
                  </a:cubicBezTo>
                  <a:lnTo>
                    <a:pt x="57" y="593"/>
                  </a:lnTo>
                  <a:close/>
                  <a:moveTo>
                    <a:pt x="55" y="587"/>
                  </a:moveTo>
                  <a:cubicBezTo>
                    <a:pt x="51" y="591"/>
                    <a:pt x="51" y="591"/>
                    <a:pt x="51" y="591"/>
                  </a:cubicBezTo>
                  <a:cubicBezTo>
                    <a:pt x="58" y="591"/>
                    <a:pt x="58" y="591"/>
                    <a:pt x="58" y="591"/>
                  </a:cubicBezTo>
                  <a:lnTo>
                    <a:pt x="55" y="587"/>
                  </a:lnTo>
                  <a:close/>
                  <a:moveTo>
                    <a:pt x="57" y="586"/>
                  </a:moveTo>
                  <a:cubicBezTo>
                    <a:pt x="59" y="586"/>
                    <a:pt x="61" y="581"/>
                    <a:pt x="58" y="582"/>
                  </a:cubicBezTo>
                  <a:cubicBezTo>
                    <a:pt x="55" y="583"/>
                    <a:pt x="56" y="586"/>
                    <a:pt x="57" y="586"/>
                  </a:cubicBezTo>
                  <a:close/>
                  <a:moveTo>
                    <a:pt x="63" y="580"/>
                  </a:moveTo>
                  <a:cubicBezTo>
                    <a:pt x="59" y="579"/>
                    <a:pt x="59" y="579"/>
                    <a:pt x="59" y="579"/>
                  </a:cubicBezTo>
                  <a:cubicBezTo>
                    <a:pt x="62" y="582"/>
                    <a:pt x="62" y="582"/>
                    <a:pt x="62" y="582"/>
                  </a:cubicBezTo>
                  <a:lnTo>
                    <a:pt x="63" y="580"/>
                  </a:lnTo>
                  <a:close/>
                  <a:moveTo>
                    <a:pt x="63" y="577"/>
                  </a:moveTo>
                  <a:cubicBezTo>
                    <a:pt x="62" y="578"/>
                    <a:pt x="62" y="578"/>
                    <a:pt x="62" y="578"/>
                  </a:cubicBezTo>
                  <a:cubicBezTo>
                    <a:pt x="65" y="580"/>
                    <a:pt x="65" y="580"/>
                    <a:pt x="65" y="580"/>
                  </a:cubicBezTo>
                  <a:lnTo>
                    <a:pt x="63" y="577"/>
                  </a:lnTo>
                  <a:close/>
                  <a:moveTo>
                    <a:pt x="71" y="575"/>
                  </a:moveTo>
                  <a:cubicBezTo>
                    <a:pt x="71" y="571"/>
                    <a:pt x="71" y="571"/>
                    <a:pt x="71" y="571"/>
                  </a:cubicBezTo>
                  <a:cubicBezTo>
                    <a:pt x="69" y="571"/>
                    <a:pt x="69" y="571"/>
                    <a:pt x="69" y="571"/>
                  </a:cubicBezTo>
                  <a:cubicBezTo>
                    <a:pt x="69" y="575"/>
                    <a:pt x="69" y="575"/>
                    <a:pt x="69" y="575"/>
                  </a:cubicBezTo>
                  <a:lnTo>
                    <a:pt x="71" y="575"/>
                  </a:lnTo>
                  <a:close/>
                  <a:moveTo>
                    <a:pt x="80" y="578"/>
                  </a:moveTo>
                  <a:cubicBezTo>
                    <a:pt x="85" y="576"/>
                    <a:pt x="85" y="575"/>
                    <a:pt x="82" y="575"/>
                  </a:cubicBezTo>
                  <a:cubicBezTo>
                    <a:pt x="78" y="573"/>
                    <a:pt x="77" y="576"/>
                    <a:pt x="77" y="577"/>
                  </a:cubicBezTo>
                  <a:cubicBezTo>
                    <a:pt x="77" y="578"/>
                    <a:pt x="80" y="578"/>
                    <a:pt x="80" y="578"/>
                  </a:cubicBezTo>
                  <a:close/>
                  <a:moveTo>
                    <a:pt x="87" y="568"/>
                  </a:moveTo>
                  <a:cubicBezTo>
                    <a:pt x="82" y="567"/>
                    <a:pt x="82" y="567"/>
                    <a:pt x="82" y="567"/>
                  </a:cubicBezTo>
                  <a:cubicBezTo>
                    <a:pt x="80" y="568"/>
                    <a:pt x="80" y="568"/>
                    <a:pt x="80" y="568"/>
                  </a:cubicBezTo>
                  <a:cubicBezTo>
                    <a:pt x="83" y="571"/>
                    <a:pt x="83" y="571"/>
                    <a:pt x="83" y="571"/>
                  </a:cubicBezTo>
                  <a:lnTo>
                    <a:pt x="87" y="568"/>
                  </a:lnTo>
                  <a:close/>
                  <a:moveTo>
                    <a:pt x="110" y="557"/>
                  </a:moveTo>
                  <a:cubicBezTo>
                    <a:pt x="109" y="551"/>
                    <a:pt x="109" y="551"/>
                    <a:pt x="109" y="551"/>
                  </a:cubicBezTo>
                  <a:cubicBezTo>
                    <a:pt x="106" y="551"/>
                    <a:pt x="106" y="551"/>
                    <a:pt x="106" y="551"/>
                  </a:cubicBezTo>
                  <a:cubicBezTo>
                    <a:pt x="107" y="554"/>
                    <a:pt x="107" y="554"/>
                    <a:pt x="107" y="554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0" y="558"/>
                    <a:pt x="100" y="558"/>
                    <a:pt x="100" y="558"/>
                  </a:cubicBezTo>
                  <a:cubicBezTo>
                    <a:pt x="105" y="562"/>
                    <a:pt x="105" y="562"/>
                    <a:pt x="105" y="562"/>
                  </a:cubicBezTo>
                  <a:lnTo>
                    <a:pt x="110" y="557"/>
                  </a:lnTo>
                  <a:close/>
                  <a:moveTo>
                    <a:pt x="116" y="555"/>
                  </a:moveTo>
                  <a:cubicBezTo>
                    <a:pt x="116" y="552"/>
                    <a:pt x="116" y="552"/>
                    <a:pt x="116" y="552"/>
                  </a:cubicBezTo>
                  <a:cubicBezTo>
                    <a:pt x="111" y="553"/>
                    <a:pt x="111" y="553"/>
                    <a:pt x="111" y="553"/>
                  </a:cubicBezTo>
                  <a:cubicBezTo>
                    <a:pt x="112" y="557"/>
                    <a:pt x="112" y="557"/>
                    <a:pt x="112" y="557"/>
                  </a:cubicBezTo>
                  <a:lnTo>
                    <a:pt x="116" y="555"/>
                  </a:lnTo>
                  <a:close/>
                  <a:moveTo>
                    <a:pt x="113" y="548"/>
                  </a:moveTo>
                  <a:cubicBezTo>
                    <a:pt x="111" y="552"/>
                    <a:pt x="111" y="552"/>
                    <a:pt x="111" y="552"/>
                  </a:cubicBezTo>
                  <a:cubicBezTo>
                    <a:pt x="115" y="551"/>
                    <a:pt x="115" y="551"/>
                    <a:pt x="115" y="551"/>
                  </a:cubicBezTo>
                  <a:lnTo>
                    <a:pt x="113" y="548"/>
                  </a:lnTo>
                  <a:close/>
                  <a:moveTo>
                    <a:pt x="124" y="545"/>
                  </a:moveTo>
                  <a:cubicBezTo>
                    <a:pt x="117" y="545"/>
                    <a:pt x="121" y="549"/>
                    <a:pt x="123" y="549"/>
                  </a:cubicBezTo>
                  <a:cubicBezTo>
                    <a:pt x="126" y="550"/>
                    <a:pt x="130" y="545"/>
                    <a:pt x="124" y="545"/>
                  </a:cubicBezTo>
                  <a:close/>
                  <a:moveTo>
                    <a:pt x="135" y="547"/>
                  </a:moveTo>
                  <a:cubicBezTo>
                    <a:pt x="133" y="542"/>
                    <a:pt x="133" y="542"/>
                    <a:pt x="133" y="542"/>
                  </a:cubicBezTo>
                  <a:cubicBezTo>
                    <a:pt x="132" y="544"/>
                    <a:pt x="132" y="544"/>
                    <a:pt x="132" y="544"/>
                  </a:cubicBezTo>
                  <a:cubicBezTo>
                    <a:pt x="129" y="541"/>
                    <a:pt x="129" y="541"/>
                    <a:pt x="129" y="541"/>
                  </a:cubicBezTo>
                  <a:cubicBezTo>
                    <a:pt x="127" y="542"/>
                    <a:pt x="127" y="542"/>
                    <a:pt x="127" y="542"/>
                  </a:cubicBezTo>
                  <a:cubicBezTo>
                    <a:pt x="132" y="549"/>
                    <a:pt x="132" y="549"/>
                    <a:pt x="132" y="549"/>
                  </a:cubicBezTo>
                  <a:lnTo>
                    <a:pt x="135" y="547"/>
                  </a:lnTo>
                  <a:close/>
                  <a:moveTo>
                    <a:pt x="118" y="535"/>
                  </a:moveTo>
                  <a:cubicBezTo>
                    <a:pt x="123" y="537"/>
                    <a:pt x="123" y="537"/>
                    <a:pt x="123" y="537"/>
                  </a:cubicBezTo>
                  <a:cubicBezTo>
                    <a:pt x="127" y="536"/>
                    <a:pt x="127" y="536"/>
                    <a:pt x="127" y="536"/>
                  </a:cubicBezTo>
                  <a:cubicBezTo>
                    <a:pt x="127" y="536"/>
                    <a:pt x="127" y="529"/>
                    <a:pt x="123" y="530"/>
                  </a:cubicBezTo>
                  <a:cubicBezTo>
                    <a:pt x="117" y="530"/>
                    <a:pt x="115" y="531"/>
                    <a:pt x="115" y="531"/>
                  </a:cubicBezTo>
                  <a:cubicBezTo>
                    <a:pt x="116" y="535"/>
                    <a:pt x="116" y="535"/>
                    <a:pt x="116" y="535"/>
                  </a:cubicBezTo>
                  <a:lnTo>
                    <a:pt x="118" y="535"/>
                  </a:lnTo>
                  <a:close/>
                  <a:moveTo>
                    <a:pt x="138" y="522"/>
                  </a:moveTo>
                  <a:cubicBezTo>
                    <a:pt x="138" y="522"/>
                    <a:pt x="131" y="524"/>
                    <a:pt x="131" y="528"/>
                  </a:cubicBezTo>
                  <a:cubicBezTo>
                    <a:pt x="131" y="533"/>
                    <a:pt x="138" y="530"/>
                    <a:pt x="145" y="529"/>
                  </a:cubicBezTo>
                  <a:cubicBezTo>
                    <a:pt x="154" y="526"/>
                    <a:pt x="158" y="523"/>
                    <a:pt x="156" y="522"/>
                  </a:cubicBezTo>
                  <a:cubicBezTo>
                    <a:pt x="154" y="521"/>
                    <a:pt x="150" y="521"/>
                    <a:pt x="150" y="521"/>
                  </a:cubicBezTo>
                  <a:cubicBezTo>
                    <a:pt x="150" y="518"/>
                    <a:pt x="150" y="518"/>
                    <a:pt x="150" y="518"/>
                  </a:cubicBezTo>
                  <a:cubicBezTo>
                    <a:pt x="150" y="518"/>
                    <a:pt x="147" y="518"/>
                    <a:pt x="143" y="519"/>
                  </a:cubicBezTo>
                  <a:cubicBezTo>
                    <a:pt x="139" y="519"/>
                    <a:pt x="138" y="522"/>
                    <a:pt x="138" y="522"/>
                  </a:cubicBezTo>
                  <a:close/>
                  <a:moveTo>
                    <a:pt x="139" y="516"/>
                  </a:moveTo>
                  <a:cubicBezTo>
                    <a:pt x="147" y="514"/>
                    <a:pt x="147" y="514"/>
                    <a:pt x="147" y="514"/>
                  </a:cubicBezTo>
                  <a:cubicBezTo>
                    <a:pt x="146" y="508"/>
                    <a:pt x="146" y="508"/>
                    <a:pt x="146" y="508"/>
                  </a:cubicBezTo>
                  <a:cubicBezTo>
                    <a:pt x="146" y="508"/>
                    <a:pt x="142" y="513"/>
                    <a:pt x="139" y="513"/>
                  </a:cubicBezTo>
                  <a:cubicBezTo>
                    <a:pt x="137" y="514"/>
                    <a:pt x="131" y="515"/>
                    <a:pt x="131" y="515"/>
                  </a:cubicBezTo>
                  <a:cubicBezTo>
                    <a:pt x="132" y="516"/>
                    <a:pt x="132" y="516"/>
                    <a:pt x="132" y="516"/>
                  </a:cubicBezTo>
                  <a:lnTo>
                    <a:pt x="139" y="516"/>
                  </a:lnTo>
                  <a:close/>
                  <a:moveTo>
                    <a:pt x="159" y="517"/>
                  </a:moveTo>
                  <a:cubicBezTo>
                    <a:pt x="154" y="518"/>
                    <a:pt x="154" y="518"/>
                    <a:pt x="154" y="518"/>
                  </a:cubicBezTo>
                  <a:cubicBezTo>
                    <a:pt x="153" y="519"/>
                    <a:pt x="153" y="519"/>
                    <a:pt x="153" y="519"/>
                  </a:cubicBezTo>
                  <a:cubicBezTo>
                    <a:pt x="159" y="519"/>
                    <a:pt x="159" y="519"/>
                    <a:pt x="159" y="519"/>
                  </a:cubicBezTo>
                  <a:lnTo>
                    <a:pt x="159" y="517"/>
                  </a:lnTo>
                  <a:close/>
                  <a:moveTo>
                    <a:pt x="162" y="515"/>
                  </a:moveTo>
                  <a:cubicBezTo>
                    <a:pt x="162" y="521"/>
                    <a:pt x="162" y="521"/>
                    <a:pt x="162" y="521"/>
                  </a:cubicBezTo>
                  <a:cubicBezTo>
                    <a:pt x="166" y="519"/>
                    <a:pt x="166" y="519"/>
                    <a:pt x="166" y="519"/>
                  </a:cubicBezTo>
                  <a:lnTo>
                    <a:pt x="162" y="515"/>
                  </a:lnTo>
                  <a:close/>
                  <a:moveTo>
                    <a:pt x="235" y="425"/>
                  </a:moveTo>
                  <a:cubicBezTo>
                    <a:pt x="235" y="425"/>
                    <a:pt x="232" y="424"/>
                    <a:pt x="230" y="425"/>
                  </a:cubicBezTo>
                  <a:cubicBezTo>
                    <a:pt x="227" y="427"/>
                    <a:pt x="229" y="430"/>
                    <a:pt x="229" y="430"/>
                  </a:cubicBezTo>
                  <a:lnTo>
                    <a:pt x="235" y="425"/>
                  </a:lnTo>
                  <a:close/>
                  <a:moveTo>
                    <a:pt x="215" y="439"/>
                  </a:moveTo>
                  <a:cubicBezTo>
                    <a:pt x="216" y="439"/>
                    <a:pt x="214" y="441"/>
                    <a:pt x="214" y="441"/>
                  </a:cubicBezTo>
                  <a:cubicBezTo>
                    <a:pt x="216" y="443"/>
                    <a:pt x="216" y="443"/>
                    <a:pt x="216" y="443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9"/>
                    <a:pt x="220" y="434"/>
                    <a:pt x="214" y="435"/>
                  </a:cubicBezTo>
                  <a:cubicBezTo>
                    <a:pt x="210" y="436"/>
                    <a:pt x="207" y="440"/>
                    <a:pt x="207" y="440"/>
                  </a:cubicBezTo>
                  <a:cubicBezTo>
                    <a:pt x="210" y="442"/>
                    <a:pt x="210" y="442"/>
                    <a:pt x="210" y="442"/>
                  </a:cubicBezTo>
                  <a:cubicBezTo>
                    <a:pt x="210" y="442"/>
                    <a:pt x="214" y="438"/>
                    <a:pt x="215" y="439"/>
                  </a:cubicBezTo>
                  <a:close/>
                  <a:moveTo>
                    <a:pt x="239" y="396"/>
                  </a:moveTo>
                  <a:cubicBezTo>
                    <a:pt x="244" y="390"/>
                    <a:pt x="244" y="390"/>
                    <a:pt x="244" y="390"/>
                  </a:cubicBezTo>
                  <a:cubicBezTo>
                    <a:pt x="242" y="387"/>
                    <a:pt x="242" y="387"/>
                    <a:pt x="242" y="387"/>
                  </a:cubicBezTo>
                  <a:cubicBezTo>
                    <a:pt x="242" y="387"/>
                    <a:pt x="236" y="386"/>
                    <a:pt x="237" y="391"/>
                  </a:cubicBezTo>
                  <a:cubicBezTo>
                    <a:pt x="237" y="396"/>
                    <a:pt x="239" y="396"/>
                    <a:pt x="239" y="396"/>
                  </a:cubicBezTo>
                  <a:close/>
                  <a:moveTo>
                    <a:pt x="242" y="408"/>
                  </a:moveTo>
                  <a:cubicBezTo>
                    <a:pt x="244" y="408"/>
                    <a:pt x="244" y="408"/>
                    <a:pt x="244" y="408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4" y="402"/>
                    <a:pt x="244" y="402"/>
                    <a:pt x="244" y="402"/>
                  </a:cubicBezTo>
                  <a:lnTo>
                    <a:pt x="242" y="408"/>
                  </a:lnTo>
                  <a:close/>
                  <a:moveTo>
                    <a:pt x="259" y="367"/>
                  </a:moveTo>
                  <a:cubicBezTo>
                    <a:pt x="259" y="367"/>
                    <a:pt x="254" y="371"/>
                    <a:pt x="253" y="373"/>
                  </a:cubicBezTo>
                  <a:cubicBezTo>
                    <a:pt x="252" y="374"/>
                    <a:pt x="255" y="378"/>
                    <a:pt x="255" y="378"/>
                  </a:cubicBezTo>
                  <a:cubicBezTo>
                    <a:pt x="260" y="373"/>
                    <a:pt x="260" y="373"/>
                    <a:pt x="260" y="373"/>
                  </a:cubicBezTo>
                  <a:cubicBezTo>
                    <a:pt x="265" y="370"/>
                    <a:pt x="265" y="370"/>
                    <a:pt x="265" y="370"/>
                  </a:cubicBezTo>
                  <a:cubicBezTo>
                    <a:pt x="266" y="367"/>
                    <a:pt x="266" y="367"/>
                    <a:pt x="266" y="367"/>
                  </a:cubicBezTo>
                  <a:cubicBezTo>
                    <a:pt x="260" y="370"/>
                    <a:pt x="260" y="370"/>
                    <a:pt x="260" y="370"/>
                  </a:cubicBezTo>
                  <a:lnTo>
                    <a:pt x="259" y="367"/>
                  </a:lnTo>
                  <a:close/>
                  <a:moveTo>
                    <a:pt x="253" y="366"/>
                  </a:moveTo>
                  <a:cubicBezTo>
                    <a:pt x="259" y="363"/>
                    <a:pt x="259" y="363"/>
                    <a:pt x="259" y="363"/>
                  </a:cubicBezTo>
                  <a:cubicBezTo>
                    <a:pt x="260" y="360"/>
                    <a:pt x="260" y="360"/>
                    <a:pt x="260" y="360"/>
                  </a:cubicBezTo>
                  <a:cubicBezTo>
                    <a:pt x="258" y="359"/>
                    <a:pt x="258" y="359"/>
                    <a:pt x="258" y="359"/>
                  </a:cubicBezTo>
                  <a:cubicBezTo>
                    <a:pt x="260" y="357"/>
                    <a:pt x="260" y="357"/>
                    <a:pt x="260" y="357"/>
                  </a:cubicBezTo>
                  <a:cubicBezTo>
                    <a:pt x="259" y="353"/>
                    <a:pt x="259" y="353"/>
                    <a:pt x="259" y="353"/>
                  </a:cubicBezTo>
                  <a:cubicBezTo>
                    <a:pt x="255" y="356"/>
                    <a:pt x="255" y="356"/>
                    <a:pt x="255" y="356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2" y="363"/>
                    <a:pt x="252" y="363"/>
                    <a:pt x="252" y="363"/>
                  </a:cubicBezTo>
                  <a:lnTo>
                    <a:pt x="253" y="366"/>
                  </a:lnTo>
                  <a:close/>
                  <a:moveTo>
                    <a:pt x="263" y="349"/>
                  </a:moveTo>
                  <a:cubicBezTo>
                    <a:pt x="262" y="352"/>
                    <a:pt x="262" y="352"/>
                    <a:pt x="262" y="352"/>
                  </a:cubicBezTo>
                  <a:cubicBezTo>
                    <a:pt x="264" y="355"/>
                    <a:pt x="264" y="355"/>
                    <a:pt x="264" y="355"/>
                  </a:cubicBezTo>
                  <a:cubicBezTo>
                    <a:pt x="268" y="350"/>
                    <a:pt x="268" y="350"/>
                    <a:pt x="268" y="350"/>
                  </a:cubicBezTo>
                  <a:lnTo>
                    <a:pt x="263" y="349"/>
                  </a:lnTo>
                  <a:close/>
                  <a:moveTo>
                    <a:pt x="264" y="359"/>
                  </a:moveTo>
                  <a:cubicBezTo>
                    <a:pt x="265" y="357"/>
                    <a:pt x="265" y="357"/>
                    <a:pt x="265" y="357"/>
                  </a:cubicBezTo>
                  <a:cubicBezTo>
                    <a:pt x="262" y="357"/>
                    <a:pt x="262" y="357"/>
                    <a:pt x="262" y="357"/>
                  </a:cubicBezTo>
                  <a:lnTo>
                    <a:pt x="264" y="359"/>
                  </a:lnTo>
                  <a:close/>
                  <a:moveTo>
                    <a:pt x="266" y="343"/>
                  </a:moveTo>
                  <a:cubicBezTo>
                    <a:pt x="269" y="340"/>
                    <a:pt x="269" y="340"/>
                    <a:pt x="269" y="340"/>
                  </a:cubicBezTo>
                  <a:cubicBezTo>
                    <a:pt x="265" y="339"/>
                    <a:pt x="265" y="339"/>
                    <a:pt x="265" y="339"/>
                  </a:cubicBezTo>
                  <a:lnTo>
                    <a:pt x="266" y="343"/>
                  </a:lnTo>
                  <a:close/>
                  <a:moveTo>
                    <a:pt x="261" y="330"/>
                  </a:moveTo>
                  <a:cubicBezTo>
                    <a:pt x="258" y="329"/>
                    <a:pt x="258" y="329"/>
                    <a:pt x="258" y="329"/>
                  </a:cubicBezTo>
                  <a:cubicBezTo>
                    <a:pt x="257" y="333"/>
                    <a:pt x="257" y="333"/>
                    <a:pt x="257" y="333"/>
                  </a:cubicBezTo>
                  <a:cubicBezTo>
                    <a:pt x="260" y="332"/>
                    <a:pt x="260" y="332"/>
                    <a:pt x="260" y="332"/>
                  </a:cubicBezTo>
                  <a:lnTo>
                    <a:pt x="261" y="330"/>
                  </a:lnTo>
                  <a:close/>
                  <a:moveTo>
                    <a:pt x="272" y="351"/>
                  </a:moveTo>
                  <a:cubicBezTo>
                    <a:pt x="269" y="350"/>
                    <a:pt x="269" y="350"/>
                    <a:pt x="269" y="350"/>
                  </a:cubicBezTo>
                  <a:cubicBezTo>
                    <a:pt x="268" y="356"/>
                    <a:pt x="268" y="356"/>
                    <a:pt x="268" y="356"/>
                  </a:cubicBezTo>
                  <a:lnTo>
                    <a:pt x="272" y="351"/>
                  </a:lnTo>
                  <a:close/>
                  <a:moveTo>
                    <a:pt x="280" y="319"/>
                  </a:moveTo>
                  <a:cubicBezTo>
                    <a:pt x="278" y="317"/>
                    <a:pt x="278" y="317"/>
                    <a:pt x="278" y="317"/>
                  </a:cubicBezTo>
                  <a:cubicBezTo>
                    <a:pt x="276" y="320"/>
                    <a:pt x="276" y="320"/>
                    <a:pt x="276" y="320"/>
                  </a:cubicBezTo>
                  <a:lnTo>
                    <a:pt x="280" y="319"/>
                  </a:lnTo>
                  <a:close/>
                  <a:moveTo>
                    <a:pt x="284" y="313"/>
                  </a:moveTo>
                  <a:cubicBezTo>
                    <a:pt x="279" y="312"/>
                    <a:pt x="279" y="312"/>
                    <a:pt x="279" y="312"/>
                  </a:cubicBezTo>
                  <a:cubicBezTo>
                    <a:pt x="276" y="315"/>
                    <a:pt x="276" y="315"/>
                    <a:pt x="276" y="315"/>
                  </a:cubicBezTo>
                  <a:cubicBezTo>
                    <a:pt x="284" y="315"/>
                    <a:pt x="284" y="315"/>
                    <a:pt x="284" y="315"/>
                  </a:cubicBezTo>
                  <a:lnTo>
                    <a:pt x="284" y="313"/>
                  </a:lnTo>
                  <a:close/>
                  <a:moveTo>
                    <a:pt x="301" y="300"/>
                  </a:moveTo>
                  <a:cubicBezTo>
                    <a:pt x="304" y="290"/>
                    <a:pt x="304" y="290"/>
                    <a:pt x="304" y="290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1" y="294"/>
                    <a:pt x="301" y="294"/>
                    <a:pt x="301" y="294"/>
                  </a:cubicBezTo>
                  <a:cubicBezTo>
                    <a:pt x="297" y="292"/>
                    <a:pt x="297" y="292"/>
                    <a:pt x="297" y="292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300" y="298"/>
                    <a:pt x="300" y="298"/>
                    <a:pt x="300" y="298"/>
                  </a:cubicBezTo>
                  <a:cubicBezTo>
                    <a:pt x="300" y="300"/>
                    <a:pt x="300" y="300"/>
                    <a:pt x="300" y="300"/>
                  </a:cubicBezTo>
                  <a:lnTo>
                    <a:pt x="301" y="300"/>
                  </a:lnTo>
                  <a:close/>
                  <a:moveTo>
                    <a:pt x="305" y="276"/>
                  </a:moveTo>
                  <a:cubicBezTo>
                    <a:pt x="298" y="279"/>
                    <a:pt x="304" y="279"/>
                    <a:pt x="306" y="278"/>
                  </a:cubicBezTo>
                  <a:cubicBezTo>
                    <a:pt x="311" y="276"/>
                    <a:pt x="310" y="273"/>
                    <a:pt x="305" y="276"/>
                  </a:cubicBezTo>
                  <a:close/>
                  <a:moveTo>
                    <a:pt x="262" y="260"/>
                  </a:moveTo>
                  <a:cubicBezTo>
                    <a:pt x="260" y="266"/>
                    <a:pt x="260" y="266"/>
                    <a:pt x="260" y="266"/>
                  </a:cubicBezTo>
                  <a:cubicBezTo>
                    <a:pt x="265" y="263"/>
                    <a:pt x="265" y="263"/>
                    <a:pt x="265" y="263"/>
                  </a:cubicBezTo>
                  <a:lnTo>
                    <a:pt x="262" y="260"/>
                  </a:lnTo>
                  <a:close/>
                  <a:moveTo>
                    <a:pt x="320" y="244"/>
                  </a:moveTo>
                  <a:cubicBezTo>
                    <a:pt x="327" y="242"/>
                    <a:pt x="327" y="242"/>
                    <a:pt x="327" y="242"/>
                  </a:cubicBezTo>
                  <a:cubicBezTo>
                    <a:pt x="327" y="241"/>
                    <a:pt x="327" y="241"/>
                    <a:pt x="327" y="241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44"/>
                  </a:lnTo>
                  <a:close/>
                  <a:moveTo>
                    <a:pt x="323" y="236"/>
                  </a:moveTo>
                  <a:cubicBezTo>
                    <a:pt x="327" y="239"/>
                    <a:pt x="327" y="239"/>
                    <a:pt x="327" y="239"/>
                  </a:cubicBezTo>
                  <a:cubicBezTo>
                    <a:pt x="327" y="238"/>
                    <a:pt x="324" y="234"/>
                    <a:pt x="324" y="234"/>
                  </a:cubicBezTo>
                  <a:lnTo>
                    <a:pt x="323" y="236"/>
                  </a:lnTo>
                  <a:close/>
                  <a:moveTo>
                    <a:pt x="353" y="201"/>
                  </a:moveTo>
                  <a:cubicBezTo>
                    <a:pt x="346" y="195"/>
                    <a:pt x="347" y="207"/>
                    <a:pt x="347" y="207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45" y="210"/>
                    <a:pt x="345" y="210"/>
                    <a:pt x="345" y="210"/>
                  </a:cubicBezTo>
                  <a:cubicBezTo>
                    <a:pt x="351" y="208"/>
                    <a:pt x="351" y="208"/>
                    <a:pt x="351" y="208"/>
                  </a:cubicBezTo>
                  <a:cubicBezTo>
                    <a:pt x="351" y="208"/>
                    <a:pt x="358" y="206"/>
                    <a:pt x="353" y="201"/>
                  </a:cubicBezTo>
                  <a:close/>
                  <a:moveTo>
                    <a:pt x="343" y="217"/>
                  </a:moveTo>
                  <a:cubicBezTo>
                    <a:pt x="348" y="213"/>
                    <a:pt x="348" y="213"/>
                    <a:pt x="348" y="213"/>
                  </a:cubicBezTo>
                  <a:cubicBezTo>
                    <a:pt x="343" y="214"/>
                    <a:pt x="343" y="214"/>
                    <a:pt x="343" y="214"/>
                  </a:cubicBezTo>
                  <a:lnTo>
                    <a:pt x="343" y="217"/>
                  </a:lnTo>
                  <a:close/>
                  <a:moveTo>
                    <a:pt x="350" y="229"/>
                  </a:moveTo>
                  <a:cubicBezTo>
                    <a:pt x="348" y="232"/>
                    <a:pt x="348" y="232"/>
                    <a:pt x="348" y="232"/>
                  </a:cubicBezTo>
                  <a:cubicBezTo>
                    <a:pt x="354" y="232"/>
                    <a:pt x="354" y="232"/>
                    <a:pt x="354" y="232"/>
                  </a:cubicBezTo>
                  <a:lnTo>
                    <a:pt x="350" y="229"/>
                  </a:lnTo>
                  <a:close/>
                  <a:moveTo>
                    <a:pt x="265" y="251"/>
                  </a:moveTo>
                  <a:cubicBezTo>
                    <a:pt x="265" y="251"/>
                    <a:pt x="270" y="250"/>
                    <a:pt x="271" y="247"/>
                  </a:cubicBezTo>
                  <a:cubicBezTo>
                    <a:pt x="271" y="245"/>
                    <a:pt x="270" y="242"/>
                    <a:pt x="271" y="242"/>
                  </a:cubicBezTo>
                  <a:cubicBezTo>
                    <a:pt x="272" y="242"/>
                    <a:pt x="275" y="238"/>
                    <a:pt x="275" y="238"/>
                  </a:cubicBezTo>
                  <a:cubicBezTo>
                    <a:pt x="275" y="238"/>
                    <a:pt x="281" y="237"/>
                    <a:pt x="281" y="232"/>
                  </a:cubicBezTo>
                  <a:cubicBezTo>
                    <a:pt x="281" y="226"/>
                    <a:pt x="278" y="227"/>
                    <a:pt x="278" y="227"/>
                  </a:cubicBezTo>
                  <a:cubicBezTo>
                    <a:pt x="274" y="235"/>
                    <a:pt x="274" y="235"/>
                    <a:pt x="274" y="235"/>
                  </a:cubicBezTo>
                  <a:cubicBezTo>
                    <a:pt x="272" y="232"/>
                    <a:pt x="272" y="232"/>
                    <a:pt x="272" y="232"/>
                  </a:cubicBezTo>
                  <a:cubicBezTo>
                    <a:pt x="272" y="232"/>
                    <a:pt x="266" y="239"/>
                    <a:pt x="266" y="242"/>
                  </a:cubicBezTo>
                  <a:cubicBezTo>
                    <a:pt x="265" y="245"/>
                    <a:pt x="266" y="247"/>
                    <a:pt x="266" y="248"/>
                  </a:cubicBezTo>
                  <a:cubicBezTo>
                    <a:pt x="266" y="249"/>
                    <a:pt x="264" y="250"/>
                    <a:pt x="265" y="251"/>
                  </a:cubicBezTo>
                  <a:close/>
                  <a:moveTo>
                    <a:pt x="282" y="233"/>
                  </a:moveTo>
                  <a:cubicBezTo>
                    <a:pt x="282" y="233"/>
                    <a:pt x="287" y="233"/>
                    <a:pt x="289" y="232"/>
                  </a:cubicBezTo>
                  <a:cubicBezTo>
                    <a:pt x="292" y="231"/>
                    <a:pt x="290" y="226"/>
                    <a:pt x="290" y="226"/>
                  </a:cubicBezTo>
                  <a:cubicBezTo>
                    <a:pt x="290" y="226"/>
                    <a:pt x="297" y="222"/>
                    <a:pt x="301" y="221"/>
                  </a:cubicBezTo>
                  <a:cubicBezTo>
                    <a:pt x="303" y="220"/>
                    <a:pt x="298" y="215"/>
                    <a:pt x="296" y="215"/>
                  </a:cubicBezTo>
                  <a:cubicBezTo>
                    <a:pt x="293" y="215"/>
                    <a:pt x="298" y="219"/>
                    <a:pt x="296" y="220"/>
                  </a:cubicBezTo>
                  <a:cubicBezTo>
                    <a:pt x="294" y="221"/>
                    <a:pt x="292" y="215"/>
                    <a:pt x="292" y="215"/>
                  </a:cubicBezTo>
                  <a:cubicBezTo>
                    <a:pt x="288" y="219"/>
                    <a:pt x="288" y="219"/>
                    <a:pt x="288" y="219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85" y="223"/>
                    <a:pt x="285" y="223"/>
                    <a:pt x="285" y="223"/>
                  </a:cubicBezTo>
                  <a:cubicBezTo>
                    <a:pt x="282" y="224"/>
                    <a:pt x="282" y="224"/>
                    <a:pt x="282" y="224"/>
                  </a:cubicBezTo>
                  <a:cubicBezTo>
                    <a:pt x="282" y="227"/>
                    <a:pt x="282" y="227"/>
                    <a:pt x="282" y="227"/>
                  </a:cubicBezTo>
                  <a:cubicBezTo>
                    <a:pt x="284" y="229"/>
                    <a:pt x="284" y="229"/>
                    <a:pt x="284" y="229"/>
                  </a:cubicBezTo>
                  <a:lnTo>
                    <a:pt x="282" y="233"/>
                  </a:lnTo>
                  <a:close/>
                  <a:moveTo>
                    <a:pt x="303" y="221"/>
                  </a:moveTo>
                  <a:cubicBezTo>
                    <a:pt x="303" y="223"/>
                    <a:pt x="301" y="226"/>
                    <a:pt x="301" y="226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11" y="216"/>
                    <a:pt x="311" y="216"/>
                    <a:pt x="311" y="216"/>
                  </a:cubicBezTo>
                  <a:cubicBezTo>
                    <a:pt x="313" y="220"/>
                    <a:pt x="313" y="220"/>
                    <a:pt x="313" y="220"/>
                  </a:cubicBezTo>
                  <a:cubicBezTo>
                    <a:pt x="322" y="207"/>
                    <a:pt x="322" y="207"/>
                    <a:pt x="322" y="207"/>
                  </a:cubicBezTo>
                  <a:cubicBezTo>
                    <a:pt x="322" y="207"/>
                    <a:pt x="317" y="208"/>
                    <a:pt x="317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05" y="213"/>
                    <a:pt x="305" y="213"/>
                    <a:pt x="305" y="213"/>
                  </a:cubicBezTo>
                  <a:cubicBezTo>
                    <a:pt x="306" y="217"/>
                    <a:pt x="306" y="217"/>
                    <a:pt x="306" y="217"/>
                  </a:cubicBezTo>
                  <a:cubicBezTo>
                    <a:pt x="303" y="216"/>
                    <a:pt x="303" y="216"/>
                    <a:pt x="303" y="216"/>
                  </a:cubicBezTo>
                  <a:cubicBezTo>
                    <a:pt x="303" y="216"/>
                    <a:pt x="304" y="219"/>
                    <a:pt x="303" y="221"/>
                  </a:cubicBezTo>
                  <a:close/>
                  <a:moveTo>
                    <a:pt x="362" y="187"/>
                  </a:moveTo>
                  <a:cubicBezTo>
                    <a:pt x="362" y="187"/>
                    <a:pt x="366" y="187"/>
                    <a:pt x="367" y="186"/>
                  </a:cubicBezTo>
                  <a:cubicBezTo>
                    <a:pt x="369" y="186"/>
                    <a:pt x="372" y="184"/>
                    <a:pt x="372" y="184"/>
                  </a:cubicBezTo>
                  <a:cubicBezTo>
                    <a:pt x="367" y="178"/>
                    <a:pt x="367" y="178"/>
                    <a:pt x="367" y="178"/>
                  </a:cubicBezTo>
                  <a:lnTo>
                    <a:pt x="362" y="187"/>
                  </a:lnTo>
                  <a:close/>
                  <a:moveTo>
                    <a:pt x="378" y="177"/>
                  </a:moveTo>
                  <a:cubicBezTo>
                    <a:pt x="377" y="175"/>
                    <a:pt x="376" y="174"/>
                    <a:pt x="374" y="174"/>
                  </a:cubicBezTo>
                  <a:cubicBezTo>
                    <a:pt x="371" y="173"/>
                    <a:pt x="369" y="175"/>
                    <a:pt x="369" y="175"/>
                  </a:cubicBezTo>
                  <a:cubicBezTo>
                    <a:pt x="369" y="175"/>
                    <a:pt x="370" y="182"/>
                    <a:pt x="373" y="182"/>
                  </a:cubicBezTo>
                  <a:cubicBezTo>
                    <a:pt x="375" y="183"/>
                    <a:pt x="379" y="178"/>
                    <a:pt x="378" y="177"/>
                  </a:cubicBezTo>
                  <a:close/>
                  <a:moveTo>
                    <a:pt x="352" y="177"/>
                  </a:moveTo>
                  <a:cubicBezTo>
                    <a:pt x="355" y="179"/>
                    <a:pt x="357" y="179"/>
                    <a:pt x="357" y="179"/>
                  </a:cubicBezTo>
                  <a:cubicBezTo>
                    <a:pt x="357" y="174"/>
                    <a:pt x="357" y="174"/>
                    <a:pt x="357" y="174"/>
                  </a:cubicBezTo>
                  <a:cubicBezTo>
                    <a:pt x="350" y="171"/>
                    <a:pt x="350" y="171"/>
                    <a:pt x="350" y="171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50" y="177"/>
                    <a:pt x="352" y="177"/>
                  </a:cubicBezTo>
                  <a:close/>
                  <a:moveTo>
                    <a:pt x="348" y="178"/>
                  </a:moveTo>
                  <a:cubicBezTo>
                    <a:pt x="344" y="183"/>
                    <a:pt x="344" y="183"/>
                    <a:pt x="344" y="183"/>
                  </a:cubicBezTo>
                  <a:cubicBezTo>
                    <a:pt x="348" y="188"/>
                    <a:pt x="348" y="188"/>
                    <a:pt x="348" y="188"/>
                  </a:cubicBezTo>
                  <a:cubicBezTo>
                    <a:pt x="344" y="189"/>
                    <a:pt x="344" y="189"/>
                    <a:pt x="344" y="189"/>
                  </a:cubicBezTo>
                  <a:cubicBezTo>
                    <a:pt x="337" y="201"/>
                    <a:pt x="337" y="201"/>
                    <a:pt x="337" y="201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2" y="177"/>
                    <a:pt x="338" y="175"/>
                  </a:cubicBezTo>
                  <a:cubicBezTo>
                    <a:pt x="333" y="173"/>
                    <a:pt x="333" y="185"/>
                    <a:pt x="333" y="185"/>
                  </a:cubicBezTo>
                  <a:cubicBezTo>
                    <a:pt x="330" y="186"/>
                    <a:pt x="330" y="186"/>
                    <a:pt x="330" y="186"/>
                  </a:cubicBezTo>
                  <a:cubicBezTo>
                    <a:pt x="331" y="197"/>
                    <a:pt x="331" y="197"/>
                    <a:pt x="331" y="197"/>
                  </a:cubicBezTo>
                  <a:cubicBezTo>
                    <a:pt x="324" y="202"/>
                    <a:pt x="324" y="202"/>
                    <a:pt x="324" y="202"/>
                  </a:cubicBezTo>
                  <a:cubicBezTo>
                    <a:pt x="325" y="206"/>
                    <a:pt x="325" y="206"/>
                    <a:pt x="325" y="206"/>
                  </a:cubicBezTo>
                  <a:cubicBezTo>
                    <a:pt x="319" y="218"/>
                    <a:pt x="319" y="218"/>
                    <a:pt x="319" y="218"/>
                  </a:cubicBezTo>
                  <a:cubicBezTo>
                    <a:pt x="322" y="218"/>
                    <a:pt x="322" y="218"/>
                    <a:pt x="322" y="218"/>
                  </a:cubicBezTo>
                  <a:cubicBezTo>
                    <a:pt x="331" y="208"/>
                    <a:pt x="331" y="208"/>
                    <a:pt x="331" y="208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35" y="215"/>
                    <a:pt x="335" y="215"/>
                    <a:pt x="335" y="215"/>
                  </a:cubicBezTo>
                  <a:cubicBezTo>
                    <a:pt x="336" y="215"/>
                    <a:pt x="337" y="209"/>
                    <a:pt x="337" y="209"/>
                  </a:cubicBezTo>
                  <a:cubicBezTo>
                    <a:pt x="340" y="211"/>
                    <a:pt x="340" y="211"/>
                    <a:pt x="340" y="211"/>
                  </a:cubicBezTo>
                  <a:cubicBezTo>
                    <a:pt x="340" y="211"/>
                    <a:pt x="345" y="202"/>
                    <a:pt x="346" y="200"/>
                  </a:cubicBezTo>
                  <a:cubicBezTo>
                    <a:pt x="347" y="198"/>
                    <a:pt x="354" y="198"/>
                    <a:pt x="354" y="198"/>
                  </a:cubicBezTo>
                  <a:cubicBezTo>
                    <a:pt x="354" y="198"/>
                    <a:pt x="357" y="193"/>
                    <a:pt x="358" y="188"/>
                  </a:cubicBezTo>
                  <a:cubicBezTo>
                    <a:pt x="359" y="184"/>
                    <a:pt x="348" y="178"/>
                    <a:pt x="348" y="178"/>
                  </a:cubicBezTo>
                  <a:close/>
                  <a:moveTo>
                    <a:pt x="330" y="179"/>
                  </a:moveTo>
                  <a:cubicBezTo>
                    <a:pt x="330" y="174"/>
                    <a:pt x="330" y="174"/>
                    <a:pt x="330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43" y="162"/>
                    <a:pt x="343" y="162"/>
                    <a:pt x="343" y="162"/>
                  </a:cubicBezTo>
                  <a:cubicBezTo>
                    <a:pt x="343" y="162"/>
                    <a:pt x="351" y="146"/>
                    <a:pt x="341" y="155"/>
                  </a:cubicBezTo>
                  <a:cubicBezTo>
                    <a:pt x="331" y="162"/>
                    <a:pt x="326" y="174"/>
                    <a:pt x="327" y="177"/>
                  </a:cubicBezTo>
                  <a:cubicBezTo>
                    <a:pt x="328" y="181"/>
                    <a:pt x="330" y="179"/>
                    <a:pt x="330" y="179"/>
                  </a:cubicBezTo>
                  <a:close/>
                  <a:moveTo>
                    <a:pt x="312" y="197"/>
                  </a:moveTo>
                  <a:cubicBezTo>
                    <a:pt x="315" y="194"/>
                    <a:pt x="319" y="192"/>
                    <a:pt x="319" y="192"/>
                  </a:cubicBezTo>
                  <a:cubicBezTo>
                    <a:pt x="313" y="199"/>
                    <a:pt x="313" y="199"/>
                    <a:pt x="313" y="199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27" y="191"/>
                    <a:pt x="327" y="191"/>
                    <a:pt x="327" y="191"/>
                  </a:cubicBezTo>
                  <a:cubicBezTo>
                    <a:pt x="325" y="187"/>
                    <a:pt x="325" y="187"/>
                    <a:pt x="325" y="187"/>
                  </a:cubicBezTo>
                  <a:cubicBezTo>
                    <a:pt x="327" y="185"/>
                    <a:pt x="327" y="185"/>
                    <a:pt x="327" y="185"/>
                  </a:cubicBezTo>
                  <a:cubicBezTo>
                    <a:pt x="322" y="171"/>
                    <a:pt x="322" y="171"/>
                    <a:pt x="322" y="171"/>
                  </a:cubicBezTo>
                  <a:cubicBezTo>
                    <a:pt x="315" y="172"/>
                    <a:pt x="315" y="172"/>
                    <a:pt x="315" y="172"/>
                  </a:cubicBezTo>
                  <a:cubicBezTo>
                    <a:pt x="320" y="183"/>
                    <a:pt x="320" y="183"/>
                    <a:pt x="320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7" y="188"/>
                    <a:pt x="317" y="188"/>
                    <a:pt x="317" y="188"/>
                  </a:cubicBezTo>
                  <a:cubicBezTo>
                    <a:pt x="309" y="186"/>
                    <a:pt x="309" y="186"/>
                    <a:pt x="309" y="186"/>
                  </a:cubicBezTo>
                  <a:cubicBezTo>
                    <a:pt x="309" y="186"/>
                    <a:pt x="306" y="191"/>
                    <a:pt x="305" y="194"/>
                  </a:cubicBezTo>
                  <a:cubicBezTo>
                    <a:pt x="303" y="199"/>
                    <a:pt x="308" y="198"/>
                    <a:pt x="312" y="197"/>
                  </a:cubicBezTo>
                  <a:close/>
                  <a:moveTo>
                    <a:pt x="309" y="186"/>
                  </a:moveTo>
                  <a:cubicBezTo>
                    <a:pt x="309" y="186"/>
                    <a:pt x="309" y="186"/>
                    <a:pt x="309" y="186"/>
                  </a:cubicBezTo>
                  <a:moveTo>
                    <a:pt x="313" y="206"/>
                  </a:moveTo>
                  <a:cubicBezTo>
                    <a:pt x="322" y="206"/>
                    <a:pt x="319" y="202"/>
                    <a:pt x="313" y="202"/>
                  </a:cubicBezTo>
                  <a:cubicBezTo>
                    <a:pt x="307" y="202"/>
                    <a:pt x="306" y="206"/>
                    <a:pt x="313" y="206"/>
                  </a:cubicBezTo>
                  <a:close/>
                  <a:moveTo>
                    <a:pt x="361" y="157"/>
                  </a:moveTo>
                  <a:cubicBezTo>
                    <a:pt x="367" y="159"/>
                    <a:pt x="367" y="159"/>
                    <a:pt x="367" y="159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62" y="168"/>
                    <a:pt x="368" y="170"/>
                    <a:pt x="371" y="168"/>
                  </a:cubicBezTo>
                  <a:cubicBezTo>
                    <a:pt x="376" y="157"/>
                    <a:pt x="376" y="157"/>
                    <a:pt x="376" y="157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9" y="144"/>
                    <a:pt x="389" y="144"/>
                    <a:pt x="389" y="144"/>
                  </a:cubicBezTo>
                  <a:cubicBezTo>
                    <a:pt x="389" y="144"/>
                    <a:pt x="391" y="135"/>
                    <a:pt x="384" y="132"/>
                  </a:cubicBezTo>
                  <a:cubicBezTo>
                    <a:pt x="376" y="129"/>
                    <a:pt x="370" y="139"/>
                    <a:pt x="370" y="139"/>
                  </a:cubicBezTo>
                  <a:cubicBezTo>
                    <a:pt x="375" y="145"/>
                    <a:pt x="375" y="145"/>
                    <a:pt x="375" y="145"/>
                  </a:cubicBezTo>
                  <a:cubicBezTo>
                    <a:pt x="371" y="143"/>
                    <a:pt x="371" y="143"/>
                    <a:pt x="371" y="143"/>
                  </a:cubicBezTo>
                  <a:cubicBezTo>
                    <a:pt x="371" y="143"/>
                    <a:pt x="362" y="144"/>
                    <a:pt x="362" y="145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7" y="152"/>
                    <a:pt x="367" y="152"/>
                    <a:pt x="367" y="152"/>
                  </a:cubicBezTo>
                  <a:cubicBezTo>
                    <a:pt x="360" y="155"/>
                    <a:pt x="360" y="155"/>
                    <a:pt x="360" y="155"/>
                  </a:cubicBezTo>
                  <a:lnTo>
                    <a:pt x="361" y="157"/>
                  </a:lnTo>
                  <a:close/>
                  <a:moveTo>
                    <a:pt x="401" y="132"/>
                  </a:moveTo>
                  <a:cubicBezTo>
                    <a:pt x="406" y="130"/>
                    <a:pt x="406" y="127"/>
                    <a:pt x="406" y="127"/>
                  </a:cubicBezTo>
                  <a:cubicBezTo>
                    <a:pt x="404" y="127"/>
                    <a:pt x="404" y="127"/>
                    <a:pt x="404" y="127"/>
                  </a:cubicBezTo>
                  <a:cubicBezTo>
                    <a:pt x="404" y="127"/>
                    <a:pt x="405" y="121"/>
                    <a:pt x="407" y="120"/>
                  </a:cubicBezTo>
                  <a:cubicBezTo>
                    <a:pt x="408" y="119"/>
                    <a:pt x="410" y="118"/>
                    <a:pt x="410" y="118"/>
                  </a:cubicBezTo>
                  <a:cubicBezTo>
                    <a:pt x="410" y="118"/>
                    <a:pt x="408" y="111"/>
                    <a:pt x="403" y="112"/>
                  </a:cubicBezTo>
                  <a:cubicBezTo>
                    <a:pt x="399" y="112"/>
                    <a:pt x="401" y="119"/>
                    <a:pt x="401" y="119"/>
                  </a:cubicBezTo>
                  <a:cubicBezTo>
                    <a:pt x="397" y="118"/>
                    <a:pt x="397" y="118"/>
                    <a:pt x="397" y="118"/>
                  </a:cubicBezTo>
                  <a:cubicBezTo>
                    <a:pt x="393" y="121"/>
                    <a:pt x="393" y="121"/>
                    <a:pt x="393" y="121"/>
                  </a:cubicBezTo>
                  <a:cubicBezTo>
                    <a:pt x="394" y="124"/>
                    <a:pt x="394" y="124"/>
                    <a:pt x="394" y="124"/>
                  </a:cubicBezTo>
                  <a:cubicBezTo>
                    <a:pt x="390" y="123"/>
                    <a:pt x="390" y="123"/>
                    <a:pt x="390" y="123"/>
                  </a:cubicBezTo>
                  <a:cubicBezTo>
                    <a:pt x="389" y="126"/>
                    <a:pt x="389" y="126"/>
                    <a:pt x="389" y="126"/>
                  </a:cubicBezTo>
                  <a:cubicBezTo>
                    <a:pt x="390" y="129"/>
                    <a:pt x="390" y="129"/>
                    <a:pt x="390" y="129"/>
                  </a:cubicBezTo>
                  <a:cubicBezTo>
                    <a:pt x="388" y="128"/>
                    <a:pt x="388" y="128"/>
                    <a:pt x="388" y="128"/>
                  </a:cubicBezTo>
                  <a:cubicBezTo>
                    <a:pt x="388" y="132"/>
                    <a:pt x="388" y="132"/>
                    <a:pt x="388" y="132"/>
                  </a:cubicBezTo>
                  <a:cubicBezTo>
                    <a:pt x="388" y="132"/>
                    <a:pt x="395" y="134"/>
                    <a:pt x="401" y="132"/>
                  </a:cubicBezTo>
                  <a:close/>
                  <a:moveTo>
                    <a:pt x="408" y="111"/>
                  </a:moveTo>
                  <a:cubicBezTo>
                    <a:pt x="410" y="112"/>
                    <a:pt x="411" y="112"/>
                    <a:pt x="411" y="112"/>
                  </a:cubicBezTo>
                  <a:cubicBezTo>
                    <a:pt x="412" y="115"/>
                    <a:pt x="412" y="115"/>
                    <a:pt x="412" y="115"/>
                  </a:cubicBezTo>
                  <a:cubicBezTo>
                    <a:pt x="412" y="115"/>
                    <a:pt x="420" y="113"/>
                    <a:pt x="420" y="109"/>
                  </a:cubicBezTo>
                  <a:cubicBezTo>
                    <a:pt x="420" y="106"/>
                    <a:pt x="420" y="106"/>
                    <a:pt x="420" y="106"/>
                  </a:cubicBezTo>
                  <a:cubicBezTo>
                    <a:pt x="420" y="106"/>
                    <a:pt x="426" y="104"/>
                    <a:pt x="424" y="102"/>
                  </a:cubicBezTo>
                  <a:cubicBezTo>
                    <a:pt x="423" y="99"/>
                    <a:pt x="418" y="100"/>
                    <a:pt x="418" y="100"/>
                  </a:cubicBezTo>
                  <a:cubicBezTo>
                    <a:pt x="418" y="100"/>
                    <a:pt x="416" y="96"/>
                    <a:pt x="411" y="97"/>
                  </a:cubicBezTo>
                  <a:cubicBezTo>
                    <a:pt x="408" y="98"/>
                    <a:pt x="403" y="106"/>
                    <a:pt x="403" y="106"/>
                  </a:cubicBezTo>
                  <a:cubicBezTo>
                    <a:pt x="403" y="106"/>
                    <a:pt x="406" y="110"/>
                    <a:pt x="408" y="111"/>
                  </a:cubicBezTo>
                  <a:close/>
                  <a:moveTo>
                    <a:pt x="424" y="106"/>
                  </a:moveTo>
                  <a:cubicBezTo>
                    <a:pt x="421" y="111"/>
                    <a:pt x="421" y="111"/>
                    <a:pt x="421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33" y="100"/>
                    <a:pt x="433" y="100"/>
                    <a:pt x="433" y="100"/>
                  </a:cubicBezTo>
                  <a:cubicBezTo>
                    <a:pt x="429" y="100"/>
                    <a:pt x="429" y="100"/>
                    <a:pt x="429" y="100"/>
                  </a:cubicBezTo>
                  <a:lnTo>
                    <a:pt x="424" y="106"/>
                  </a:lnTo>
                  <a:close/>
                  <a:moveTo>
                    <a:pt x="426" y="97"/>
                  </a:moveTo>
                  <a:cubicBezTo>
                    <a:pt x="433" y="98"/>
                    <a:pt x="434" y="97"/>
                    <a:pt x="433" y="93"/>
                  </a:cubicBezTo>
                  <a:cubicBezTo>
                    <a:pt x="431" y="90"/>
                    <a:pt x="427" y="87"/>
                    <a:pt x="427" y="87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2" y="83"/>
                    <a:pt x="422" y="83"/>
                    <a:pt x="422" y="83"/>
                  </a:cubicBezTo>
                  <a:cubicBezTo>
                    <a:pt x="420" y="87"/>
                    <a:pt x="420" y="87"/>
                    <a:pt x="420" y="87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4" y="94"/>
                    <a:pt x="422" y="96"/>
                    <a:pt x="426" y="97"/>
                  </a:cubicBezTo>
                  <a:close/>
                  <a:moveTo>
                    <a:pt x="421" y="95"/>
                  </a:moveTo>
                  <a:cubicBezTo>
                    <a:pt x="417" y="91"/>
                    <a:pt x="417" y="91"/>
                    <a:pt x="417" y="91"/>
                  </a:cubicBezTo>
                  <a:cubicBezTo>
                    <a:pt x="417" y="94"/>
                    <a:pt x="417" y="94"/>
                    <a:pt x="417" y="94"/>
                  </a:cubicBezTo>
                  <a:lnTo>
                    <a:pt x="421" y="95"/>
                  </a:lnTo>
                  <a:close/>
                  <a:moveTo>
                    <a:pt x="413" y="95"/>
                  </a:moveTo>
                  <a:cubicBezTo>
                    <a:pt x="415" y="87"/>
                    <a:pt x="415" y="87"/>
                    <a:pt x="415" y="87"/>
                  </a:cubicBezTo>
                  <a:cubicBezTo>
                    <a:pt x="409" y="84"/>
                    <a:pt x="409" y="84"/>
                    <a:pt x="409" y="84"/>
                  </a:cubicBezTo>
                  <a:cubicBezTo>
                    <a:pt x="409" y="95"/>
                    <a:pt x="409" y="95"/>
                    <a:pt x="409" y="95"/>
                  </a:cubicBezTo>
                  <a:lnTo>
                    <a:pt x="413" y="95"/>
                  </a:lnTo>
                  <a:close/>
                  <a:moveTo>
                    <a:pt x="407" y="97"/>
                  </a:moveTo>
                  <a:cubicBezTo>
                    <a:pt x="403" y="94"/>
                    <a:pt x="403" y="94"/>
                    <a:pt x="403" y="94"/>
                  </a:cubicBezTo>
                  <a:cubicBezTo>
                    <a:pt x="403" y="98"/>
                    <a:pt x="403" y="98"/>
                    <a:pt x="403" y="98"/>
                  </a:cubicBezTo>
                  <a:cubicBezTo>
                    <a:pt x="397" y="96"/>
                    <a:pt x="397" y="96"/>
                    <a:pt x="397" y="96"/>
                  </a:cubicBezTo>
                  <a:cubicBezTo>
                    <a:pt x="400" y="103"/>
                    <a:pt x="400" y="103"/>
                    <a:pt x="400" y="103"/>
                  </a:cubicBezTo>
                  <a:lnTo>
                    <a:pt x="407" y="97"/>
                  </a:lnTo>
                  <a:close/>
                  <a:moveTo>
                    <a:pt x="443" y="96"/>
                  </a:moveTo>
                  <a:cubicBezTo>
                    <a:pt x="449" y="97"/>
                    <a:pt x="452" y="90"/>
                    <a:pt x="449" y="84"/>
                  </a:cubicBezTo>
                  <a:cubicBezTo>
                    <a:pt x="446" y="79"/>
                    <a:pt x="441" y="83"/>
                    <a:pt x="440" y="90"/>
                  </a:cubicBezTo>
                  <a:cubicBezTo>
                    <a:pt x="439" y="95"/>
                    <a:pt x="443" y="96"/>
                    <a:pt x="443" y="96"/>
                  </a:cubicBezTo>
                  <a:close/>
                  <a:moveTo>
                    <a:pt x="455" y="99"/>
                  </a:moveTo>
                  <a:cubicBezTo>
                    <a:pt x="451" y="96"/>
                    <a:pt x="451" y="96"/>
                    <a:pt x="451" y="96"/>
                  </a:cubicBezTo>
                  <a:cubicBezTo>
                    <a:pt x="451" y="96"/>
                    <a:pt x="449" y="99"/>
                    <a:pt x="448" y="100"/>
                  </a:cubicBezTo>
                  <a:lnTo>
                    <a:pt x="455" y="99"/>
                  </a:lnTo>
                  <a:close/>
                  <a:moveTo>
                    <a:pt x="445" y="105"/>
                  </a:moveTo>
                  <a:cubicBezTo>
                    <a:pt x="444" y="111"/>
                    <a:pt x="444" y="111"/>
                    <a:pt x="444" y="111"/>
                  </a:cubicBezTo>
                  <a:cubicBezTo>
                    <a:pt x="449" y="109"/>
                    <a:pt x="449" y="109"/>
                    <a:pt x="449" y="109"/>
                  </a:cubicBezTo>
                  <a:cubicBezTo>
                    <a:pt x="448" y="104"/>
                    <a:pt x="448" y="104"/>
                    <a:pt x="448" y="104"/>
                  </a:cubicBezTo>
                  <a:lnTo>
                    <a:pt x="445" y="105"/>
                  </a:lnTo>
                  <a:close/>
                  <a:moveTo>
                    <a:pt x="474" y="58"/>
                  </a:moveTo>
                  <a:cubicBezTo>
                    <a:pt x="479" y="58"/>
                    <a:pt x="479" y="58"/>
                    <a:pt x="479" y="58"/>
                  </a:cubicBezTo>
                  <a:cubicBezTo>
                    <a:pt x="476" y="63"/>
                    <a:pt x="476" y="63"/>
                    <a:pt x="476" y="63"/>
                  </a:cubicBezTo>
                  <a:cubicBezTo>
                    <a:pt x="478" y="65"/>
                    <a:pt x="484" y="64"/>
                    <a:pt x="492" y="60"/>
                  </a:cubicBezTo>
                  <a:cubicBezTo>
                    <a:pt x="500" y="56"/>
                    <a:pt x="497" y="50"/>
                    <a:pt x="497" y="50"/>
                  </a:cubicBezTo>
                  <a:cubicBezTo>
                    <a:pt x="504" y="41"/>
                    <a:pt x="504" y="41"/>
                    <a:pt x="504" y="41"/>
                  </a:cubicBezTo>
                  <a:cubicBezTo>
                    <a:pt x="500" y="36"/>
                    <a:pt x="500" y="36"/>
                    <a:pt x="500" y="36"/>
                  </a:cubicBezTo>
                  <a:cubicBezTo>
                    <a:pt x="492" y="40"/>
                    <a:pt x="492" y="40"/>
                    <a:pt x="492" y="40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88" y="44"/>
                    <a:pt x="488" y="44"/>
                    <a:pt x="488" y="44"/>
                  </a:cubicBezTo>
                  <a:cubicBezTo>
                    <a:pt x="486" y="46"/>
                    <a:pt x="486" y="46"/>
                    <a:pt x="486" y="46"/>
                  </a:cubicBezTo>
                  <a:cubicBezTo>
                    <a:pt x="490" y="52"/>
                    <a:pt x="490" y="52"/>
                    <a:pt x="490" y="52"/>
                  </a:cubicBezTo>
                  <a:cubicBezTo>
                    <a:pt x="483" y="48"/>
                    <a:pt x="483" y="48"/>
                    <a:pt x="483" y="48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79" y="53"/>
                    <a:pt x="479" y="53"/>
                    <a:pt x="479" y="53"/>
                  </a:cubicBezTo>
                  <a:cubicBezTo>
                    <a:pt x="472" y="55"/>
                    <a:pt x="472" y="55"/>
                    <a:pt x="472" y="55"/>
                  </a:cubicBezTo>
                  <a:lnTo>
                    <a:pt x="474" y="58"/>
                  </a:lnTo>
                  <a:close/>
                  <a:moveTo>
                    <a:pt x="484" y="73"/>
                  </a:moveTo>
                  <a:cubicBezTo>
                    <a:pt x="484" y="76"/>
                    <a:pt x="489" y="76"/>
                    <a:pt x="489" y="76"/>
                  </a:cubicBezTo>
                  <a:cubicBezTo>
                    <a:pt x="489" y="76"/>
                    <a:pt x="498" y="77"/>
                    <a:pt x="497" y="73"/>
                  </a:cubicBezTo>
                  <a:cubicBezTo>
                    <a:pt x="497" y="68"/>
                    <a:pt x="482" y="66"/>
                    <a:pt x="484" y="73"/>
                  </a:cubicBezTo>
                  <a:close/>
                  <a:moveTo>
                    <a:pt x="503" y="55"/>
                  </a:moveTo>
                  <a:cubicBezTo>
                    <a:pt x="501" y="59"/>
                    <a:pt x="501" y="59"/>
                    <a:pt x="501" y="59"/>
                  </a:cubicBezTo>
                  <a:cubicBezTo>
                    <a:pt x="499" y="57"/>
                    <a:pt x="499" y="57"/>
                    <a:pt x="499" y="57"/>
                  </a:cubicBezTo>
                  <a:cubicBezTo>
                    <a:pt x="493" y="66"/>
                    <a:pt x="493" y="66"/>
                    <a:pt x="493" y="66"/>
                  </a:cubicBezTo>
                  <a:cubicBezTo>
                    <a:pt x="499" y="68"/>
                    <a:pt x="499" y="68"/>
                    <a:pt x="499" y="68"/>
                  </a:cubicBezTo>
                  <a:cubicBezTo>
                    <a:pt x="500" y="66"/>
                    <a:pt x="500" y="66"/>
                    <a:pt x="500" y="66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4" y="72"/>
                    <a:pt x="504" y="72"/>
                    <a:pt x="504" y="72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05" y="48"/>
                    <a:pt x="505" y="48"/>
                    <a:pt x="505" y="48"/>
                  </a:cubicBezTo>
                  <a:cubicBezTo>
                    <a:pt x="501" y="50"/>
                    <a:pt x="501" y="50"/>
                    <a:pt x="501" y="50"/>
                  </a:cubicBezTo>
                  <a:lnTo>
                    <a:pt x="503" y="55"/>
                  </a:lnTo>
                  <a:close/>
                  <a:moveTo>
                    <a:pt x="514" y="56"/>
                  </a:moveTo>
                  <a:cubicBezTo>
                    <a:pt x="517" y="56"/>
                    <a:pt x="521" y="48"/>
                    <a:pt x="516" y="43"/>
                  </a:cubicBezTo>
                  <a:cubicBezTo>
                    <a:pt x="509" y="37"/>
                    <a:pt x="505" y="43"/>
                    <a:pt x="508" y="50"/>
                  </a:cubicBezTo>
                  <a:cubicBezTo>
                    <a:pt x="508" y="50"/>
                    <a:pt x="510" y="56"/>
                    <a:pt x="514" y="56"/>
                  </a:cubicBezTo>
                  <a:close/>
                  <a:moveTo>
                    <a:pt x="513" y="22"/>
                  </a:moveTo>
                  <a:cubicBezTo>
                    <a:pt x="506" y="22"/>
                    <a:pt x="511" y="30"/>
                    <a:pt x="511" y="30"/>
                  </a:cubicBezTo>
                  <a:cubicBezTo>
                    <a:pt x="517" y="29"/>
                    <a:pt x="518" y="22"/>
                    <a:pt x="513" y="22"/>
                  </a:cubicBezTo>
                  <a:close/>
                  <a:moveTo>
                    <a:pt x="528" y="14"/>
                  </a:moveTo>
                  <a:cubicBezTo>
                    <a:pt x="523" y="17"/>
                    <a:pt x="523" y="17"/>
                    <a:pt x="523" y="17"/>
                  </a:cubicBezTo>
                  <a:cubicBezTo>
                    <a:pt x="531" y="19"/>
                    <a:pt x="531" y="19"/>
                    <a:pt x="531" y="19"/>
                  </a:cubicBezTo>
                  <a:lnTo>
                    <a:pt x="528" y="14"/>
                  </a:lnTo>
                  <a:close/>
                  <a:moveTo>
                    <a:pt x="538" y="19"/>
                  </a:moveTo>
                  <a:cubicBezTo>
                    <a:pt x="539" y="19"/>
                    <a:pt x="541" y="17"/>
                    <a:pt x="541" y="17"/>
                  </a:cubicBezTo>
                  <a:cubicBezTo>
                    <a:pt x="541" y="20"/>
                    <a:pt x="541" y="20"/>
                    <a:pt x="541" y="20"/>
                  </a:cubicBezTo>
                  <a:cubicBezTo>
                    <a:pt x="548" y="22"/>
                    <a:pt x="548" y="22"/>
                    <a:pt x="548" y="22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559" y="12"/>
                    <a:pt x="559" y="12"/>
                    <a:pt x="559" y="12"/>
                  </a:cubicBezTo>
                  <a:cubicBezTo>
                    <a:pt x="553" y="16"/>
                    <a:pt x="553" y="16"/>
                    <a:pt x="553" y="16"/>
                  </a:cubicBezTo>
                  <a:cubicBezTo>
                    <a:pt x="550" y="14"/>
                    <a:pt x="550" y="14"/>
                    <a:pt x="550" y="14"/>
                  </a:cubicBezTo>
                  <a:cubicBezTo>
                    <a:pt x="555" y="10"/>
                    <a:pt x="555" y="10"/>
                    <a:pt x="555" y="10"/>
                  </a:cubicBezTo>
                  <a:cubicBezTo>
                    <a:pt x="552" y="6"/>
                    <a:pt x="552" y="6"/>
                    <a:pt x="552" y="6"/>
                  </a:cubicBezTo>
                  <a:cubicBezTo>
                    <a:pt x="550" y="10"/>
                    <a:pt x="550" y="10"/>
                    <a:pt x="550" y="10"/>
                  </a:cubicBezTo>
                  <a:cubicBezTo>
                    <a:pt x="548" y="5"/>
                    <a:pt x="548" y="5"/>
                    <a:pt x="548" y="5"/>
                  </a:cubicBezTo>
                  <a:cubicBezTo>
                    <a:pt x="544" y="8"/>
                    <a:pt x="544" y="8"/>
                    <a:pt x="544" y="8"/>
                  </a:cubicBezTo>
                  <a:cubicBezTo>
                    <a:pt x="546" y="12"/>
                    <a:pt x="546" y="12"/>
                    <a:pt x="546" y="12"/>
                  </a:cubicBezTo>
                  <a:cubicBezTo>
                    <a:pt x="537" y="14"/>
                    <a:pt x="537" y="14"/>
                    <a:pt x="537" y="14"/>
                  </a:cubicBezTo>
                  <a:lnTo>
                    <a:pt x="538" y="19"/>
                  </a:lnTo>
                  <a:close/>
                  <a:moveTo>
                    <a:pt x="658" y="62"/>
                  </a:moveTo>
                  <a:cubicBezTo>
                    <a:pt x="659" y="72"/>
                    <a:pt x="659" y="72"/>
                    <a:pt x="659" y="72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2" y="60"/>
                    <a:pt x="662" y="60"/>
                    <a:pt x="662" y="60"/>
                  </a:cubicBezTo>
                  <a:lnTo>
                    <a:pt x="658" y="6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42" name="Freeform 26"/>
            <p:cNvSpPr>
              <a:spLocks/>
            </p:cNvSpPr>
            <p:nvPr/>
          </p:nvSpPr>
          <p:spPr bwMode="auto">
            <a:xfrm>
              <a:off x="3563" y="2115"/>
              <a:ext cx="334" cy="177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43" name="Freeform 27"/>
            <p:cNvSpPr>
              <a:spLocks/>
            </p:cNvSpPr>
            <p:nvPr/>
          </p:nvSpPr>
          <p:spPr bwMode="auto">
            <a:xfrm>
              <a:off x="3529" y="2194"/>
              <a:ext cx="407" cy="272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44" name="Freeform 28"/>
            <p:cNvSpPr>
              <a:spLocks noEditPoints="1"/>
            </p:cNvSpPr>
            <p:nvPr/>
          </p:nvSpPr>
          <p:spPr bwMode="auto">
            <a:xfrm>
              <a:off x="3735" y="1191"/>
              <a:ext cx="292" cy="185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45" name="Freeform 29"/>
            <p:cNvSpPr>
              <a:spLocks/>
            </p:cNvSpPr>
            <p:nvPr/>
          </p:nvSpPr>
          <p:spPr bwMode="auto">
            <a:xfrm>
              <a:off x="3880" y="1471"/>
              <a:ext cx="495" cy="448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46" name="Freeform 30"/>
            <p:cNvSpPr>
              <a:spLocks/>
            </p:cNvSpPr>
            <p:nvPr/>
          </p:nvSpPr>
          <p:spPr bwMode="auto">
            <a:xfrm>
              <a:off x="3718" y="1338"/>
              <a:ext cx="362" cy="204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47" name="Freeform 31"/>
            <p:cNvSpPr>
              <a:spLocks/>
            </p:cNvSpPr>
            <p:nvPr/>
          </p:nvSpPr>
          <p:spPr bwMode="auto">
            <a:xfrm>
              <a:off x="4147" y="2134"/>
              <a:ext cx="244" cy="255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48" name="Freeform 32"/>
            <p:cNvSpPr>
              <a:spLocks noEditPoints="1"/>
            </p:cNvSpPr>
            <p:nvPr/>
          </p:nvSpPr>
          <p:spPr bwMode="auto">
            <a:xfrm>
              <a:off x="3790" y="2166"/>
              <a:ext cx="608" cy="432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49" name="Freeform 33"/>
            <p:cNvSpPr>
              <a:spLocks noEditPoints="1"/>
            </p:cNvSpPr>
            <p:nvPr/>
          </p:nvSpPr>
          <p:spPr bwMode="auto">
            <a:xfrm>
              <a:off x="3557" y="293"/>
              <a:ext cx="519" cy="914"/>
            </a:xfrm>
            <a:custGeom>
              <a:avLst/>
              <a:gdLst/>
              <a:ahLst/>
              <a:cxnLst>
                <a:cxn ang="0">
                  <a:pos x="318" y="380"/>
                </a:cxn>
                <a:cxn ang="0">
                  <a:pos x="302" y="312"/>
                </a:cxn>
                <a:cxn ang="0">
                  <a:pos x="283" y="281"/>
                </a:cxn>
                <a:cxn ang="0">
                  <a:pos x="264" y="225"/>
                </a:cxn>
                <a:cxn ang="0">
                  <a:pos x="205" y="113"/>
                </a:cxn>
                <a:cxn ang="0">
                  <a:pos x="202" y="27"/>
                </a:cxn>
                <a:cxn ang="0">
                  <a:pos x="124" y="29"/>
                </a:cxn>
                <a:cxn ang="0">
                  <a:pos x="105" y="103"/>
                </a:cxn>
                <a:cxn ang="0">
                  <a:pos x="51" y="107"/>
                </a:cxn>
                <a:cxn ang="0">
                  <a:pos x="2" y="90"/>
                </a:cxn>
                <a:cxn ang="0">
                  <a:pos x="23" y="108"/>
                </a:cxn>
                <a:cxn ang="0">
                  <a:pos x="63" y="131"/>
                </a:cxn>
                <a:cxn ang="0">
                  <a:pos x="86" y="186"/>
                </a:cxn>
                <a:cxn ang="0">
                  <a:pos x="106" y="229"/>
                </a:cxn>
                <a:cxn ang="0">
                  <a:pos x="116" y="275"/>
                </a:cxn>
                <a:cxn ang="0">
                  <a:pos x="147" y="294"/>
                </a:cxn>
                <a:cxn ang="0">
                  <a:pos x="163" y="331"/>
                </a:cxn>
                <a:cxn ang="0">
                  <a:pos x="147" y="355"/>
                </a:cxn>
                <a:cxn ang="0">
                  <a:pos x="131" y="401"/>
                </a:cxn>
                <a:cxn ang="0">
                  <a:pos x="108" y="414"/>
                </a:cxn>
                <a:cxn ang="0">
                  <a:pos x="111" y="430"/>
                </a:cxn>
                <a:cxn ang="0">
                  <a:pos x="96" y="438"/>
                </a:cxn>
                <a:cxn ang="0">
                  <a:pos x="80" y="462"/>
                </a:cxn>
                <a:cxn ang="0">
                  <a:pos x="77" y="486"/>
                </a:cxn>
                <a:cxn ang="0">
                  <a:pos x="80" y="523"/>
                </a:cxn>
                <a:cxn ang="0">
                  <a:pos x="91" y="559"/>
                </a:cxn>
                <a:cxn ang="0">
                  <a:pos x="93" y="572"/>
                </a:cxn>
                <a:cxn ang="0">
                  <a:pos x="95" y="598"/>
                </a:cxn>
                <a:cxn ang="0">
                  <a:pos x="95" y="613"/>
                </a:cxn>
                <a:cxn ang="0">
                  <a:pos x="104" y="635"/>
                </a:cxn>
                <a:cxn ang="0">
                  <a:pos x="118" y="635"/>
                </a:cxn>
                <a:cxn ang="0">
                  <a:pos x="144" y="645"/>
                </a:cxn>
                <a:cxn ang="0">
                  <a:pos x="157" y="656"/>
                </a:cxn>
                <a:cxn ang="0">
                  <a:pos x="161" y="666"/>
                </a:cxn>
                <a:cxn ang="0">
                  <a:pos x="189" y="654"/>
                </a:cxn>
                <a:cxn ang="0">
                  <a:pos x="206" y="645"/>
                </a:cxn>
                <a:cxn ang="0">
                  <a:pos x="248" y="626"/>
                </a:cxn>
                <a:cxn ang="0">
                  <a:pos x="260" y="617"/>
                </a:cxn>
                <a:cxn ang="0">
                  <a:pos x="293" y="603"/>
                </a:cxn>
                <a:cxn ang="0">
                  <a:pos x="328" y="554"/>
                </a:cxn>
                <a:cxn ang="0">
                  <a:pos x="382" y="418"/>
                </a:cxn>
                <a:cxn ang="0">
                  <a:pos x="60" y="653"/>
                </a:cxn>
                <a:cxn ang="0">
                  <a:pos x="45" y="651"/>
                </a:cxn>
                <a:cxn ang="0">
                  <a:pos x="50" y="670"/>
                </a:cxn>
                <a:cxn ang="0">
                  <a:pos x="39" y="658"/>
                </a:cxn>
                <a:cxn ang="0">
                  <a:pos x="55" y="670"/>
                </a:cxn>
                <a:cxn ang="0">
                  <a:pos x="107" y="657"/>
                </a:cxn>
                <a:cxn ang="0">
                  <a:pos x="113" y="654"/>
                </a:cxn>
                <a:cxn ang="0">
                  <a:pos x="148" y="643"/>
                </a:cxn>
                <a:cxn ang="0">
                  <a:pos x="136" y="655"/>
                </a:cxn>
                <a:cxn ang="0">
                  <a:pos x="147" y="649"/>
                </a:cxn>
                <a:cxn ang="0">
                  <a:pos x="112" y="643"/>
                </a:cxn>
                <a:cxn ang="0">
                  <a:pos x="99" y="634"/>
                </a:cxn>
                <a:cxn ang="0">
                  <a:pos x="94" y="628"/>
                </a:cxn>
                <a:cxn ang="0">
                  <a:pos x="175" y="667"/>
                </a:cxn>
                <a:cxn ang="0">
                  <a:pos x="62" y="461"/>
                </a:cxn>
                <a:cxn ang="0">
                  <a:pos x="72" y="456"/>
                </a:cxn>
                <a:cxn ang="0">
                  <a:pos x="157" y="329"/>
                </a:cxn>
                <a:cxn ang="0">
                  <a:pos x="153" y="336"/>
                </a:cxn>
                <a:cxn ang="0">
                  <a:pos x="243" y="631"/>
                </a:cxn>
                <a:cxn ang="0">
                  <a:pos x="265" y="614"/>
                </a:cxn>
              </a:cxnLst>
              <a:rect l="0" t="0" r="r" b="b"/>
              <a:pathLst>
                <a:path w="382" h="674">
                  <a:moveTo>
                    <a:pt x="382" y="418"/>
                  </a:moveTo>
                  <a:cubicBezTo>
                    <a:pt x="381" y="412"/>
                    <a:pt x="369" y="412"/>
                    <a:pt x="369" y="412"/>
                  </a:cubicBezTo>
                  <a:cubicBezTo>
                    <a:pt x="366" y="404"/>
                    <a:pt x="366" y="404"/>
                    <a:pt x="366" y="404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39" y="394"/>
                    <a:pt x="339" y="394"/>
                    <a:pt x="339" y="394"/>
                  </a:cubicBezTo>
                  <a:cubicBezTo>
                    <a:pt x="318" y="380"/>
                    <a:pt x="318" y="380"/>
                    <a:pt x="318" y="380"/>
                  </a:cubicBezTo>
                  <a:cubicBezTo>
                    <a:pt x="327" y="374"/>
                    <a:pt x="327" y="374"/>
                    <a:pt x="327" y="374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26" y="370"/>
                    <a:pt x="331" y="355"/>
                    <a:pt x="327" y="346"/>
                  </a:cubicBezTo>
                  <a:cubicBezTo>
                    <a:pt x="323" y="338"/>
                    <a:pt x="313" y="344"/>
                    <a:pt x="308" y="335"/>
                  </a:cubicBezTo>
                  <a:cubicBezTo>
                    <a:pt x="301" y="326"/>
                    <a:pt x="307" y="320"/>
                    <a:pt x="307" y="320"/>
                  </a:cubicBezTo>
                  <a:cubicBezTo>
                    <a:pt x="302" y="312"/>
                    <a:pt x="302" y="312"/>
                    <a:pt x="302" y="312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285" y="301"/>
                    <a:pt x="285" y="301"/>
                    <a:pt x="285" y="301"/>
                  </a:cubicBezTo>
                  <a:cubicBezTo>
                    <a:pt x="292" y="296"/>
                    <a:pt x="292" y="296"/>
                    <a:pt x="292" y="296"/>
                  </a:cubicBezTo>
                  <a:cubicBezTo>
                    <a:pt x="291" y="291"/>
                    <a:pt x="291" y="291"/>
                    <a:pt x="291" y="291"/>
                  </a:cubicBezTo>
                  <a:cubicBezTo>
                    <a:pt x="280" y="293"/>
                    <a:pt x="280" y="293"/>
                    <a:pt x="280" y="293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0" y="272"/>
                    <a:pt x="280" y="272"/>
                    <a:pt x="280" y="272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8" y="259"/>
                    <a:pt x="288" y="259"/>
                    <a:pt x="288" y="259"/>
                  </a:cubicBezTo>
                  <a:cubicBezTo>
                    <a:pt x="288" y="259"/>
                    <a:pt x="286" y="249"/>
                    <a:pt x="281" y="240"/>
                  </a:cubicBezTo>
                  <a:cubicBezTo>
                    <a:pt x="277" y="232"/>
                    <a:pt x="264" y="225"/>
                    <a:pt x="264" y="225"/>
                  </a:cubicBezTo>
                  <a:cubicBezTo>
                    <a:pt x="261" y="223"/>
                    <a:pt x="262" y="214"/>
                    <a:pt x="254" y="208"/>
                  </a:cubicBezTo>
                  <a:cubicBezTo>
                    <a:pt x="248" y="204"/>
                    <a:pt x="237" y="187"/>
                    <a:pt x="237" y="187"/>
                  </a:cubicBezTo>
                  <a:cubicBezTo>
                    <a:pt x="237" y="187"/>
                    <a:pt x="252" y="152"/>
                    <a:pt x="251" y="142"/>
                  </a:cubicBezTo>
                  <a:cubicBezTo>
                    <a:pt x="250" y="133"/>
                    <a:pt x="238" y="133"/>
                    <a:pt x="238" y="133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05" y="113"/>
                    <a:pt x="205" y="113"/>
                    <a:pt x="205" y="113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9" y="70"/>
                    <a:pt x="199" y="70"/>
                    <a:pt x="199" y="70"/>
                  </a:cubicBezTo>
                  <a:cubicBezTo>
                    <a:pt x="188" y="68"/>
                    <a:pt x="188" y="68"/>
                    <a:pt x="188" y="68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197" y="57"/>
                    <a:pt x="194" y="52"/>
                    <a:pt x="194" y="46"/>
                  </a:cubicBezTo>
                  <a:cubicBezTo>
                    <a:pt x="194" y="41"/>
                    <a:pt x="202" y="27"/>
                    <a:pt x="202" y="27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13"/>
                    <a:pt x="163" y="0"/>
                    <a:pt x="157" y="1"/>
                  </a:cubicBezTo>
                  <a:cubicBezTo>
                    <a:pt x="151" y="2"/>
                    <a:pt x="142" y="14"/>
                    <a:pt x="142" y="14"/>
                  </a:cubicBezTo>
                  <a:cubicBezTo>
                    <a:pt x="142" y="14"/>
                    <a:pt x="135" y="12"/>
                    <a:pt x="129" y="15"/>
                  </a:cubicBezTo>
                  <a:cubicBezTo>
                    <a:pt x="123" y="17"/>
                    <a:pt x="124" y="29"/>
                    <a:pt x="124" y="29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1" y="75"/>
                    <a:pt x="122" y="80"/>
                  </a:cubicBezTo>
                  <a:cubicBezTo>
                    <a:pt x="122" y="86"/>
                    <a:pt x="119" y="90"/>
                    <a:pt x="117" y="93"/>
                  </a:cubicBezTo>
                  <a:cubicBezTo>
                    <a:pt x="114" y="97"/>
                    <a:pt x="112" y="110"/>
                    <a:pt x="112" y="110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1" y="97"/>
                    <a:pt x="86" y="97"/>
                  </a:cubicBezTo>
                  <a:cubicBezTo>
                    <a:pt x="80" y="97"/>
                    <a:pt x="78" y="105"/>
                    <a:pt x="78" y="105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4" y="99"/>
                    <a:pt x="37" y="93"/>
                  </a:cubicBezTo>
                  <a:cubicBezTo>
                    <a:pt x="32" y="88"/>
                    <a:pt x="25" y="78"/>
                    <a:pt x="25" y="78"/>
                  </a:cubicBezTo>
                  <a:cubicBezTo>
                    <a:pt x="25" y="78"/>
                    <a:pt x="16" y="75"/>
                    <a:pt x="12" y="80"/>
                  </a:cubicBezTo>
                  <a:cubicBezTo>
                    <a:pt x="6" y="84"/>
                    <a:pt x="14" y="91"/>
                    <a:pt x="13" y="93"/>
                  </a:cubicBezTo>
                  <a:cubicBezTo>
                    <a:pt x="11" y="95"/>
                    <a:pt x="2" y="90"/>
                    <a:pt x="2" y="9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53" y="126"/>
                    <a:pt x="63" y="131"/>
                  </a:cubicBezTo>
                  <a:cubicBezTo>
                    <a:pt x="72" y="136"/>
                    <a:pt x="73" y="146"/>
                    <a:pt x="73" y="146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86" y="152"/>
                    <a:pt x="88" y="155"/>
                  </a:cubicBezTo>
                  <a:cubicBezTo>
                    <a:pt x="90" y="158"/>
                    <a:pt x="85" y="158"/>
                    <a:pt x="84" y="162"/>
                  </a:cubicBezTo>
                  <a:cubicBezTo>
                    <a:pt x="83" y="167"/>
                    <a:pt x="85" y="170"/>
                    <a:pt x="86" y="174"/>
                  </a:cubicBezTo>
                  <a:cubicBezTo>
                    <a:pt x="88" y="180"/>
                    <a:pt x="86" y="186"/>
                    <a:pt x="86" y="186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95" y="197"/>
                    <a:pt x="94" y="199"/>
                    <a:pt x="94" y="204"/>
                  </a:cubicBezTo>
                  <a:cubicBezTo>
                    <a:pt x="94" y="210"/>
                    <a:pt x="103" y="215"/>
                    <a:pt x="105" y="218"/>
                  </a:cubicBezTo>
                  <a:cubicBezTo>
                    <a:pt x="107" y="222"/>
                    <a:pt x="106" y="229"/>
                    <a:pt x="106" y="229"/>
                  </a:cubicBezTo>
                  <a:cubicBezTo>
                    <a:pt x="106" y="229"/>
                    <a:pt x="108" y="233"/>
                    <a:pt x="110" y="237"/>
                  </a:cubicBezTo>
                  <a:cubicBezTo>
                    <a:pt x="111" y="240"/>
                    <a:pt x="106" y="243"/>
                    <a:pt x="103" y="248"/>
                  </a:cubicBezTo>
                  <a:cubicBezTo>
                    <a:pt x="101" y="252"/>
                    <a:pt x="106" y="253"/>
                    <a:pt x="106" y="253"/>
                  </a:cubicBezTo>
                  <a:cubicBezTo>
                    <a:pt x="106" y="253"/>
                    <a:pt x="106" y="254"/>
                    <a:pt x="105" y="260"/>
                  </a:cubicBezTo>
                  <a:cubicBezTo>
                    <a:pt x="105" y="264"/>
                    <a:pt x="112" y="265"/>
                    <a:pt x="114" y="266"/>
                  </a:cubicBezTo>
                  <a:cubicBezTo>
                    <a:pt x="116" y="268"/>
                    <a:pt x="115" y="271"/>
                    <a:pt x="116" y="275"/>
                  </a:cubicBezTo>
                  <a:cubicBezTo>
                    <a:pt x="117" y="279"/>
                    <a:pt x="122" y="281"/>
                    <a:pt x="122" y="281"/>
                  </a:cubicBezTo>
                  <a:cubicBezTo>
                    <a:pt x="123" y="288"/>
                    <a:pt x="123" y="288"/>
                    <a:pt x="123" y="288"/>
                  </a:cubicBezTo>
                  <a:cubicBezTo>
                    <a:pt x="128" y="286"/>
                    <a:pt x="128" y="286"/>
                    <a:pt x="128" y="286"/>
                  </a:cubicBezTo>
                  <a:cubicBezTo>
                    <a:pt x="139" y="293"/>
                    <a:pt x="139" y="293"/>
                    <a:pt x="139" y="293"/>
                  </a:cubicBezTo>
                  <a:cubicBezTo>
                    <a:pt x="139" y="295"/>
                    <a:pt x="139" y="295"/>
                    <a:pt x="139" y="295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54" y="297"/>
                    <a:pt x="154" y="297"/>
                    <a:pt x="154" y="297"/>
                  </a:cubicBezTo>
                  <a:cubicBezTo>
                    <a:pt x="154" y="297"/>
                    <a:pt x="159" y="301"/>
                    <a:pt x="162" y="308"/>
                  </a:cubicBezTo>
                  <a:cubicBezTo>
                    <a:pt x="166" y="314"/>
                    <a:pt x="162" y="324"/>
                    <a:pt x="162" y="324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2" y="334"/>
                    <a:pt x="162" y="334"/>
                    <a:pt x="162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7" y="342"/>
                    <a:pt x="160" y="340"/>
                    <a:pt x="154" y="341"/>
                  </a:cubicBezTo>
                  <a:cubicBezTo>
                    <a:pt x="150" y="342"/>
                    <a:pt x="147" y="346"/>
                    <a:pt x="147" y="346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66"/>
                    <a:pt x="145" y="366"/>
                    <a:pt x="145" y="366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37" y="376"/>
                    <a:pt x="137" y="376"/>
                    <a:pt x="137" y="376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1" y="401"/>
                    <a:pt x="131" y="401"/>
                    <a:pt x="131" y="401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409"/>
                    <a:pt x="124" y="409"/>
                    <a:pt x="124" y="409"/>
                  </a:cubicBezTo>
                  <a:cubicBezTo>
                    <a:pt x="117" y="413"/>
                    <a:pt x="117" y="413"/>
                    <a:pt x="117" y="413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2" y="413"/>
                    <a:pt x="112" y="413"/>
                    <a:pt x="112" y="413"/>
                  </a:cubicBezTo>
                  <a:cubicBezTo>
                    <a:pt x="108" y="414"/>
                    <a:pt x="108" y="414"/>
                    <a:pt x="108" y="414"/>
                  </a:cubicBezTo>
                  <a:cubicBezTo>
                    <a:pt x="108" y="417"/>
                    <a:pt x="108" y="417"/>
                    <a:pt x="108" y="417"/>
                  </a:cubicBezTo>
                  <a:cubicBezTo>
                    <a:pt x="106" y="418"/>
                    <a:pt x="106" y="418"/>
                    <a:pt x="106" y="418"/>
                  </a:cubicBezTo>
                  <a:cubicBezTo>
                    <a:pt x="105" y="421"/>
                    <a:pt x="105" y="421"/>
                    <a:pt x="105" y="421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3" y="422"/>
                    <a:pt x="113" y="422"/>
                    <a:pt x="113" y="422"/>
                  </a:cubicBezTo>
                  <a:cubicBezTo>
                    <a:pt x="111" y="430"/>
                    <a:pt x="111" y="430"/>
                    <a:pt x="111" y="430"/>
                  </a:cubicBezTo>
                  <a:cubicBezTo>
                    <a:pt x="111" y="430"/>
                    <a:pt x="107" y="426"/>
                    <a:pt x="104" y="428"/>
                  </a:cubicBezTo>
                  <a:cubicBezTo>
                    <a:pt x="100" y="430"/>
                    <a:pt x="102" y="436"/>
                    <a:pt x="102" y="436"/>
                  </a:cubicBezTo>
                  <a:cubicBezTo>
                    <a:pt x="102" y="439"/>
                    <a:pt x="102" y="439"/>
                    <a:pt x="102" y="439"/>
                  </a:cubicBezTo>
                  <a:cubicBezTo>
                    <a:pt x="101" y="441"/>
                    <a:pt x="100" y="442"/>
                    <a:pt x="100" y="442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6" y="438"/>
                    <a:pt x="96" y="438"/>
                    <a:pt x="96" y="438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444"/>
                    <a:pt x="99" y="455"/>
                    <a:pt x="98" y="457"/>
                  </a:cubicBezTo>
                  <a:cubicBezTo>
                    <a:pt x="97" y="460"/>
                    <a:pt x="91" y="458"/>
                    <a:pt x="89" y="458"/>
                  </a:cubicBezTo>
                  <a:cubicBezTo>
                    <a:pt x="82" y="458"/>
                    <a:pt x="82" y="458"/>
                    <a:pt x="82" y="458"/>
                  </a:cubicBezTo>
                  <a:cubicBezTo>
                    <a:pt x="82" y="458"/>
                    <a:pt x="82" y="462"/>
                    <a:pt x="80" y="462"/>
                  </a:cubicBezTo>
                  <a:cubicBezTo>
                    <a:pt x="79" y="462"/>
                    <a:pt x="77" y="459"/>
                    <a:pt x="77" y="459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83" y="475"/>
                    <a:pt x="83" y="475"/>
                    <a:pt x="83" y="475"/>
                  </a:cubicBezTo>
                  <a:cubicBezTo>
                    <a:pt x="77" y="474"/>
                    <a:pt x="77" y="474"/>
                    <a:pt x="77" y="474"/>
                  </a:cubicBezTo>
                  <a:cubicBezTo>
                    <a:pt x="75" y="482"/>
                    <a:pt x="75" y="482"/>
                    <a:pt x="75" y="482"/>
                  </a:cubicBezTo>
                  <a:cubicBezTo>
                    <a:pt x="75" y="482"/>
                    <a:pt x="77" y="484"/>
                    <a:pt x="77" y="486"/>
                  </a:cubicBezTo>
                  <a:cubicBezTo>
                    <a:pt x="77" y="487"/>
                    <a:pt x="72" y="487"/>
                    <a:pt x="72" y="487"/>
                  </a:cubicBezTo>
                  <a:cubicBezTo>
                    <a:pt x="69" y="492"/>
                    <a:pt x="69" y="492"/>
                    <a:pt x="69" y="492"/>
                  </a:cubicBezTo>
                  <a:cubicBezTo>
                    <a:pt x="68" y="504"/>
                    <a:pt x="68" y="504"/>
                    <a:pt x="68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72" y="504"/>
                    <a:pt x="69" y="508"/>
                    <a:pt x="70" y="513"/>
                  </a:cubicBezTo>
                  <a:cubicBezTo>
                    <a:pt x="70" y="517"/>
                    <a:pt x="78" y="519"/>
                    <a:pt x="80" y="523"/>
                  </a:cubicBezTo>
                  <a:cubicBezTo>
                    <a:pt x="83" y="528"/>
                    <a:pt x="80" y="534"/>
                    <a:pt x="80" y="534"/>
                  </a:cubicBezTo>
                  <a:cubicBezTo>
                    <a:pt x="80" y="543"/>
                    <a:pt x="80" y="543"/>
                    <a:pt x="80" y="543"/>
                  </a:cubicBezTo>
                  <a:cubicBezTo>
                    <a:pt x="83" y="546"/>
                    <a:pt x="83" y="546"/>
                    <a:pt x="83" y="546"/>
                  </a:cubicBezTo>
                  <a:cubicBezTo>
                    <a:pt x="86" y="544"/>
                    <a:pt x="86" y="544"/>
                    <a:pt x="86" y="544"/>
                  </a:cubicBezTo>
                  <a:cubicBezTo>
                    <a:pt x="86" y="544"/>
                    <a:pt x="86" y="550"/>
                    <a:pt x="87" y="552"/>
                  </a:cubicBezTo>
                  <a:cubicBezTo>
                    <a:pt x="88" y="555"/>
                    <a:pt x="91" y="559"/>
                    <a:pt x="91" y="559"/>
                  </a:cubicBezTo>
                  <a:cubicBezTo>
                    <a:pt x="90" y="561"/>
                    <a:pt x="90" y="561"/>
                    <a:pt x="90" y="561"/>
                  </a:cubicBezTo>
                  <a:cubicBezTo>
                    <a:pt x="94" y="562"/>
                    <a:pt x="94" y="562"/>
                    <a:pt x="94" y="562"/>
                  </a:cubicBezTo>
                  <a:cubicBezTo>
                    <a:pt x="95" y="567"/>
                    <a:pt x="95" y="567"/>
                    <a:pt x="95" y="567"/>
                  </a:cubicBezTo>
                  <a:cubicBezTo>
                    <a:pt x="90" y="566"/>
                    <a:pt x="90" y="566"/>
                    <a:pt x="90" y="566"/>
                  </a:cubicBezTo>
                  <a:cubicBezTo>
                    <a:pt x="90" y="569"/>
                    <a:pt x="90" y="569"/>
                    <a:pt x="90" y="569"/>
                  </a:cubicBezTo>
                  <a:cubicBezTo>
                    <a:pt x="93" y="572"/>
                    <a:pt x="93" y="572"/>
                    <a:pt x="93" y="572"/>
                  </a:cubicBezTo>
                  <a:cubicBezTo>
                    <a:pt x="89" y="572"/>
                    <a:pt x="89" y="572"/>
                    <a:pt x="89" y="572"/>
                  </a:cubicBezTo>
                  <a:cubicBezTo>
                    <a:pt x="93" y="577"/>
                    <a:pt x="93" y="577"/>
                    <a:pt x="93" y="577"/>
                  </a:cubicBezTo>
                  <a:cubicBezTo>
                    <a:pt x="90" y="578"/>
                    <a:pt x="90" y="578"/>
                    <a:pt x="90" y="578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5" y="584"/>
                    <a:pt x="96" y="588"/>
                    <a:pt x="94" y="591"/>
                  </a:cubicBezTo>
                  <a:cubicBezTo>
                    <a:pt x="91" y="593"/>
                    <a:pt x="95" y="598"/>
                    <a:pt x="95" y="598"/>
                  </a:cubicBezTo>
                  <a:cubicBezTo>
                    <a:pt x="95" y="598"/>
                    <a:pt x="90" y="599"/>
                    <a:pt x="90" y="603"/>
                  </a:cubicBezTo>
                  <a:cubicBezTo>
                    <a:pt x="91" y="607"/>
                    <a:pt x="94" y="610"/>
                    <a:pt x="94" y="610"/>
                  </a:cubicBezTo>
                  <a:cubicBezTo>
                    <a:pt x="91" y="610"/>
                    <a:pt x="91" y="610"/>
                    <a:pt x="91" y="610"/>
                  </a:cubicBezTo>
                  <a:cubicBezTo>
                    <a:pt x="88" y="607"/>
                    <a:pt x="88" y="607"/>
                    <a:pt x="88" y="607"/>
                  </a:cubicBezTo>
                  <a:cubicBezTo>
                    <a:pt x="87" y="613"/>
                    <a:pt x="87" y="613"/>
                    <a:pt x="87" y="613"/>
                  </a:cubicBezTo>
                  <a:cubicBezTo>
                    <a:pt x="95" y="613"/>
                    <a:pt x="95" y="613"/>
                    <a:pt x="95" y="613"/>
                  </a:cubicBezTo>
                  <a:cubicBezTo>
                    <a:pt x="93" y="614"/>
                    <a:pt x="93" y="614"/>
                    <a:pt x="93" y="614"/>
                  </a:cubicBezTo>
                  <a:cubicBezTo>
                    <a:pt x="94" y="619"/>
                    <a:pt x="94" y="619"/>
                    <a:pt x="94" y="619"/>
                  </a:cubicBezTo>
                  <a:cubicBezTo>
                    <a:pt x="97" y="622"/>
                    <a:pt x="97" y="622"/>
                    <a:pt x="97" y="622"/>
                  </a:cubicBezTo>
                  <a:cubicBezTo>
                    <a:pt x="97" y="622"/>
                    <a:pt x="95" y="624"/>
                    <a:pt x="97" y="628"/>
                  </a:cubicBezTo>
                  <a:cubicBezTo>
                    <a:pt x="99" y="632"/>
                    <a:pt x="101" y="632"/>
                    <a:pt x="101" y="632"/>
                  </a:cubicBezTo>
                  <a:cubicBezTo>
                    <a:pt x="104" y="635"/>
                    <a:pt x="104" y="635"/>
                    <a:pt x="104" y="635"/>
                  </a:cubicBezTo>
                  <a:cubicBezTo>
                    <a:pt x="104" y="630"/>
                    <a:pt x="104" y="630"/>
                    <a:pt x="104" y="630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35"/>
                    <a:pt x="110" y="635"/>
                    <a:pt x="110" y="635"/>
                  </a:cubicBezTo>
                  <a:cubicBezTo>
                    <a:pt x="112" y="635"/>
                    <a:pt x="112" y="635"/>
                    <a:pt x="112" y="635"/>
                  </a:cubicBezTo>
                  <a:cubicBezTo>
                    <a:pt x="113" y="631"/>
                    <a:pt x="113" y="631"/>
                    <a:pt x="113" y="631"/>
                  </a:cubicBezTo>
                  <a:cubicBezTo>
                    <a:pt x="118" y="635"/>
                    <a:pt x="118" y="635"/>
                    <a:pt x="118" y="635"/>
                  </a:cubicBezTo>
                  <a:cubicBezTo>
                    <a:pt x="124" y="635"/>
                    <a:pt x="124" y="635"/>
                    <a:pt x="124" y="635"/>
                  </a:cubicBezTo>
                  <a:cubicBezTo>
                    <a:pt x="131" y="638"/>
                    <a:pt x="131" y="638"/>
                    <a:pt x="131" y="638"/>
                  </a:cubicBezTo>
                  <a:cubicBezTo>
                    <a:pt x="137" y="638"/>
                    <a:pt x="137" y="638"/>
                    <a:pt x="137" y="638"/>
                  </a:cubicBezTo>
                  <a:cubicBezTo>
                    <a:pt x="135" y="646"/>
                    <a:pt x="135" y="646"/>
                    <a:pt x="135" y="646"/>
                  </a:cubicBezTo>
                  <a:cubicBezTo>
                    <a:pt x="137" y="648"/>
                    <a:pt x="137" y="648"/>
                    <a:pt x="137" y="648"/>
                  </a:cubicBezTo>
                  <a:cubicBezTo>
                    <a:pt x="144" y="645"/>
                    <a:pt x="144" y="645"/>
                    <a:pt x="144" y="645"/>
                  </a:cubicBezTo>
                  <a:cubicBezTo>
                    <a:pt x="151" y="639"/>
                    <a:pt x="151" y="639"/>
                    <a:pt x="151" y="639"/>
                  </a:cubicBezTo>
                  <a:cubicBezTo>
                    <a:pt x="152" y="640"/>
                    <a:pt x="152" y="640"/>
                    <a:pt x="152" y="640"/>
                  </a:cubicBezTo>
                  <a:cubicBezTo>
                    <a:pt x="149" y="649"/>
                    <a:pt x="149" y="649"/>
                    <a:pt x="149" y="649"/>
                  </a:cubicBezTo>
                  <a:cubicBezTo>
                    <a:pt x="154" y="653"/>
                    <a:pt x="154" y="653"/>
                    <a:pt x="154" y="653"/>
                  </a:cubicBezTo>
                  <a:cubicBezTo>
                    <a:pt x="153" y="657"/>
                    <a:pt x="153" y="657"/>
                    <a:pt x="153" y="657"/>
                  </a:cubicBezTo>
                  <a:cubicBezTo>
                    <a:pt x="157" y="656"/>
                    <a:pt x="157" y="656"/>
                    <a:pt x="157" y="656"/>
                  </a:cubicBezTo>
                  <a:cubicBezTo>
                    <a:pt x="157" y="658"/>
                    <a:pt x="157" y="658"/>
                    <a:pt x="157" y="658"/>
                  </a:cubicBezTo>
                  <a:cubicBezTo>
                    <a:pt x="150" y="664"/>
                    <a:pt x="150" y="664"/>
                    <a:pt x="150" y="664"/>
                  </a:cubicBezTo>
                  <a:cubicBezTo>
                    <a:pt x="151" y="666"/>
                    <a:pt x="151" y="666"/>
                    <a:pt x="151" y="666"/>
                  </a:cubicBezTo>
                  <a:cubicBezTo>
                    <a:pt x="156" y="666"/>
                    <a:pt x="156" y="666"/>
                    <a:pt x="156" y="666"/>
                  </a:cubicBezTo>
                  <a:cubicBezTo>
                    <a:pt x="159" y="662"/>
                    <a:pt x="159" y="662"/>
                    <a:pt x="159" y="662"/>
                  </a:cubicBezTo>
                  <a:cubicBezTo>
                    <a:pt x="159" y="662"/>
                    <a:pt x="161" y="664"/>
                    <a:pt x="161" y="666"/>
                  </a:cubicBezTo>
                  <a:cubicBezTo>
                    <a:pt x="162" y="669"/>
                    <a:pt x="152" y="674"/>
                    <a:pt x="152" y="674"/>
                  </a:cubicBezTo>
                  <a:cubicBezTo>
                    <a:pt x="163" y="671"/>
                    <a:pt x="163" y="671"/>
                    <a:pt x="163" y="671"/>
                  </a:cubicBezTo>
                  <a:cubicBezTo>
                    <a:pt x="171" y="655"/>
                    <a:pt x="171" y="655"/>
                    <a:pt x="171" y="655"/>
                  </a:cubicBezTo>
                  <a:cubicBezTo>
                    <a:pt x="169" y="663"/>
                    <a:pt x="169" y="663"/>
                    <a:pt x="169" y="663"/>
                  </a:cubicBezTo>
                  <a:cubicBezTo>
                    <a:pt x="181" y="660"/>
                    <a:pt x="181" y="660"/>
                    <a:pt x="181" y="660"/>
                  </a:cubicBezTo>
                  <a:cubicBezTo>
                    <a:pt x="189" y="654"/>
                    <a:pt x="189" y="654"/>
                    <a:pt x="189" y="654"/>
                  </a:cubicBezTo>
                  <a:cubicBezTo>
                    <a:pt x="192" y="654"/>
                    <a:pt x="192" y="654"/>
                    <a:pt x="192" y="654"/>
                  </a:cubicBezTo>
                  <a:cubicBezTo>
                    <a:pt x="198" y="649"/>
                    <a:pt x="198" y="649"/>
                    <a:pt x="198" y="649"/>
                  </a:cubicBezTo>
                  <a:cubicBezTo>
                    <a:pt x="201" y="650"/>
                    <a:pt x="201" y="650"/>
                    <a:pt x="201" y="650"/>
                  </a:cubicBezTo>
                  <a:cubicBezTo>
                    <a:pt x="203" y="655"/>
                    <a:pt x="203" y="655"/>
                    <a:pt x="203" y="655"/>
                  </a:cubicBezTo>
                  <a:cubicBezTo>
                    <a:pt x="206" y="653"/>
                    <a:pt x="206" y="653"/>
                    <a:pt x="206" y="653"/>
                  </a:cubicBezTo>
                  <a:cubicBezTo>
                    <a:pt x="206" y="645"/>
                    <a:pt x="206" y="645"/>
                    <a:pt x="206" y="645"/>
                  </a:cubicBezTo>
                  <a:cubicBezTo>
                    <a:pt x="221" y="638"/>
                    <a:pt x="221" y="638"/>
                    <a:pt x="221" y="638"/>
                  </a:cubicBezTo>
                  <a:cubicBezTo>
                    <a:pt x="222" y="635"/>
                    <a:pt x="222" y="635"/>
                    <a:pt x="222" y="635"/>
                  </a:cubicBezTo>
                  <a:cubicBezTo>
                    <a:pt x="235" y="629"/>
                    <a:pt x="235" y="629"/>
                    <a:pt x="235" y="629"/>
                  </a:cubicBezTo>
                  <a:cubicBezTo>
                    <a:pt x="235" y="622"/>
                    <a:pt x="235" y="622"/>
                    <a:pt x="235" y="622"/>
                  </a:cubicBezTo>
                  <a:cubicBezTo>
                    <a:pt x="235" y="622"/>
                    <a:pt x="237" y="628"/>
                    <a:pt x="241" y="628"/>
                  </a:cubicBezTo>
                  <a:cubicBezTo>
                    <a:pt x="244" y="628"/>
                    <a:pt x="248" y="626"/>
                    <a:pt x="248" y="626"/>
                  </a:cubicBezTo>
                  <a:cubicBezTo>
                    <a:pt x="245" y="624"/>
                    <a:pt x="245" y="624"/>
                    <a:pt x="245" y="624"/>
                  </a:cubicBezTo>
                  <a:cubicBezTo>
                    <a:pt x="246" y="620"/>
                    <a:pt x="246" y="620"/>
                    <a:pt x="246" y="620"/>
                  </a:cubicBezTo>
                  <a:cubicBezTo>
                    <a:pt x="251" y="624"/>
                    <a:pt x="251" y="624"/>
                    <a:pt x="251" y="624"/>
                  </a:cubicBezTo>
                  <a:cubicBezTo>
                    <a:pt x="251" y="622"/>
                    <a:pt x="251" y="622"/>
                    <a:pt x="251" y="622"/>
                  </a:cubicBezTo>
                  <a:cubicBezTo>
                    <a:pt x="245" y="613"/>
                    <a:pt x="245" y="613"/>
                    <a:pt x="245" y="613"/>
                  </a:cubicBezTo>
                  <a:cubicBezTo>
                    <a:pt x="245" y="613"/>
                    <a:pt x="254" y="619"/>
                    <a:pt x="260" y="617"/>
                  </a:cubicBezTo>
                  <a:cubicBezTo>
                    <a:pt x="264" y="614"/>
                    <a:pt x="262" y="611"/>
                    <a:pt x="262" y="611"/>
                  </a:cubicBezTo>
                  <a:cubicBezTo>
                    <a:pt x="268" y="610"/>
                    <a:pt x="268" y="610"/>
                    <a:pt x="268" y="610"/>
                  </a:cubicBezTo>
                  <a:cubicBezTo>
                    <a:pt x="273" y="608"/>
                    <a:pt x="273" y="608"/>
                    <a:pt x="273" y="608"/>
                  </a:cubicBezTo>
                  <a:cubicBezTo>
                    <a:pt x="279" y="608"/>
                    <a:pt x="279" y="608"/>
                    <a:pt x="279" y="608"/>
                  </a:cubicBezTo>
                  <a:cubicBezTo>
                    <a:pt x="283" y="602"/>
                    <a:pt x="283" y="602"/>
                    <a:pt x="283" y="602"/>
                  </a:cubicBezTo>
                  <a:cubicBezTo>
                    <a:pt x="293" y="603"/>
                    <a:pt x="293" y="603"/>
                    <a:pt x="293" y="603"/>
                  </a:cubicBezTo>
                  <a:cubicBezTo>
                    <a:pt x="304" y="598"/>
                    <a:pt x="304" y="598"/>
                    <a:pt x="304" y="598"/>
                  </a:cubicBezTo>
                  <a:cubicBezTo>
                    <a:pt x="304" y="597"/>
                    <a:pt x="304" y="597"/>
                    <a:pt x="304" y="597"/>
                  </a:cubicBezTo>
                  <a:cubicBezTo>
                    <a:pt x="312" y="581"/>
                    <a:pt x="312" y="581"/>
                    <a:pt x="312" y="581"/>
                  </a:cubicBezTo>
                  <a:cubicBezTo>
                    <a:pt x="323" y="566"/>
                    <a:pt x="323" y="566"/>
                    <a:pt x="323" y="566"/>
                  </a:cubicBezTo>
                  <a:cubicBezTo>
                    <a:pt x="327" y="563"/>
                    <a:pt x="327" y="563"/>
                    <a:pt x="327" y="563"/>
                  </a:cubicBezTo>
                  <a:cubicBezTo>
                    <a:pt x="328" y="554"/>
                    <a:pt x="328" y="554"/>
                    <a:pt x="328" y="554"/>
                  </a:cubicBezTo>
                  <a:cubicBezTo>
                    <a:pt x="341" y="540"/>
                    <a:pt x="341" y="540"/>
                    <a:pt x="341" y="540"/>
                  </a:cubicBezTo>
                  <a:cubicBezTo>
                    <a:pt x="341" y="540"/>
                    <a:pt x="346" y="527"/>
                    <a:pt x="349" y="521"/>
                  </a:cubicBezTo>
                  <a:cubicBezTo>
                    <a:pt x="352" y="516"/>
                    <a:pt x="360" y="496"/>
                    <a:pt x="363" y="485"/>
                  </a:cubicBezTo>
                  <a:cubicBezTo>
                    <a:pt x="366" y="473"/>
                    <a:pt x="375" y="460"/>
                    <a:pt x="375" y="460"/>
                  </a:cubicBezTo>
                  <a:cubicBezTo>
                    <a:pt x="375" y="460"/>
                    <a:pt x="377" y="456"/>
                    <a:pt x="378" y="452"/>
                  </a:cubicBezTo>
                  <a:cubicBezTo>
                    <a:pt x="380" y="448"/>
                    <a:pt x="382" y="424"/>
                    <a:pt x="382" y="418"/>
                  </a:cubicBezTo>
                  <a:close/>
                  <a:moveTo>
                    <a:pt x="52" y="662"/>
                  </a:moveTo>
                  <a:cubicBezTo>
                    <a:pt x="52" y="658"/>
                    <a:pt x="52" y="658"/>
                    <a:pt x="52" y="658"/>
                  </a:cubicBezTo>
                  <a:cubicBezTo>
                    <a:pt x="54" y="657"/>
                    <a:pt x="54" y="657"/>
                    <a:pt x="54" y="657"/>
                  </a:cubicBezTo>
                  <a:cubicBezTo>
                    <a:pt x="54" y="657"/>
                    <a:pt x="54" y="659"/>
                    <a:pt x="55" y="661"/>
                  </a:cubicBezTo>
                  <a:cubicBezTo>
                    <a:pt x="56" y="662"/>
                    <a:pt x="61" y="660"/>
                    <a:pt x="61" y="660"/>
                  </a:cubicBezTo>
                  <a:cubicBezTo>
                    <a:pt x="60" y="653"/>
                    <a:pt x="60" y="653"/>
                    <a:pt x="60" y="653"/>
                  </a:cubicBezTo>
                  <a:cubicBezTo>
                    <a:pt x="55" y="653"/>
                    <a:pt x="55" y="653"/>
                    <a:pt x="55" y="653"/>
                  </a:cubicBezTo>
                  <a:cubicBezTo>
                    <a:pt x="55" y="650"/>
                    <a:pt x="55" y="650"/>
                    <a:pt x="55" y="650"/>
                  </a:cubicBezTo>
                  <a:cubicBezTo>
                    <a:pt x="51" y="651"/>
                    <a:pt x="51" y="651"/>
                    <a:pt x="51" y="651"/>
                  </a:cubicBezTo>
                  <a:cubicBezTo>
                    <a:pt x="51" y="651"/>
                    <a:pt x="50" y="649"/>
                    <a:pt x="50" y="647"/>
                  </a:cubicBezTo>
                  <a:cubicBezTo>
                    <a:pt x="50" y="646"/>
                    <a:pt x="47" y="644"/>
                    <a:pt x="45" y="648"/>
                  </a:cubicBezTo>
                  <a:cubicBezTo>
                    <a:pt x="45" y="651"/>
                    <a:pt x="45" y="651"/>
                    <a:pt x="45" y="651"/>
                  </a:cubicBezTo>
                  <a:cubicBezTo>
                    <a:pt x="48" y="657"/>
                    <a:pt x="48" y="657"/>
                    <a:pt x="48" y="657"/>
                  </a:cubicBezTo>
                  <a:cubicBezTo>
                    <a:pt x="45" y="659"/>
                    <a:pt x="45" y="659"/>
                    <a:pt x="45" y="659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1" y="658"/>
                    <a:pt x="41" y="658"/>
                    <a:pt x="41" y="658"/>
                  </a:cubicBezTo>
                  <a:cubicBezTo>
                    <a:pt x="46" y="669"/>
                    <a:pt x="46" y="669"/>
                    <a:pt x="46" y="669"/>
                  </a:cubicBezTo>
                  <a:cubicBezTo>
                    <a:pt x="50" y="670"/>
                    <a:pt x="50" y="670"/>
                    <a:pt x="50" y="670"/>
                  </a:cubicBezTo>
                  <a:cubicBezTo>
                    <a:pt x="54" y="666"/>
                    <a:pt x="54" y="666"/>
                    <a:pt x="54" y="666"/>
                  </a:cubicBezTo>
                  <a:cubicBezTo>
                    <a:pt x="54" y="662"/>
                    <a:pt x="54" y="662"/>
                    <a:pt x="54" y="662"/>
                  </a:cubicBezTo>
                  <a:lnTo>
                    <a:pt x="52" y="662"/>
                  </a:lnTo>
                  <a:close/>
                  <a:moveTo>
                    <a:pt x="37" y="666"/>
                  </a:moveTo>
                  <a:cubicBezTo>
                    <a:pt x="41" y="664"/>
                    <a:pt x="41" y="664"/>
                    <a:pt x="41" y="664"/>
                  </a:cubicBezTo>
                  <a:cubicBezTo>
                    <a:pt x="39" y="658"/>
                    <a:pt x="39" y="658"/>
                    <a:pt x="39" y="658"/>
                  </a:cubicBezTo>
                  <a:lnTo>
                    <a:pt x="37" y="666"/>
                  </a:lnTo>
                  <a:close/>
                  <a:moveTo>
                    <a:pt x="55" y="670"/>
                  </a:moveTo>
                  <a:cubicBezTo>
                    <a:pt x="61" y="674"/>
                    <a:pt x="61" y="674"/>
                    <a:pt x="61" y="674"/>
                  </a:cubicBezTo>
                  <a:cubicBezTo>
                    <a:pt x="63" y="671"/>
                    <a:pt x="63" y="671"/>
                    <a:pt x="63" y="671"/>
                  </a:cubicBezTo>
                  <a:cubicBezTo>
                    <a:pt x="56" y="667"/>
                    <a:pt x="56" y="667"/>
                    <a:pt x="56" y="667"/>
                  </a:cubicBezTo>
                  <a:lnTo>
                    <a:pt x="55" y="670"/>
                  </a:lnTo>
                  <a:close/>
                  <a:moveTo>
                    <a:pt x="63" y="663"/>
                  </a:moveTo>
                  <a:cubicBezTo>
                    <a:pt x="61" y="664"/>
                    <a:pt x="61" y="667"/>
                    <a:pt x="64" y="667"/>
                  </a:cubicBezTo>
                  <a:cubicBezTo>
                    <a:pt x="66" y="666"/>
                    <a:pt x="66" y="662"/>
                    <a:pt x="63" y="663"/>
                  </a:cubicBezTo>
                  <a:close/>
                  <a:moveTo>
                    <a:pt x="107" y="657"/>
                  </a:moveTo>
                  <a:cubicBezTo>
                    <a:pt x="104" y="657"/>
                    <a:pt x="100" y="662"/>
                    <a:pt x="106" y="661"/>
                  </a:cubicBezTo>
                  <a:cubicBezTo>
                    <a:pt x="106" y="661"/>
                    <a:pt x="111" y="657"/>
                    <a:pt x="107" y="657"/>
                  </a:cubicBezTo>
                  <a:close/>
                  <a:moveTo>
                    <a:pt x="113" y="654"/>
                  </a:moveTo>
                  <a:cubicBezTo>
                    <a:pt x="111" y="655"/>
                    <a:pt x="112" y="657"/>
                    <a:pt x="112" y="657"/>
                  </a:cubicBezTo>
                  <a:cubicBezTo>
                    <a:pt x="110" y="659"/>
                    <a:pt x="110" y="659"/>
                    <a:pt x="110" y="659"/>
                  </a:cubicBezTo>
                  <a:cubicBezTo>
                    <a:pt x="111" y="660"/>
                    <a:pt x="111" y="660"/>
                    <a:pt x="111" y="660"/>
                  </a:cubicBezTo>
                  <a:cubicBezTo>
                    <a:pt x="117" y="655"/>
                    <a:pt x="117" y="655"/>
                    <a:pt x="117" y="655"/>
                  </a:cubicBezTo>
                  <a:cubicBezTo>
                    <a:pt x="117" y="655"/>
                    <a:pt x="115" y="653"/>
                    <a:pt x="113" y="654"/>
                  </a:cubicBezTo>
                  <a:close/>
                  <a:moveTo>
                    <a:pt x="119" y="654"/>
                  </a:moveTo>
                  <a:cubicBezTo>
                    <a:pt x="120" y="657"/>
                    <a:pt x="120" y="657"/>
                    <a:pt x="120" y="657"/>
                  </a:cubicBezTo>
                  <a:cubicBezTo>
                    <a:pt x="122" y="656"/>
                    <a:pt x="122" y="656"/>
                    <a:pt x="122" y="656"/>
                  </a:cubicBezTo>
                  <a:cubicBezTo>
                    <a:pt x="122" y="654"/>
                    <a:pt x="122" y="654"/>
                    <a:pt x="122" y="654"/>
                  </a:cubicBezTo>
                  <a:lnTo>
                    <a:pt x="119" y="654"/>
                  </a:lnTo>
                  <a:close/>
                  <a:moveTo>
                    <a:pt x="148" y="643"/>
                  </a:moveTo>
                  <a:cubicBezTo>
                    <a:pt x="146" y="647"/>
                    <a:pt x="146" y="647"/>
                    <a:pt x="146" y="647"/>
                  </a:cubicBezTo>
                  <a:cubicBezTo>
                    <a:pt x="142" y="648"/>
                    <a:pt x="142" y="648"/>
                    <a:pt x="142" y="648"/>
                  </a:cubicBezTo>
                  <a:cubicBezTo>
                    <a:pt x="139" y="650"/>
                    <a:pt x="139" y="650"/>
                    <a:pt x="139" y="650"/>
                  </a:cubicBezTo>
                  <a:cubicBezTo>
                    <a:pt x="134" y="651"/>
                    <a:pt x="134" y="651"/>
                    <a:pt x="134" y="651"/>
                  </a:cubicBezTo>
                  <a:cubicBezTo>
                    <a:pt x="133" y="655"/>
                    <a:pt x="133" y="655"/>
                    <a:pt x="133" y="655"/>
                  </a:cubicBezTo>
                  <a:cubicBezTo>
                    <a:pt x="136" y="655"/>
                    <a:pt x="136" y="655"/>
                    <a:pt x="136" y="655"/>
                  </a:cubicBezTo>
                  <a:cubicBezTo>
                    <a:pt x="133" y="659"/>
                    <a:pt x="133" y="659"/>
                    <a:pt x="133" y="659"/>
                  </a:cubicBezTo>
                  <a:cubicBezTo>
                    <a:pt x="133" y="664"/>
                    <a:pt x="133" y="664"/>
                    <a:pt x="133" y="664"/>
                  </a:cubicBezTo>
                  <a:cubicBezTo>
                    <a:pt x="139" y="661"/>
                    <a:pt x="139" y="661"/>
                    <a:pt x="139" y="661"/>
                  </a:cubicBezTo>
                  <a:cubicBezTo>
                    <a:pt x="145" y="661"/>
                    <a:pt x="145" y="661"/>
                    <a:pt x="145" y="661"/>
                  </a:cubicBezTo>
                  <a:cubicBezTo>
                    <a:pt x="149" y="654"/>
                    <a:pt x="149" y="654"/>
                    <a:pt x="149" y="654"/>
                  </a:cubicBezTo>
                  <a:cubicBezTo>
                    <a:pt x="147" y="649"/>
                    <a:pt x="147" y="649"/>
                    <a:pt x="147" y="649"/>
                  </a:cubicBezTo>
                  <a:cubicBezTo>
                    <a:pt x="149" y="644"/>
                    <a:pt x="149" y="644"/>
                    <a:pt x="149" y="644"/>
                  </a:cubicBezTo>
                  <a:lnTo>
                    <a:pt x="148" y="643"/>
                  </a:lnTo>
                  <a:close/>
                  <a:moveTo>
                    <a:pt x="111" y="639"/>
                  </a:moveTo>
                  <a:cubicBezTo>
                    <a:pt x="112" y="640"/>
                    <a:pt x="112" y="640"/>
                    <a:pt x="112" y="640"/>
                  </a:cubicBezTo>
                  <a:cubicBezTo>
                    <a:pt x="110" y="643"/>
                    <a:pt x="110" y="643"/>
                    <a:pt x="110" y="643"/>
                  </a:cubicBezTo>
                  <a:cubicBezTo>
                    <a:pt x="112" y="643"/>
                    <a:pt x="112" y="643"/>
                    <a:pt x="112" y="643"/>
                  </a:cubicBezTo>
                  <a:cubicBezTo>
                    <a:pt x="114" y="642"/>
                    <a:pt x="114" y="642"/>
                    <a:pt x="114" y="642"/>
                  </a:cubicBezTo>
                  <a:cubicBezTo>
                    <a:pt x="117" y="644"/>
                    <a:pt x="117" y="644"/>
                    <a:pt x="117" y="644"/>
                  </a:cubicBezTo>
                  <a:cubicBezTo>
                    <a:pt x="118" y="641"/>
                    <a:pt x="118" y="641"/>
                    <a:pt x="118" y="641"/>
                  </a:cubicBezTo>
                  <a:cubicBezTo>
                    <a:pt x="113" y="638"/>
                    <a:pt x="113" y="638"/>
                    <a:pt x="113" y="638"/>
                  </a:cubicBezTo>
                  <a:lnTo>
                    <a:pt x="111" y="639"/>
                  </a:lnTo>
                  <a:close/>
                  <a:moveTo>
                    <a:pt x="99" y="634"/>
                  </a:moveTo>
                  <a:cubicBezTo>
                    <a:pt x="95" y="631"/>
                    <a:pt x="94" y="630"/>
                    <a:pt x="95" y="632"/>
                  </a:cubicBezTo>
                  <a:cubicBezTo>
                    <a:pt x="97" y="637"/>
                    <a:pt x="97" y="637"/>
                    <a:pt x="97" y="637"/>
                  </a:cubicBezTo>
                  <a:cubicBezTo>
                    <a:pt x="102" y="637"/>
                    <a:pt x="102" y="637"/>
                    <a:pt x="99" y="634"/>
                  </a:cubicBezTo>
                  <a:close/>
                  <a:moveTo>
                    <a:pt x="90" y="628"/>
                  </a:moveTo>
                  <a:cubicBezTo>
                    <a:pt x="93" y="631"/>
                    <a:pt x="93" y="631"/>
                    <a:pt x="93" y="631"/>
                  </a:cubicBezTo>
                  <a:cubicBezTo>
                    <a:pt x="94" y="628"/>
                    <a:pt x="94" y="628"/>
                    <a:pt x="94" y="628"/>
                  </a:cubicBezTo>
                  <a:cubicBezTo>
                    <a:pt x="91" y="627"/>
                    <a:pt x="91" y="627"/>
                    <a:pt x="91" y="627"/>
                  </a:cubicBezTo>
                  <a:lnTo>
                    <a:pt x="90" y="628"/>
                  </a:lnTo>
                  <a:close/>
                  <a:moveTo>
                    <a:pt x="175" y="667"/>
                  </a:moveTo>
                  <a:cubicBezTo>
                    <a:pt x="175" y="664"/>
                    <a:pt x="175" y="664"/>
                    <a:pt x="175" y="664"/>
                  </a:cubicBezTo>
                  <a:cubicBezTo>
                    <a:pt x="170" y="666"/>
                    <a:pt x="170" y="666"/>
                    <a:pt x="170" y="666"/>
                  </a:cubicBezTo>
                  <a:lnTo>
                    <a:pt x="175" y="667"/>
                  </a:lnTo>
                  <a:close/>
                  <a:moveTo>
                    <a:pt x="74" y="466"/>
                  </a:moveTo>
                  <a:cubicBezTo>
                    <a:pt x="72" y="462"/>
                    <a:pt x="72" y="462"/>
                    <a:pt x="72" y="462"/>
                  </a:cubicBezTo>
                  <a:cubicBezTo>
                    <a:pt x="72" y="462"/>
                    <a:pt x="69" y="464"/>
                    <a:pt x="68" y="464"/>
                  </a:cubicBezTo>
                  <a:cubicBezTo>
                    <a:pt x="66" y="464"/>
                    <a:pt x="67" y="461"/>
                    <a:pt x="67" y="461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6" y="468"/>
                    <a:pt x="66" y="468"/>
                    <a:pt x="66" y="468"/>
                  </a:cubicBezTo>
                  <a:cubicBezTo>
                    <a:pt x="71" y="469"/>
                    <a:pt x="74" y="466"/>
                    <a:pt x="74" y="466"/>
                  </a:cubicBezTo>
                  <a:close/>
                  <a:moveTo>
                    <a:pt x="72" y="456"/>
                  </a:moveTo>
                  <a:cubicBezTo>
                    <a:pt x="67" y="457"/>
                    <a:pt x="67" y="457"/>
                    <a:pt x="67" y="457"/>
                  </a:cubicBezTo>
                  <a:cubicBezTo>
                    <a:pt x="70" y="460"/>
                    <a:pt x="70" y="460"/>
                    <a:pt x="70" y="460"/>
                  </a:cubicBezTo>
                  <a:lnTo>
                    <a:pt x="72" y="456"/>
                  </a:lnTo>
                  <a:close/>
                  <a:moveTo>
                    <a:pt x="93" y="452"/>
                  </a:moveTo>
                  <a:cubicBezTo>
                    <a:pt x="90" y="456"/>
                    <a:pt x="90" y="456"/>
                    <a:pt x="90" y="456"/>
                  </a:cubicBezTo>
                  <a:cubicBezTo>
                    <a:pt x="94" y="456"/>
                    <a:pt x="94" y="456"/>
                    <a:pt x="94" y="456"/>
                  </a:cubicBezTo>
                  <a:cubicBezTo>
                    <a:pt x="97" y="454"/>
                    <a:pt x="97" y="454"/>
                    <a:pt x="97" y="454"/>
                  </a:cubicBezTo>
                  <a:lnTo>
                    <a:pt x="93" y="452"/>
                  </a:lnTo>
                  <a:close/>
                  <a:moveTo>
                    <a:pt x="157" y="329"/>
                  </a:moveTo>
                  <a:cubicBezTo>
                    <a:pt x="153" y="331"/>
                    <a:pt x="153" y="331"/>
                    <a:pt x="153" y="331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45" y="331"/>
                    <a:pt x="145" y="331"/>
                    <a:pt x="145" y="331"/>
                  </a:cubicBezTo>
                  <a:cubicBezTo>
                    <a:pt x="145" y="335"/>
                    <a:pt x="145" y="335"/>
                    <a:pt x="145" y="335"/>
                  </a:cubicBezTo>
                  <a:cubicBezTo>
                    <a:pt x="145" y="336"/>
                    <a:pt x="147" y="338"/>
                    <a:pt x="147" y="338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52" y="332"/>
                    <a:pt x="152" y="332"/>
                    <a:pt x="152" y="332"/>
                  </a:cubicBezTo>
                  <a:cubicBezTo>
                    <a:pt x="157" y="331"/>
                    <a:pt x="157" y="331"/>
                    <a:pt x="157" y="331"/>
                  </a:cubicBezTo>
                  <a:lnTo>
                    <a:pt x="157" y="329"/>
                  </a:lnTo>
                  <a:close/>
                  <a:moveTo>
                    <a:pt x="244" y="634"/>
                  </a:moveTo>
                  <a:cubicBezTo>
                    <a:pt x="247" y="630"/>
                    <a:pt x="247" y="630"/>
                    <a:pt x="247" y="630"/>
                  </a:cubicBezTo>
                  <a:cubicBezTo>
                    <a:pt x="243" y="631"/>
                    <a:pt x="243" y="631"/>
                    <a:pt x="243" y="631"/>
                  </a:cubicBezTo>
                  <a:lnTo>
                    <a:pt x="244" y="634"/>
                  </a:lnTo>
                  <a:close/>
                  <a:moveTo>
                    <a:pt x="260" y="618"/>
                  </a:moveTo>
                  <a:cubicBezTo>
                    <a:pt x="265" y="619"/>
                    <a:pt x="265" y="619"/>
                    <a:pt x="265" y="619"/>
                  </a:cubicBezTo>
                  <a:cubicBezTo>
                    <a:pt x="263" y="616"/>
                    <a:pt x="263" y="616"/>
                    <a:pt x="263" y="616"/>
                  </a:cubicBezTo>
                  <a:lnTo>
                    <a:pt x="260" y="618"/>
                  </a:lnTo>
                  <a:close/>
                  <a:moveTo>
                    <a:pt x="265" y="614"/>
                  </a:moveTo>
                  <a:cubicBezTo>
                    <a:pt x="267" y="617"/>
                    <a:pt x="267" y="617"/>
                    <a:pt x="267" y="617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0" y="613"/>
                    <a:pt x="270" y="613"/>
                    <a:pt x="270" y="613"/>
                  </a:cubicBezTo>
                  <a:lnTo>
                    <a:pt x="265" y="614"/>
                  </a:lnTo>
                  <a:close/>
                </a:path>
              </a:pathLst>
            </a:custGeom>
            <a:solidFill>
              <a:srgbClr val="B6C5E5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50" name="Freeform 34"/>
            <p:cNvSpPr>
              <a:spLocks/>
            </p:cNvSpPr>
            <p:nvPr/>
          </p:nvSpPr>
          <p:spPr bwMode="auto">
            <a:xfrm>
              <a:off x="3951" y="2518"/>
              <a:ext cx="408" cy="296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solidFill>
              <a:srgbClr val="B6C5E5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51" name="Freeform 35"/>
            <p:cNvSpPr>
              <a:spLocks noEditPoints="1"/>
            </p:cNvSpPr>
            <p:nvPr/>
          </p:nvSpPr>
          <p:spPr bwMode="auto">
            <a:xfrm>
              <a:off x="3813" y="2741"/>
              <a:ext cx="654" cy="613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solidFill>
              <a:srgbClr val="B6C5E5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52" name="Freeform 36"/>
            <p:cNvSpPr>
              <a:spLocks noEditPoints="1"/>
            </p:cNvSpPr>
            <p:nvPr/>
          </p:nvSpPr>
          <p:spPr bwMode="auto">
            <a:xfrm>
              <a:off x="3878" y="1709"/>
              <a:ext cx="1027" cy="698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54" name="Freeform 38"/>
            <p:cNvSpPr>
              <a:spLocks noEditPoints="1"/>
            </p:cNvSpPr>
            <p:nvPr/>
          </p:nvSpPr>
          <p:spPr bwMode="auto">
            <a:xfrm>
              <a:off x="2448" y="926"/>
              <a:ext cx="70" cy="84"/>
            </a:xfrm>
            <a:custGeom>
              <a:avLst/>
              <a:gdLst/>
              <a:ahLst/>
              <a:cxnLst>
                <a:cxn ang="0">
                  <a:pos x="7" y="13"/>
                </a:cxn>
                <a:cxn ang="0">
                  <a:pos x="0" y="11"/>
                </a:cxn>
                <a:cxn ang="0">
                  <a:pos x="32" y="30"/>
                </a:cxn>
                <a:cxn ang="0">
                  <a:pos x="29" y="30"/>
                </a:cxn>
                <a:cxn ang="0">
                  <a:pos x="21" y="22"/>
                </a:cxn>
                <a:cxn ang="0">
                  <a:pos x="21" y="26"/>
                </a:cxn>
                <a:cxn ang="0">
                  <a:pos x="19" y="40"/>
                </a:cxn>
                <a:cxn ang="0">
                  <a:pos x="21" y="37"/>
                </a:cxn>
                <a:cxn ang="0">
                  <a:pos x="20" y="30"/>
                </a:cxn>
                <a:cxn ang="0">
                  <a:pos x="23" y="34"/>
                </a:cxn>
                <a:cxn ang="0">
                  <a:pos x="28" y="36"/>
                </a:cxn>
                <a:cxn ang="0">
                  <a:pos x="20" y="30"/>
                </a:cxn>
                <a:cxn ang="0">
                  <a:pos x="19" y="16"/>
                </a:cxn>
                <a:cxn ang="0">
                  <a:pos x="14" y="13"/>
                </a:cxn>
                <a:cxn ang="0">
                  <a:pos x="10" y="11"/>
                </a:cxn>
                <a:cxn ang="0">
                  <a:pos x="11" y="17"/>
                </a:cxn>
                <a:cxn ang="0">
                  <a:pos x="27" y="21"/>
                </a:cxn>
                <a:cxn ang="0">
                  <a:pos x="23" y="11"/>
                </a:cxn>
                <a:cxn ang="0">
                  <a:pos x="19" y="6"/>
                </a:cxn>
                <a:cxn ang="0">
                  <a:pos x="22" y="16"/>
                </a:cxn>
                <a:cxn ang="0">
                  <a:pos x="27" y="30"/>
                </a:cxn>
                <a:cxn ang="0">
                  <a:pos x="27" y="21"/>
                </a:cxn>
                <a:cxn ang="0">
                  <a:pos x="28" y="15"/>
                </a:cxn>
                <a:cxn ang="0">
                  <a:pos x="30" y="16"/>
                </a:cxn>
                <a:cxn ang="0">
                  <a:pos x="34" y="14"/>
                </a:cxn>
                <a:cxn ang="0">
                  <a:pos x="32" y="9"/>
                </a:cxn>
                <a:cxn ang="0">
                  <a:pos x="28" y="6"/>
                </a:cxn>
                <a:cxn ang="0">
                  <a:pos x="29" y="2"/>
                </a:cxn>
                <a:cxn ang="0">
                  <a:pos x="24" y="10"/>
                </a:cxn>
                <a:cxn ang="0">
                  <a:pos x="31" y="14"/>
                </a:cxn>
                <a:cxn ang="0">
                  <a:pos x="30" y="20"/>
                </a:cxn>
                <a:cxn ang="0">
                  <a:pos x="35" y="18"/>
                </a:cxn>
                <a:cxn ang="0">
                  <a:pos x="31" y="14"/>
                </a:cxn>
                <a:cxn ang="0">
                  <a:pos x="38" y="10"/>
                </a:cxn>
                <a:cxn ang="0">
                  <a:pos x="37" y="14"/>
                </a:cxn>
                <a:cxn ang="0">
                  <a:pos x="42" y="13"/>
                </a:cxn>
                <a:cxn ang="0">
                  <a:pos x="38" y="5"/>
                </a:cxn>
                <a:cxn ang="0">
                  <a:pos x="44" y="9"/>
                </a:cxn>
                <a:cxn ang="0">
                  <a:pos x="42" y="1"/>
                </a:cxn>
                <a:cxn ang="0">
                  <a:pos x="38" y="1"/>
                </a:cxn>
                <a:cxn ang="0">
                  <a:pos x="36" y="8"/>
                </a:cxn>
                <a:cxn ang="0">
                  <a:pos x="38" y="1"/>
                </a:cxn>
                <a:cxn ang="0">
                  <a:pos x="32" y="2"/>
                </a:cxn>
                <a:cxn ang="0">
                  <a:pos x="34" y="2"/>
                </a:cxn>
                <a:cxn ang="0">
                  <a:pos x="45" y="14"/>
                </a:cxn>
                <a:cxn ang="0">
                  <a:pos x="47" y="11"/>
                </a:cxn>
                <a:cxn ang="0">
                  <a:pos x="48" y="9"/>
                </a:cxn>
                <a:cxn ang="0">
                  <a:pos x="48" y="5"/>
                </a:cxn>
                <a:cxn ang="0">
                  <a:pos x="48" y="5"/>
                </a:cxn>
                <a:cxn ang="0">
                  <a:pos x="16" y="49"/>
                </a:cxn>
                <a:cxn ang="0">
                  <a:pos x="14" y="45"/>
                </a:cxn>
                <a:cxn ang="0">
                  <a:pos x="13" y="55"/>
                </a:cxn>
                <a:cxn ang="0">
                  <a:pos x="18" y="62"/>
                </a:cxn>
                <a:cxn ang="0">
                  <a:pos x="17" y="57"/>
                </a:cxn>
                <a:cxn ang="0">
                  <a:pos x="19" y="53"/>
                </a:cxn>
              </a:cxnLst>
              <a:rect l="0" t="0" r="r" b="b"/>
              <a:pathLst>
                <a:path w="51" h="62">
                  <a:moveTo>
                    <a:pt x="0" y="11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1"/>
                  </a:lnTo>
                  <a:close/>
                  <a:moveTo>
                    <a:pt x="29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30"/>
                  </a:lnTo>
                  <a:close/>
                  <a:moveTo>
                    <a:pt x="22" y="27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2" y="27"/>
                  </a:lnTo>
                  <a:close/>
                  <a:moveTo>
                    <a:pt x="19" y="40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7"/>
                    <a:pt x="21" y="37"/>
                    <a:pt x="21" y="37"/>
                  </a:cubicBezTo>
                  <a:lnTo>
                    <a:pt x="19" y="40"/>
                  </a:lnTo>
                  <a:close/>
                  <a:moveTo>
                    <a:pt x="20" y="30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7" y="34"/>
                    <a:pt x="24" y="32"/>
                  </a:cubicBezTo>
                  <a:cubicBezTo>
                    <a:pt x="23" y="31"/>
                    <a:pt x="20" y="30"/>
                    <a:pt x="20" y="30"/>
                  </a:cubicBezTo>
                  <a:close/>
                  <a:moveTo>
                    <a:pt x="15" y="20"/>
                  </a:moveTo>
                  <a:cubicBezTo>
                    <a:pt x="18" y="19"/>
                    <a:pt x="19" y="16"/>
                    <a:pt x="19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2" y="13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2" y="20"/>
                    <a:pt x="15" y="20"/>
                  </a:cubicBezTo>
                  <a:close/>
                  <a:moveTo>
                    <a:pt x="27" y="21"/>
                  </a:moveTo>
                  <a:cubicBezTo>
                    <a:pt x="27" y="21"/>
                    <a:pt x="28" y="19"/>
                    <a:pt x="27" y="18"/>
                  </a:cubicBezTo>
                  <a:cubicBezTo>
                    <a:pt x="26" y="17"/>
                    <a:pt x="23" y="11"/>
                    <a:pt x="23" y="11"/>
                  </a:cubicBezTo>
                  <a:cubicBezTo>
                    <a:pt x="23" y="11"/>
                    <a:pt x="23" y="3"/>
                    <a:pt x="21" y="3"/>
                  </a:cubicBezTo>
                  <a:cubicBezTo>
                    <a:pt x="20" y="3"/>
                    <a:pt x="19" y="6"/>
                    <a:pt x="19" y="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4"/>
                    <a:pt x="22" y="13"/>
                    <a:pt x="22" y="16"/>
                  </a:cubicBezTo>
                  <a:cubicBezTo>
                    <a:pt x="22" y="19"/>
                    <a:pt x="23" y="25"/>
                    <a:pt x="24" y="26"/>
                  </a:cubicBezTo>
                  <a:cubicBezTo>
                    <a:pt x="26" y="26"/>
                    <a:pt x="27" y="30"/>
                    <a:pt x="27" y="30"/>
                  </a:cubicBezTo>
                  <a:cubicBezTo>
                    <a:pt x="27" y="30"/>
                    <a:pt x="29" y="26"/>
                    <a:pt x="29" y="24"/>
                  </a:cubicBezTo>
                  <a:cubicBezTo>
                    <a:pt x="28" y="22"/>
                    <a:pt x="27" y="21"/>
                    <a:pt x="27" y="21"/>
                  </a:cubicBezTo>
                  <a:close/>
                  <a:moveTo>
                    <a:pt x="28" y="13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28" y="13"/>
                  </a:lnTo>
                  <a:close/>
                  <a:moveTo>
                    <a:pt x="31" y="14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1" y="14"/>
                  </a:lnTo>
                  <a:close/>
                  <a:moveTo>
                    <a:pt x="38" y="5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9" y="5"/>
                    <a:pt x="39" y="5"/>
                    <a:pt x="39" y="5"/>
                  </a:cubicBezTo>
                  <a:lnTo>
                    <a:pt x="38" y="5"/>
                  </a:lnTo>
                  <a:close/>
                  <a:moveTo>
                    <a:pt x="43" y="8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1"/>
                    <a:pt x="42" y="1"/>
                    <a:pt x="42" y="1"/>
                  </a:cubicBezTo>
                  <a:lnTo>
                    <a:pt x="43" y="8"/>
                  </a:lnTo>
                  <a:close/>
                  <a:moveTo>
                    <a:pt x="38" y="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8" y="1"/>
                  </a:lnTo>
                  <a:close/>
                  <a:moveTo>
                    <a:pt x="34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4" y="9"/>
                    <a:pt x="34" y="9"/>
                    <a:pt x="34" y="9"/>
                  </a:cubicBezTo>
                  <a:lnTo>
                    <a:pt x="34" y="2"/>
                  </a:lnTo>
                  <a:close/>
                  <a:moveTo>
                    <a:pt x="45" y="11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45" y="11"/>
                  </a:lnTo>
                  <a:close/>
                  <a:moveTo>
                    <a:pt x="48" y="5"/>
                  </a:moveTo>
                  <a:cubicBezTo>
                    <a:pt x="45" y="6"/>
                    <a:pt x="48" y="7"/>
                    <a:pt x="48" y="7"/>
                  </a:cubicBezTo>
                  <a:cubicBezTo>
                    <a:pt x="50" y="7"/>
                    <a:pt x="51" y="4"/>
                    <a:pt x="48" y="5"/>
                  </a:cubicBezTo>
                  <a:close/>
                  <a:moveTo>
                    <a:pt x="20" y="51"/>
                  </a:moveTo>
                  <a:cubicBezTo>
                    <a:pt x="18" y="50"/>
                    <a:pt x="16" y="50"/>
                    <a:pt x="16" y="49"/>
                  </a:cubicBezTo>
                  <a:cubicBezTo>
                    <a:pt x="16" y="48"/>
                    <a:pt x="17" y="47"/>
                    <a:pt x="17" y="46"/>
                  </a:cubicBezTo>
                  <a:cubicBezTo>
                    <a:pt x="17" y="45"/>
                    <a:pt x="15" y="42"/>
                    <a:pt x="14" y="45"/>
                  </a:cubicBezTo>
                  <a:cubicBezTo>
                    <a:pt x="13" y="47"/>
                    <a:pt x="14" y="53"/>
                    <a:pt x="14" y="53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1" y="53"/>
                    <a:pt x="20" y="5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55" name="Freeform 39"/>
            <p:cNvSpPr>
              <a:spLocks/>
            </p:cNvSpPr>
            <p:nvPr/>
          </p:nvSpPr>
          <p:spPr bwMode="auto">
            <a:xfrm>
              <a:off x="5072" y="2236"/>
              <a:ext cx="496" cy="207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56" name="Freeform 40"/>
            <p:cNvSpPr>
              <a:spLocks noEditPoints="1"/>
            </p:cNvSpPr>
            <p:nvPr/>
          </p:nvSpPr>
          <p:spPr bwMode="auto">
            <a:xfrm>
              <a:off x="5363" y="2355"/>
              <a:ext cx="288" cy="161"/>
            </a:xfrm>
            <a:custGeom>
              <a:avLst/>
              <a:gdLst/>
              <a:ahLst/>
              <a:cxnLst>
                <a:cxn ang="0">
                  <a:pos x="103" y="103"/>
                </a:cxn>
                <a:cxn ang="0">
                  <a:pos x="0" y="47"/>
                </a:cxn>
                <a:cxn ang="0">
                  <a:pos x="207" y="104"/>
                </a:cxn>
                <a:cxn ang="0">
                  <a:pos x="196" y="91"/>
                </a:cxn>
                <a:cxn ang="0">
                  <a:pos x="198" y="83"/>
                </a:cxn>
                <a:cxn ang="0">
                  <a:pos x="190" y="74"/>
                </a:cxn>
                <a:cxn ang="0">
                  <a:pos x="174" y="74"/>
                </a:cxn>
                <a:cxn ang="0">
                  <a:pos x="149" y="70"/>
                </a:cxn>
                <a:cxn ang="0">
                  <a:pos x="133" y="66"/>
                </a:cxn>
                <a:cxn ang="0">
                  <a:pos x="142" y="41"/>
                </a:cxn>
                <a:cxn ang="0">
                  <a:pos x="104" y="35"/>
                </a:cxn>
                <a:cxn ang="0">
                  <a:pos x="109" y="13"/>
                </a:cxn>
                <a:cxn ang="0">
                  <a:pos x="96" y="9"/>
                </a:cxn>
                <a:cxn ang="0">
                  <a:pos x="88" y="13"/>
                </a:cxn>
                <a:cxn ang="0">
                  <a:pos x="82" y="11"/>
                </a:cxn>
                <a:cxn ang="0">
                  <a:pos x="81" y="5"/>
                </a:cxn>
                <a:cxn ang="0">
                  <a:pos x="66" y="5"/>
                </a:cxn>
                <a:cxn ang="0">
                  <a:pos x="57" y="8"/>
                </a:cxn>
                <a:cxn ang="0">
                  <a:pos x="43" y="24"/>
                </a:cxn>
                <a:cxn ang="0">
                  <a:pos x="28" y="29"/>
                </a:cxn>
                <a:cxn ang="0">
                  <a:pos x="16" y="40"/>
                </a:cxn>
                <a:cxn ang="0">
                  <a:pos x="1" y="49"/>
                </a:cxn>
                <a:cxn ang="0">
                  <a:pos x="22" y="60"/>
                </a:cxn>
                <a:cxn ang="0">
                  <a:pos x="59" y="103"/>
                </a:cxn>
                <a:cxn ang="0">
                  <a:pos x="103" y="103"/>
                </a:cxn>
                <a:cxn ang="0">
                  <a:pos x="125" y="101"/>
                </a:cxn>
                <a:cxn ang="0">
                  <a:pos x="130" y="97"/>
                </a:cxn>
                <a:cxn ang="0">
                  <a:pos x="144" y="97"/>
                </a:cxn>
                <a:cxn ang="0">
                  <a:pos x="161" y="99"/>
                </a:cxn>
                <a:cxn ang="0">
                  <a:pos x="177" y="105"/>
                </a:cxn>
                <a:cxn ang="0">
                  <a:pos x="201" y="112"/>
                </a:cxn>
                <a:cxn ang="0">
                  <a:pos x="212" y="106"/>
                </a:cxn>
              </a:cxnLst>
              <a:rect l="0" t="0" r="r" b="b"/>
              <a:pathLst>
                <a:path w="212" h="119">
                  <a:moveTo>
                    <a:pt x="103" y="103"/>
                  </a:moveTo>
                  <a:cubicBezTo>
                    <a:pt x="103" y="103"/>
                    <a:pt x="103" y="103"/>
                    <a:pt x="103" y="103"/>
                  </a:cubicBezTo>
                  <a:moveTo>
                    <a:pt x="1" y="49"/>
                  </a:moveTo>
                  <a:cubicBezTo>
                    <a:pt x="1" y="48"/>
                    <a:pt x="1" y="48"/>
                    <a:pt x="0" y="47"/>
                  </a:cubicBezTo>
                  <a:cubicBezTo>
                    <a:pt x="1" y="48"/>
                    <a:pt x="1" y="48"/>
                    <a:pt x="1" y="49"/>
                  </a:cubicBezTo>
                  <a:close/>
                  <a:moveTo>
                    <a:pt x="207" y="104"/>
                  </a:moveTo>
                  <a:cubicBezTo>
                    <a:pt x="207" y="104"/>
                    <a:pt x="206" y="99"/>
                    <a:pt x="205" y="96"/>
                  </a:cubicBezTo>
                  <a:cubicBezTo>
                    <a:pt x="205" y="92"/>
                    <a:pt x="196" y="94"/>
                    <a:pt x="196" y="91"/>
                  </a:cubicBezTo>
                  <a:cubicBezTo>
                    <a:pt x="196" y="88"/>
                    <a:pt x="200" y="90"/>
                    <a:pt x="203" y="88"/>
                  </a:cubicBezTo>
                  <a:cubicBezTo>
                    <a:pt x="207" y="86"/>
                    <a:pt x="203" y="85"/>
                    <a:pt x="198" y="83"/>
                  </a:cubicBezTo>
                  <a:cubicBezTo>
                    <a:pt x="193" y="82"/>
                    <a:pt x="189" y="83"/>
                    <a:pt x="186" y="81"/>
                  </a:cubicBezTo>
                  <a:cubicBezTo>
                    <a:pt x="185" y="77"/>
                    <a:pt x="188" y="75"/>
                    <a:pt x="190" y="74"/>
                  </a:cubicBezTo>
                  <a:cubicBezTo>
                    <a:pt x="192" y="73"/>
                    <a:pt x="191" y="69"/>
                    <a:pt x="183" y="69"/>
                  </a:cubicBezTo>
                  <a:cubicBezTo>
                    <a:pt x="176" y="69"/>
                    <a:pt x="176" y="73"/>
                    <a:pt x="174" y="74"/>
                  </a:cubicBezTo>
                  <a:cubicBezTo>
                    <a:pt x="170" y="75"/>
                    <a:pt x="163" y="70"/>
                    <a:pt x="160" y="68"/>
                  </a:cubicBezTo>
                  <a:cubicBezTo>
                    <a:pt x="157" y="67"/>
                    <a:pt x="151" y="70"/>
                    <a:pt x="149" y="70"/>
                  </a:cubicBezTo>
                  <a:cubicBezTo>
                    <a:pt x="147" y="70"/>
                    <a:pt x="148" y="67"/>
                    <a:pt x="146" y="66"/>
                  </a:cubicBezTo>
                  <a:cubicBezTo>
                    <a:pt x="144" y="65"/>
                    <a:pt x="136" y="68"/>
                    <a:pt x="133" y="66"/>
                  </a:cubicBezTo>
                  <a:cubicBezTo>
                    <a:pt x="130" y="64"/>
                    <a:pt x="144" y="59"/>
                    <a:pt x="146" y="56"/>
                  </a:cubicBezTo>
                  <a:cubicBezTo>
                    <a:pt x="148" y="53"/>
                    <a:pt x="146" y="43"/>
                    <a:pt x="142" y="41"/>
                  </a:cubicBezTo>
                  <a:cubicBezTo>
                    <a:pt x="139" y="38"/>
                    <a:pt x="131" y="43"/>
                    <a:pt x="123" y="41"/>
                  </a:cubicBezTo>
                  <a:cubicBezTo>
                    <a:pt x="114" y="39"/>
                    <a:pt x="104" y="35"/>
                    <a:pt x="104" y="35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104" y="23"/>
                    <a:pt x="111" y="20"/>
                    <a:pt x="109" y="13"/>
                  </a:cubicBezTo>
                  <a:cubicBezTo>
                    <a:pt x="107" y="8"/>
                    <a:pt x="96" y="13"/>
                    <a:pt x="96" y="1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93" y="9"/>
                    <a:pt x="93" y="12"/>
                    <a:pt x="88" y="13"/>
                  </a:cubicBezTo>
                  <a:cubicBezTo>
                    <a:pt x="84" y="13"/>
                    <a:pt x="87" y="19"/>
                    <a:pt x="84" y="19"/>
                  </a:cubicBezTo>
                  <a:cubicBezTo>
                    <a:pt x="81" y="19"/>
                    <a:pt x="84" y="12"/>
                    <a:pt x="82" y="11"/>
                  </a:cubicBezTo>
                  <a:cubicBezTo>
                    <a:pt x="80" y="10"/>
                    <a:pt x="77" y="17"/>
                    <a:pt x="74" y="17"/>
                  </a:cubicBezTo>
                  <a:cubicBezTo>
                    <a:pt x="70" y="16"/>
                    <a:pt x="82" y="10"/>
                    <a:pt x="81" y="5"/>
                  </a:cubicBezTo>
                  <a:cubicBezTo>
                    <a:pt x="80" y="0"/>
                    <a:pt x="74" y="5"/>
                    <a:pt x="71" y="6"/>
                  </a:cubicBezTo>
                  <a:cubicBezTo>
                    <a:pt x="70" y="6"/>
                    <a:pt x="68" y="5"/>
                    <a:pt x="66" y="5"/>
                  </a:cubicBezTo>
                  <a:cubicBezTo>
                    <a:pt x="66" y="6"/>
                    <a:pt x="66" y="6"/>
                    <a:pt x="65" y="7"/>
                  </a:cubicBezTo>
                  <a:cubicBezTo>
                    <a:pt x="62" y="10"/>
                    <a:pt x="57" y="8"/>
                    <a:pt x="57" y="8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3"/>
                    <a:pt x="48" y="22"/>
                    <a:pt x="43" y="24"/>
                  </a:cubicBezTo>
                  <a:cubicBezTo>
                    <a:pt x="36" y="27"/>
                    <a:pt x="31" y="22"/>
                    <a:pt x="31" y="22"/>
                  </a:cubicBezTo>
                  <a:cubicBezTo>
                    <a:pt x="31" y="22"/>
                    <a:pt x="30" y="27"/>
                    <a:pt x="28" y="29"/>
                  </a:cubicBezTo>
                  <a:cubicBezTo>
                    <a:pt x="26" y="31"/>
                    <a:pt x="17" y="36"/>
                    <a:pt x="17" y="36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0" y="43"/>
                    <a:pt x="6" y="43"/>
                  </a:cubicBezTo>
                  <a:cubicBezTo>
                    <a:pt x="5" y="43"/>
                    <a:pt x="3" y="45"/>
                    <a:pt x="1" y="49"/>
                  </a:cubicBezTo>
                  <a:cubicBezTo>
                    <a:pt x="1" y="50"/>
                    <a:pt x="1" y="52"/>
                    <a:pt x="4" y="52"/>
                  </a:cubicBezTo>
                  <a:cubicBezTo>
                    <a:pt x="10" y="52"/>
                    <a:pt x="19" y="51"/>
                    <a:pt x="22" y="60"/>
                  </a:cubicBezTo>
                  <a:cubicBezTo>
                    <a:pt x="25" y="71"/>
                    <a:pt x="22" y="84"/>
                    <a:pt x="32" y="94"/>
                  </a:cubicBezTo>
                  <a:cubicBezTo>
                    <a:pt x="43" y="103"/>
                    <a:pt x="51" y="108"/>
                    <a:pt x="59" y="103"/>
                  </a:cubicBezTo>
                  <a:cubicBezTo>
                    <a:pt x="67" y="97"/>
                    <a:pt x="71" y="90"/>
                    <a:pt x="83" y="94"/>
                  </a:cubicBezTo>
                  <a:cubicBezTo>
                    <a:pt x="95" y="96"/>
                    <a:pt x="103" y="103"/>
                    <a:pt x="103" y="103"/>
                  </a:cubicBezTo>
                  <a:cubicBezTo>
                    <a:pt x="103" y="103"/>
                    <a:pt x="110" y="91"/>
                    <a:pt x="115" y="90"/>
                  </a:cubicBezTo>
                  <a:cubicBezTo>
                    <a:pt x="121" y="89"/>
                    <a:pt x="125" y="101"/>
                    <a:pt x="125" y="101"/>
                  </a:cubicBezTo>
                  <a:cubicBezTo>
                    <a:pt x="128" y="100"/>
                    <a:pt x="128" y="100"/>
                    <a:pt x="128" y="100"/>
                  </a:cubicBezTo>
                  <a:cubicBezTo>
                    <a:pt x="130" y="97"/>
                    <a:pt x="130" y="97"/>
                    <a:pt x="130" y="97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44" y="97"/>
                    <a:pt x="144" y="97"/>
                    <a:pt x="144" y="97"/>
                  </a:cubicBezTo>
                  <a:cubicBezTo>
                    <a:pt x="144" y="97"/>
                    <a:pt x="150" y="86"/>
                    <a:pt x="155" y="86"/>
                  </a:cubicBezTo>
                  <a:cubicBezTo>
                    <a:pt x="160" y="86"/>
                    <a:pt x="161" y="99"/>
                    <a:pt x="161" y="99"/>
                  </a:cubicBezTo>
                  <a:cubicBezTo>
                    <a:pt x="161" y="99"/>
                    <a:pt x="169" y="97"/>
                    <a:pt x="173" y="97"/>
                  </a:cubicBezTo>
                  <a:cubicBezTo>
                    <a:pt x="177" y="98"/>
                    <a:pt x="177" y="105"/>
                    <a:pt x="177" y="105"/>
                  </a:cubicBezTo>
                  <a:cubicBezTo>
                    <a:pt x="196" y="119"/>
                    <a:pt x="196" y="119"/>
                    <a:pt x="196" y="119"/>
                  </a:cubicBezTo>
                  <a:cubicBezTo>
                    <a:pt x="201" y="112"/>
                    <a:pt x="201" y="112"/>
                    <a:pt x="201" y="112"/>
                  </a:cubicBezTo>
                  <a:cubicBezTo>
                    <a:pt x="207" y="111"/>
                    <a:pt x="207" y="111"/>
                    <a:pt x="207" y="111"/>
                  </a:cubicBezTo>
                  <a:cubicBezTo>
                    <a:pt x="212" y="106"/>
                    <a:pt x="212" y="106"/>
                    <a:pt x="212" y="106"/>
                  </a:cubicBezTo>
                  <a:lnTo>
                    <a:pt x="207" y="10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57" name="Freeform 41"/>
            <p:cNvSpPr>
              <a:spLocks noEditPoints="1"/>
            </p:cNvSpPr>
            <p:nvPr/>
          </p:nvSpPr>
          <p:spPr bwMode="auto">
            <a:xfrm>
              <a:off x="4224" y="2402"/>
              <a:ext cx="1387" cy="777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58" name="Freeform 42"/>
            <p:cNvSpPr>
              <a:spLocks/>
            </p:cNvSpPr>
            <p:nvPr/>
          </p:nvSpPr>
          <p:spPr bwMode="auto">
            <a:xfrm>
              <a:off x="5074" y="3154"/>
              <a:ext cx="86" cy="175"/>
            </a:xfrm>
            <a:custGeom>
              <a:avLst/>
              <a:gdLst/>
              <a:ahLst/>
              <a:cxnLst>
                <a:cxn ang="0">
                  <a:pos x="26" y="106"/>
                </a:cxn>
                <a:cxn ang="0">
                  <a:pos x="37" y="87"/>
                </a:cxn>
                <a:cxn ang="0">
                  <a:pos x="36" y="83"/>
                </a:cxn>
                <a:cxn ang="0">
                  <a:pos x="43" y="75"/>
                </a:cxn>
                <a:cxn ang="0">
                  <a:pos x="29" y="74"/>
                </a:cxn>
                <a:cxn ang="0">
                  <a:pos x="31" y="67"/>
                </a:cxn>
                <a:cxn ang="0">
                  <a:pos x="35" y="64"/>
                </a:cxn>
                <a:cxn ang="0">
                  <a:pos x="54" y="56"/>
                </a:cxn>
                <a:cxn ang="0">
                  <a:pos x="48" y="51"/>
                </a:cxn>
                <a:cxn ang="0">
                  <a:pos x="46" y="47"/>
                </a:cxn>
                <a:cxn ang="0">
                  <a:pos x="58" y="45"/>
                </a:cxn>
                <a:cxn ang="0">
                  <a:pos x="48" y="42"/>
                </a:cxn>
                <a:cxn ang="0">
                  <a:pos x="61" y="27"/>
                </a:cxn>
                <a:cxn ang="0">
                  <a:pos x="48" y="17"/>
                </a:cxn>
                <a:cxn ang="0">
                  <a:pos x="48" y="11"/>
                </a:cxn>
                <a:cxn ang="0">
                  <a:pos x="35" y="10"/>
                </a:cxn>
                <a:cxn ang="0">
                  <a:pos x="38" y="0"/>
                </a:cxn>
                <a:cxn ang="0">
                  <a:pos x="29" y="1"/>
                </a:cxn>
                <a:cxn ang="0">
                  <a:pos x="28" y="6"/>
                </a:cxn>
                <a:cxn ang="0">
                  <a:pos x="20" y="7"/>
                </a:cxn>
                <a:cxn ang="0">
                  <a:pos x="14" y="12"/>
                </a:cxn>
                <a:cxn ang="0">
                  <a:pos x="15" y="20"/>
                </a:cxn>
                <a:cxn ang="0">
                  <a:pos x="6" y="28"/>
                </a:cxn>
                <a:cxn ang="0">
                  <a:pos x="5" y="36"/>
                </a:cxn>
                <a:cxn ang="0">
                  <a:pos x="1" y="38"/>
                </a:cxn>
                <a:cxn ang="0">
                  <a:pos x="2" y="49"/>
                </a:cxn>
                <a:cxn ang="0">
                  <a:pos x="10" y="56"/>
                </a:cxn>
                <a:cxn ang="0">
                  <a:pos x="6" y="63"/>
                </a:cxn>
                <a:cxn ang="0">
                  <a:pos x="3" y="77"/>
                </a:cxn>
                <a:cxn ang="0">
                  <a:pos x="4" y="94"/>
                </a:cxn>
                <a:cxn ang="0">
                  <a:pos x="2" y="96"/>
                </a:cxn>
                <a:cxn ang="0">
                  <a:pos x="3" y="109"/>
                </a:cxn>
                <a:cxn ang="0">
                  <a:pos x="0" y="112"/>
                </a:cxn>
                <a:cxn ang="0">
                  <a:pos x="0" y="115"/>
                </a:cxn>
                <a:cxn ang="0">
                  <a:pos x="3" y="115"/>
                </a:cxn>
                <a:cxn ang="0">
                  <a:pos x="2" y="126"/>
                </a:cxn>
                <a:cxn ang="0">
                  <a:pos x="8" y="125"/>
                </a:cxn>
                <a:cxn ang="0">
                  <a:pos x="12" y="121"/>
                </a:cxn>
                <a:cxn ang="0">
                  <a:pos x="19" y="122"/>
                </a:cxn>
                <a:cxn ang="0">
                  <a:pos x="19" y="112"/>
                </a:cxn>
                <a:cxn ang="0">
                  <a:pos x="19" y="106"/>
                </a:cxn>
                <a:cxn ang="0">
                  <a:pos x="26" y="106"/>
                </a:cxn>
              </a:cxnLst>
              <a:rect l="0" t="0" r="r" b="b"/>
              <a:pathLst>
                <a:path w="63" h="129">
                  <a:moveTo>
                    <a:pt x="26" y="106"/>
                  </a:moveTo>
                  <a:cubicBezTo>
                    <a:pt x="37" y="87"/>
                    <a:pt x="37" y="87"/>
                    <a:pt x="37" y="87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6" y="83"/>
                    <a:pt x="43" y="79"/>
                    <a:pt x="43" y="75"/>
                  </a:cubicBezTo>
                  <a:cubicBezTo>
                    <a:pt x="44" y="72"/>
                    <a:pt x="29" y="74"/>
                    <a:pt x="29" y="74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5" y="66"/>
                    <a:pt x="35" y="64"/>
                  </a:cubicBezTo>
                  <a:cubicBezTo>
                    <a:pt x="35" y="61"/>
                    <a:pt x="54" y="56"/>
                    <a:pt x="54" y="56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8" y="45"/>
                    <a:pt x="58" y="45"/>
                    <a:pt x="58" y="45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2"/>
                    <a:pt x="58" y="32"/>
                    <a:pt x="61" y="27"/>
                  </a:cubicBezTo>
                  <a:cubicBezTo>
                    <a:pt x="63" y="22"/>
                    <a:pt x="48" y="17"/>
                    <a:pt x="48" y="17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20"/>
                    <a:pt x="9" y="24"/>
                    <a:pt x="6" y="28"/>
                  </a:cubicBezTo>
                  <a:cubicBezTo>
                    <a:pt x="4" y="31"/>
                    <a:pt x="6" y="33"/>
                    <a:pt x="5" y="36"/>
                  </a:cubicBezTo>
                  <a:cubicBezTo>
                    <a:pt x="3" y="38"/>
                    <a:pt x="1" y="38"/>
                    <a:pt x="1" y="38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0" y="52"/>
                    <a:pt x="10" y="56"/>
                  </a:cubicBezTo>
                  <a:cubicBezTo>
                    <a:pt x="10" y="60"/>
                    <a:pt x="6" y="63"/>
                    <a:pt x="6" y="63"/>
                  </a:cubicBezTo>
                  <a:cubicBezTo>
                    <a:pt x="3" y="77"/>
                    <a:pt x="3" y="77"/>
                    <a:pt x="3" y="77"/>
                  </a:cubicBezTo>
                  <a:cubicBezTo>
                    <a:pt x="4" y="94"/>
                    <a:pt x="4" y="94"/>
                    <a:pt x="4" y="94"/>
                  </a:cubicBezTo>
                  <a:cubicBezTo>
                    <a:pt x="2" y="96"/>
                    <a:pt x="2" y="96"/>
                    <a:pt x="2" y="96"/>
                  </a:cubicBezTo>
                  <a:cubicBezTo>
                    <a:pt x="3" y="109"/>
                    <a:pt x="3" y="109"/>
                    <a:pt x="3" y="109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3" y="115"/>
                    <a:pt x="3" y="115"/>
                    <a:pt x="3" y="115"/>
                  </a:cubicBezTo>
                  <a:cubicBezTo>
                    <a:pt x="2" y="126"/>
                    <a:pt x="2" y="126"/>
                    <a:pt x="2" y="126"/>
                  </a:cubicBezTo>
                  <a:cubicBezTo>
                    <a:pt x="2" y="126"/>
                    <a:pt x="5" y="126"/>
                    <a:pt x="8" y="125"/>
                  </a:cubicBezTo>
                  <a:cubicBezTo>
                    <a:pt x="10" y="123"/>
                    <a:pt x="12" y="121"/>
                    <a:pt x="12" y="121"/>
                  </a:cubicBezTo>
                  <a:cubicBezTo>
                    <a:pt x="12" y="121"/>
                    <a:pt x="15" y="129"/>
                    <a:pt x="19" y="122"/>
                  </a:cubicBezTo>
                  <a:cubicBezTo>
                    <a:pt x="25" y="115"/>
                    <a:pt x="19" y="112"/>
                    <a:pt x="19" y="112"/>
                  </a:cubicBezTo>
                  <a:cubicBezTo>
                    <a:pt x="19" y="106"/>
                    <a:pt x="19" y="106"/>
                    <a:pt x="19" y="106"/>
                  </a:cubicBezTo>
                  <a:lnTo>
                    <a:pt x="26" y="10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59" name="Freeform 43"/>
            <p:cNvSpPr>
              <a:spLocks/>
            </p:cNvSpPr>
            <p:nvPr/>
          </p:nvSpPr>
          <p:spPr bwMode="auto">
            <a:xfrm>
              <a:off x="5043" y="2769"/>
              <a:ext cx="418" cy="584"/>
            </a:xfrm>
            <a:custGeom>
              <a:avLst/>
              <a:gdLst/>
              <a:ahLst/>
              <a:cxnLst>
                <a:cxn ang="0">
                  <a:pos x="294" y="149"/>
                </a:cxn>
                <a:cxn ang="0">
                  <a:pos x="274" y="96"/>
                </a:cxn>
                <a:cxn ang="0">
                  <a:pos x="287" y="50"/>
                </a:cxn>
                <a:cxn ang="0">
                  <a:pos x="302" y="18"/>
                </a:cxn>
                <a:cxn ang="0">
                  <a:pos x="297" y="1"/>
                </a:cxn>
                <a:cxn ang="0">
                  <a:pos x="262" y="26"/>
                </a:cxn>
                <a:cxn ang="0">
                  <a:pos x="178" y="89"/>
                </a:cxn>
                <a:cxn ang="0">
                  <a:pos x="129" y="111"/>
                </a:cxn>
                <a:cxn ang="0">
                  <a:pos x="81" y="127"/>
                </a:cxn>
                <a:cxn ang="0">
                  <a:pos x="72" y="136"/>
                </a:cxn>
                <a:cxn ang="0">
                  <a:pos x="42" y="142"/>
                </a:cxn>
                <a:cxn ang="0">
                  <a:pos x="22" y="168"/>
                </a:cxn>
                <a:cxn ang="0">
                  <a:pos x="21" y="188"/>
                </a:cxn>
                <a:cxn ang="0">
                  <a:pos x="20" y="218"/>
                </a:cxn>
                <a:cxn ang="0">
                  <a:pos x="0" y="224"/>
                </a:cxn>
                <a:cxn ang="0">
                  <a:pos x="4" y="236"/>
                </a:cxn>
                <a:cxn ang="0">
                  <a:pos x="3" y="243"/>
                </a:cxn>
                <a:cxn ang="0">
                  <a:pos x="16" y="254"/>
                </a:cxn>
                <a:cxn ang="0">
                  <a:pos x="22" y="280"/>
                </a:cxn>
                <a:cxn ang="0">
                  <a:pos x="34" y="297"/>
                </a:cxn>
                <a:cxn ang="0">
                  <a:pos x="51" y="290"/>
                </a:cxn>
                <a:cxn ang="0">
                  <a:pos x="61" y="284"/>
                </a:cxn>
                <a:cxn ang="0">
                  <a:pos x="71" y="295"/>
                </a:cxn>
                <a:cxn ang="0">
                  <a:pos x="84" y="311"/>
                </a:cxn>
                <a:cxn ang="0">
                  <a:pos x="81" y="329"/>
                </a:cxn>
                <a:cxn ang="0">
                  <a:pos x="71" y="335"/>
                </a:cxn>
                <a:cxn ang="0">
                  <a:pos x="58" y="348"/>
                </a:cxn>
                <a:cxn ang="0">
                  <a:pos x="52" y="358"/>
                </a:cxn>
                <a:cxn ang="0">
                  <a:pos x="59" y="367"/>
                </a:cxn>
                <a:cxn ang="0">
                  <a:pos x="49" y="390"/>
                </a:cxn>
                <a:cxn ang="0">
                  <a:pos x="54" y="409"/>
                </a:cxn>
                <a:cxn ang="0">
                  <a:pos x="77" y="419"/>
                </a:cxn>
                <a:cxn ang="0">
                  <a:pos x="93" y="429"/>
                </a:cxn>
                <a:cxn ang="0">
                  <a:pos x="108" y="430"/>
                </a:cxn>
                <a:cxn ang="0">
                  <a:pos x="304" y="206"/>
                </a:cxn>
                <a:cxn ang="0">
                  <a:pos x="305" y="189"/>
                </a:cxn>
                <a:cxn ang="0">
                  <a:pos x="307" y="175"/>
                </a:cxn>
              </a:cxnLst>
              <a:rect l="0" t="0" r="r" b="b"/>
              <a:pathLst>
                <a:path w="308" h="430">
                  <a:moveTo>
                    <a:pt x="307" y="175"/>
                  </a:moveTo>
                  <a:cubicBezTo>
                    <a:pt x="307" y="175"/>
                    <a:pt x="297" y="164"/>
                    <a:pt x="294" y="149"/>
                  </a:cubicBezTo>
                  <a:cubicBezTo>
                    <a:pt x="290" y="133"/>
                    <a:pt x="295" y="121"/>
                    <a:pt x="289" y="113"/>
                  </a:cubicBezTo>
                  <a:cubicBezTo>
                    <a:pt x="285" y="105"/>
                    <a:pt x="278" y="106"/>
                    <a:pt x="274" y="96"/>
                  </a:cubicBezTo>
                  <a:cubicBezTo>
                    <a:pt x="270" y="88"/>
                    <a:pt x="264" y="74"/>
                    <a:pt x="268" y="66"/>
                  </a:cubicBezTo>
                  <a:cubicBezTo>
                    <a:pt x="273" y="60"/>
                    <a:pt x="282" y="62"/>
                    <a:pt x="287" y="50"/>
                  </a:cubicBezTo>
                  <a:cubicBezTo>
                    <a:pt x="294" y="39"/>
                    <a:pt x="296" y="26"/>
                    <a:pt x="296" y="26"/>
                  </a:cubicBezTo>
                  <a:cubicBezTo>
                    <a:pt x="296" y="26"/>
                    <a:pt x="302" y="21"/>
                    <a:pt x="302" y="18"/>
                  </a:cubicBezTo>
                  <a:cubicBezTo>
                    <a:pt x="302" y="14"/>
                    <a:pt x="301" y="5"/>
                    <a:pt x="301" y="5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86" y="0"/>
                    <a:pt x="286" y="0"/>
                    <a:pt x="286" y="0"/>
                  </a:cubicBezTo>
                  <a:cubicBezTo>
                    <a:pt x="286" y="0"/>
                    <a:pt x="282" y="17"/>
                    <a:pt x="262" y="26"/>
                  </a:cubicBezTo>
                  <a:cubicBezTo>
                    <a:pt x="242" y="34"/>
                    <a:pt x="222" y="42"/>
                    <a:pt x="222" y="42"/>
                  </a:cubicBezTo>
                  <a:cubicBezTo>
                    <a:pt x="222" y="42"/>
                    <a:pt x="193" y="77"/>
                    <a:pt x="178" y="89"/>
                  </a:cubicBezTo>
                  <a:cubicBezTo>
                    <a:pt x="163" y="100"/>
                    <a:pt x="148" y="102"/>
                    <a:pt x="148" y="102"/>
                  </a:cubicBezTo>
                  <a:cubicBezTo>
                    <a:pt x="129" y="111"/>
                    <a:pt x="129" y="111"/>
                    <a:pt x="129" y="111"/>
                  </a:cubicBezTo>
                  <a:cubicBezTo>
                    <a:pt x="129" y="111"/>
                    <a:pt x="111" y="101"/>
                    <a:pt x="104" y="106"/>
                  </a:cubicBezTo>
                  <a:cubicBezTo>
                    <a:pt x="95" y="109"/>
                    <a:pt x="81" y="127"/>
                    <a:pt x="81" y="127"/>
                  </a:cubicBezTo>
                  <a:cubicBezTo>
                    <a:pt x="71" y="129"/>
                    <a:pt x="71" y="129"/>
                    <a:pt x="71" y="129"/>
                  </a:cubicBezTo>
                  <a:cubicBezTo>
                    <a:pt x="72" y="136"/>
                    <a:pt x="72" y="136"/>
                    <a:pt x="72" y="136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2" y="142"/>
                    <a:pt x="42" y="142"/>
                    <a:pt x="42" y="142"/>
                  </a:cubicBezTo>
                  <a:cubicBezTo>
                    <a:pt x="42" y="142"/>
                    <a:pt x="23" y="139"/>
                    <a:pt x="23" y="145"/>
                  </a:cubicBezTo>
                  <a:cubicBezTo>
                    <a:pt x="22" y="152"/>
                    <a:pt x="22" y="168"/>
                    <a:pt x="22" y="168"/>
                  </a:cubicBezTo>
                  <a:cubicBezTo>
                    <a:pt x="35" y="180"/>
                    <a:pt x="35" y="180"/>
                    <a:pt x="35" y="180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8" y="201"/>
                    <a:pt x="28" y="201"/>
                    <a:pt x="28" y="201"/>
                  </a:cubicBezTo>
                  <a:cubicBezTo>
                    <a:pt x="20" y="218"/>
                    <a:pt x="20" y="218"/>
                    <a:pt x="20" y="218"/>
                  </a:cubicBezTo>
                  <a:cubicBezTo>
                    <a:pt x="3" y="215"/>
                    <a:pt x="3" y="215"/>
                    <a:pt x="3" y="215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6" y="225"/>
                    <a:pt x="6" y="225"/>
                    <a:pt x="6" y="225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0" y="238"/>
                    <a:pt x="0" y="238"/>
                    <a:pt x="0" y="238"/>
                  </a:cubicBezTo>
                  <a:cubicBezTo>
                    <a:pt x="3" y="243"/>
                    <a:pt x="3" y="243"/>
                    <a:pt x="3" y="243"/>
                  </a:cubicBezTo>
                  <a:cubicBezTo>
                    <a:pt x="18" y="248"/>
                    <a:pt x="18" y="248"/>
                    <a:pt x="18" y="248"/>
                  </a:cubicBezTo>
                  <a:cubicBezTo>
                    <a:pt x="18" y="248"/>
                    <a:pt x="12" y="250"/>
                    <a:pt x="16" y="254"/>
                  </a:cubicBezTo>
                  <a:cubicBezTo>
                    <a:pt x="18" y="258"/>
                    <a:pt x="22" y="259"/>
                    <a:pt x="22" y="264"/>
                  </a:cubicBezTo>
                  <a:cubicBezTo>
                    <a:pt x="22" y="280"/>
                    <a:pt x="22" y="280"/>
                    <a:pt x="22" y="280"/>
                  </a:cubicBezTo>
                  <a:cubicBezTo>
                    <a:pt x="28" y="283"/>
                    <a:pt x="28" y="283"/>
                    <a:pt x="28" y="283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43" y="291"/>
                    <a:pt x="43" y="291"/>
                    <a:pt x="43" y="291"/>
                  </a:cubicBezTo>
                  <a:cubicBezTo>
                    <a:pt x="51" y="290"/>
                    <a:pt x="51" y="290"/>
                    <a:pt x="51" y="290"/>
                  </a:cubicBezTo>
                  <a:cubicBezTo>
                    <a:pt x="52" y="285"/>
                    <a:pt x="52" y="285"/>
                    <a:pt x="52" y="285"/>
                  </a:cubicBezTo>
                  <a:cubicBezTo>
                    <a:pt x="61" y="284"/>
                    <a:pt x="61" y="284"/>
                    <a:pt x="61" y="284"/>
                  </a:cubicBezTo>
                  <a:cubicBezTo>
                    <a:pt x="58" y="294"/>
                    <a:pt x="58" y="294"/>
                    <a:pt x="58" y="294"/>
                  </a:cubicBezTo>
                  <a:cubicBezTo>
                    <a:pt x="71" y="295"/>
                    <a:pt x="71" y="295"/>
                    <a:pt x="71" y="295"/>
                  </a:cubicBezTo>
                  <a:cubicBezTo>
                    <a:pt x="71" y="301"/>
                    <a:pt x="71" y="301"/>
                    <a:pt x="71" y="301"/>
                  </a:cubicBezTo>
                  <a:cubicBezTo>
                    <a:pt x="71" y="301"/>
                    <a:pt x="86" y="306"/>
                    <a:pt x="84" y="311"/>
                  </a:cubicBezTo>
                  <a:cubicBezTo>
                    <a:pt x="81" y="316"/>
                    <a:pt x="71" y="326"/>
                    <a:pt x="71" y="326"/>
                  </a:cubicBezTo>
                  <a:cubicBezTo>
                    <a:pt x="81" y="329"/>
                    <a:pt x="81" y="329"/>
                    <a:pt x="81" y="329"/>
                  </a:cubicBezTo>
                  <a:cubicBezTo>
                    <a:pt x="69" y="331"/>
                    <a:pt x="69" y="331"/>
                    <a:pt x="69" y="331"/>
                  </a:cubicBezTo>
                  <a:cubicBezTo>
                    <a:pt x="71" y="335"/>
                    <a:pt x="71" y="335"/>
                    <a:pt x="71" y="335"/>
                  </a:cubicBezTo>
                  <a:cubicBezTo>
                    <a:pt x="77" y="340"/>
                    <a:pt x="77" y="340"/>
                    <a:pt x="77" y="340"/>
                  </a:cubicBezTo>
                  <a:cubicBezTo>
                    <a:pt x="77" y="340"/>
                    <a:pt x="58" y="345"/>
                    <a:pt x="58" y="348"/>
                  </a:cubicBezTo>
                  <a:cubicBezTo>
                    <a:pt x="58" y="350"/>
                    <a:pt x="54" y="351"/>
                    <a:pt x="54" y="351"/>
                  </a:cubicBezTo>
                  <a:cubicBezTo>
                    <a:pt x="52" y="358"/>
                    <a:pt x="52" y="358"/>
                    <a:pt x="52" y="358"/>
                  </a:cubicBezTo>
                  <a:cubicBezTo>
                    <a:pt x="52" y="358"/>
                    <a:pt x="67" y="356"/>
                    <a:pt x="66" y="359"/>
                  </a:cubicBezTo>
                  <a:cubicBezTo>
                    <a:pt x="66" y="363"/>
                    <a:pt x="59" y="367"/>
                    <a:pt x="59" y="367"/>
                  </a:cubicBezTo>
                  <a:cubicBezTo>
                    <a:pt x="60" y="371"/>
                    <a:pt x="60" y="371"/>
                    <a:pt x="60" y="371"/>
                  </a:cubicBezTo>
                  <a:cubicBezTo>
                    <a:pt x="49" y="390"/>
                    <a:pt x="49" y="390"/>
                    <a:pt x="49" y="390"/>
                  </a:cubicBezTo>
                  <a:cubicBezTo>
                    <a:pt x="54" y="392"/>
                    <a:pt x="54" y="392"/>
                    <a:pt x="54" y="392"/>
                  </a:cubicBezTo>
                  <a:cubicBezTo>
                    <a:pt x="54" y="409"/>
                    <a:pt x="54" y="409"/>
                    <a:pt x="54" y="409"/>
                  </a:cubicBezTo>
                  <a:cubicBezTo>
                    <a:pt x="64" y="427"/>
                    <a:pt x="64" y="427"/>
                    <a:pt x="64" y="427"/>
                  </a:cubicBezTo>
                  <a:cubicBezTo>
                    <a:pt x="64" y="427"/>
                    <a:pt x="69" y="419"/>
                    <a:pt x="77" y="419"/>
                  </a:cubicBezTo>
                  <a:cubicBezTo>
                    <a:pt x="85" y="420"/>
                    <a:pt x="89" y="429"/>
                    <a:pt x="89" y="429"/>
                  </a:cubicBezTo>
                  <a:cubicBezTo>
                    <a:pt x="93" y="429"/>
                    <a:pt x="93" y="429"/>
                    <a:pt x="93" y="429"/>
                  </a:cubicBezTo>
                  <a:cubicBezTo>
                    <a:pt x="93" y="429"/>
                    <a:pt x="94" y="425"/>
                    <a:pt x="101" y="425"/>
                  </a:cubicBezTo>
                  <a:cubicBezTo>
                    <a:pt x="107" y="426"/>
                    <a:pt x="108" y="430"/>
                    <a:pt x="108" y="430"/>
                  </a:cubicBezTo>
                  <a:cubicBezTo>
                    <a:pt x="135" y="429"/>
                    <a:pt x="135" y="429"/>
                    <a:pt x="135" y="429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6" y="205"/>
                    <a:pt x="306" y="205"/>
                    <a:pt x="306" y="205"/>
                  </a:cubicBezTo>
                  <a:cubicBezTo>
                    <a:pt x="305" y="189"/>
                    <a:pt x="305" y="189"/>
                    <a:pt x="305" y="189"/>
                  </a:cubicBezTo>
                  <a:cubicBezTo>
                    <a:pt x="308" y="188"/>
                    <a:pt x="308" y="188"/>
                    <a:pt x="308" y="188"/>
                  </a:cubicBezTo>
                  <a:lnTo>
                    <a:pt x="307" y="175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60" name="Freeform 44"/>
            <p:cNvSpPr>
              <a:spLocks noEditPoints="1"/>
            </p:cNvSpPr>
            <p:nvPr/>
          </p:nvSpPr>
          <p:spPr bwMode="auto">
            <a:xfrm>
              <a:off x="5207" y="747"/>
              <a:ext cx="554" cy="1263"/>
            </a:xfrm>
            <a:custGeom>
              <a:avLst/>
              <a:gdLst/>
              <a:ahLst/>
              <a:cxnLst>
                <a:cxn ang="0">
                  <a:pos x="291" y="856"/>
                </a:cxn>
                <a:cxn ang="0">
                  <a:pos x="395" y="19"/>
                </a:cxn>
                <a:cxn ang="0">
                  <a:pos x="377" y="43"/>
                </a:cxn>
                <a:cxn ang="0">
                  <a:pos x="362" y="71"/>
                </a:cxn>
                <a:cxn ang="0">
                  <a:pos x="341" y="94"/>
                </a:cxn>
                <a:cxn ang="0">
                  <a:pos x="322" y="113"/>
                </a:cxn>
                <a:cxn ang="0">
                  <a:pos x="342" y="125"/>
                </a:cxn>
                <a:cxn ang="0">
                  <a:pos x="358" y="139"/>
                </a:cxn>
                <a:cxn ang="0">
                  <a:pos x="393" y="125"/>
                </a:cxn>
                <a:cxn ang="0">
                  <a:pos x="372" y="151"/>
                </a:cxn>
                <a:cxn ang="0">
                  <a:pos x="378" y="186"/>
                </a:cxn>
                <a:cxn ang="0">
                  <a:pos x="385" y="211"/>
                </a:cxn>
                <a:cxn ang="0">
                  <a:pos x="398" y="240"/>
                </a:cxn>
                <a:cxn ang="0">
                  <a:pos x="379" y="327"/>
                </a:cxn>
                <a:cxn ang="0">
                  <a:pos x="336" y="337"/>
                </a:cxn>
                <a:cxn ang="0">
                  <a:pos x="318" y="353"/>
                </a:cxn>
                <a:cxn ang="0">
                  <a:pos x="297" y="382"/>
                </a:cxn>
                <a:cxn ang="0">
                  <a:pos x="258" y="417"/>
                </a:cxn>
                <a:cxn ang="0">
                  <a:pos x="234" y="423"/>
                </a:cxn>
                <a:cxn ang="0">
                  <a:pos x="239" y="433"/>
                </a:cxn>
                <a:cxn ang="0">
                  <a:pos x="194" y="426"/>
                </a:cxn>
                <a:cxn ang="0">
                  <a:pos x="151" y="437"/>
                </a:cxn>
                <a:cxn ang="0">
                  <a:pos x="116" y="441"/>
                </a:cxn>
                <a:cxn ang="0">
                  <a:pos x="102" y="454"/>
                </a:cxn>
                <a:cxn ang="0">
                  <a:pos x="77" y="471"/>
                </a:cxn>
                <a:cxn ang="0">
                  <a:pos x="65" y="507"/>
                </a:cxn>
                <a:cxn ang="0">
                  <a:pos x="59" y="537"/>
                </a:cxn>
                <a:cxn ang="0">
                  <a:pos x="35" y="572"/>
                </a:cxn>
                <a:cxn ang="0">
                  <a:pos x="67" y="596"/>
                </a:cxn>
                <a:cxn ang="0">
                  <a:pos x="1" y="614"/>
                </a:cxn>
                <a:cxn ang="0">
                  <a:pos x="25" y="685"/>
                </a:cxn>
                <a:cxn ang="0">
                  <a:pos x="60" y="742"/>
                </a:cxn>
                <a:cxn ang="0">
                  <a:pos x="82" y="754"/>
                </a:cxn>
                <a:cxn ang="0">
                  <a:pos x="139" y="754"/>
                </a:cxn>
                <a:cxn ang="0">
                  <a:pos x="166" y="801"/>
                </a:cxn>
                <a:cxn ang="0">
                  <a:pos x="202" y="791"/>
                </a:cxn>
                <a:cxn ang="0">
                  <a:pos x="195" y="782"/>
                </a:cxn>
                <a:cxn ang="0">
                  <a:pos x="209" y="778"/>
                </a:cxn>
                <a:cxn ang="0">
                  <a:pos x="224" y="756"/>
                </a:cxn>
                <a:cxn ang="0">
                  <a:pos x="235" y="733"/>
                </a:cxn>
                <a:cxn ang="0">
                  <a:pos x="266" y="705"/>
                </a:cxn>
                <a:cxn ang="0">
                  <a:pos x="281" y="707"/>
                </a:cxn>
                <a:cxn ang="0">
                  <a:pos x="296" y="707"/>
                </a:cxn>
                <a:cxn ang="0">
                  <a:pos x="309" y="688"/>
                </a:cxn>
                <a:cxn ang="0">
                  <a:pos x="332" y="678"/>
                </a:cxn>
                <a:cxn ang="0">
                  <a:pos x="338" y="696"/>
                </a:cxn>
                <a:cxn ang="0">
                  <a:pos x="352" y="706"/>
                </a:cxn>
                <a:cxn ang="0">
                  <a:pos x="359" y="718"/>
                </a:cxn>
                <a:cxn ang="0">
                  <a:pos x="391" y="756"/>
                </a:cxn>
                <a:cxn ang="0">
                  <a:pos x="331" y="789"/>
                </a:cxn>
                <a:cxn ang="0">
                  <a:pos x="326" y="823"/>
                </a:cxn>
                <a:cxn ang="0">
                  <a:pos x="314" y="838"/>
                </a:cxn>
                <a:cxn ang="0">
                  <a:pos x="328" y="842"/>
                </a:cxn>
                <a:cxn ang="0">
                  <a:pos x="345" y="850"/>
                </a:cxn>
                <a:cxn ang="0">
                  <a:pos x="301" y="879"/>
                </a:cxn>
                <a:cxn ang="0">
                  <a:pos x="385" y="913"/>
                </a:cxn>
                <a:cxn ang="0">
                  <a:pos x="402" y="925"/>
                </a:cxn>
                <a:cxn ang="0">
                  <a:pos x="379" y="327"/>
                </a:cxn>
              </a:cxnLst>
              <a:rect l="0" t="0" r="r" b="b"/>
              <a:pathLst>
                <a:path w="408" h="931">
                  <a:moveTo>
                    <a:pt x="290" y="844"/>
                  </a:moveTo>
                  <a:cubicBezTo>
                    <a:pt x="285" y="844"/>
                    <a:pt x="285" y="844"/>
                    <a:pt x="285" y="844"/>
                  </a:cubicBezTo>
                  <a:cubicBezTo>
                    <a:pt x="287" y="851"/>
                    <a:pt x="287" y="851"/>
                    <a:pt x="287" y="851"/>
                  </a:cubicBezTo>
                  <a:cubicBezTo>
                    <a:pt x="291" y="856"/>
                    <a:pt x="291" y="856"/>
                    <a:pt x="291" y="856"/>
                  </a:cubicBezTo>
                  <a:cubicBezTo>
                    <a:pt x="293" y="855"/>
                    <a:pt x="293" y="855"/>
                    <a:pt x="293" y="855"/>
                  </a:cubicBezTo>
                  <a:cubicBezTo>
                    <a:pt x="291" y="851"/>
                    <a:pt x="291" y="851"/>
                    <a:pt x="291" y="851"/>
                  </a:cubicBezTo>
                  <a:lnTo>
                    <a:pt x="290" y="844"/>
                  </a:lnTo>
                  <a:close/>
                  <a:moveTo>
                    <a:pt x="395" y="19"/>
                  </a:moveTo>
                  <a:cubicBezTo>
                    <a:pt x="395" y="19"/>
                    <a:pt x="400" y="22"/>
                    <a:pt x="398" y="25"/>
                  </a:cubicBezTo>
                  <a:cubicBezTo>
                    <a:pt x="397" y="28"/>
                    <a:pt x="391" y="28"/>
                    <a:pt x="391" y="28"/>
                  </a:cubicBezTo>
                  <a:cubicBezTo>
                    <a:pt x="385" y="40"/>
                    <a:pt x="385" y="40"/>
                    <a:pt x="385" y="40"/>
                  </a:cubicBezTo>
                  <a:cubicBezTo>
                    <a:pt x="377" y="43"/>
                    <a:pt x="377" y="43"/>
                    <a:pt x="377" y="43"/>
                  </a:cubicBezTo>
                  <a:cubicBezTo>
                    <a:pt x="381" y="50"/>
                    <a:pt x="381" y="50"/>
                    <a:pt x="381" y="50"/>
                  </a:cubicBezTo>
                  <a:cubicBezTo>
                    <a:pt x="366" y="63"/>
                    <a:pt x="366" y="63"/>
                    <a:pt x="366" y="63"/>
                  </a:cubicBezTo>
                  <a:cubicBezTo>
                    <a:pt x="366" y="63"/>
                    <a:pt x="376" y="75"/>
                    <a:pt x="371" y="77"/>
                  </a:cubicBezTo>
                  <a:cubicBezTo>
                    <a:pt x="365" y="80"/>
                    <a:pt x="362" y="71"/>
                    <a:pt x="362" y="71"/>
                  </a:cubicBezTo>
                  <a:cubicBezTo>
                    <a:pt x="354" y="83"/>
                    <a:pt x="354" y="83"/>
                    <a:pt x="354" y="83"/>
                  </a:cubicBezTo>
                  <a:cubicBezTo>
                    <a:pt x="352" y="90"/>
                    <a:pt x="352" y="90"/>
                    <a:pt x="352" y="90"/>
                  </a:cubicBezTo>
                  <a:cubicBezTo>
                    <a:pt x="343" y="88"/>
                    <a:pt x="343" y="88"/>
                    <a:pt x="343" y="88"/>
                  </a:cubicBezTo>
                  <a:cubicBezTo>
                    <a:pt x="341" y="94"/>
                    <a:pt x="341" y="94"/>
                    <a:pt x="341" y="94"/>
                  </a:cubicBezTo>
                  <a:cubicBezTo>
                    <a:pt x="328" y="94"/>
                    <a:pt x="328" y="94"/>
                    <a:pt x="328" y="94"/>
                  </a:cubicBezTo>
                  <a:cubicBezTo>
                    <a:pt x="327" y="102"/>
                    <a:pt x="327" y="102"/>
                    <a:pt x="327" y="102"/>
                  </a:cubicBezTo>
                  <a:cubicBezTo>
                    <a:pt x="331" y="104"/>
                    <a:pt x="331" y="104"/>
                    <a:pt x="331" y="104"/>
                  </a:cubicBezTo>
                  <a:cubicBezTo>
                    <a:pt x="322" y="113"/>
                    <a:pt x="322" y="113"/>
                    <a:pt x="322" y="113"/>
                  </a:cubicBezTo>
                  <a:cubicBezTo>
                    <a:pt x="334" y="111"/>
                    <a:pt x="334" y="111"/>
                    <a:pt x="334" y="111"/>
                  </a:cubicBezTo>
                  <a:cubicBezTo>
                    <a:pt x="336" y="123"/>
                    <a:pt x="336" y="123"/>
                    <a:pt x="336" y="123"/>
                  </a:cubicBezTo>
                  <a:cubicBezTo>
                    <a:pt x="333" y="129"/>
                    <a:pt x="333" y="129"/>
                    <a:pt x="333" y="129"/>
                  </a:cubicBezTo>
                  <a:cubicBezTo>
                    <a:pt x="342" y="125"/>
                    <a:pt x="342" y="125"/>
                    <a:pt x="342" y="125"/>
                  </a:cubicBezTo>
                  <a:cubicBezTo>
                    <a:pt x="348" y="126"/>
                    <a:pt x="348" y="126"/>
                    <a:pt x="348" y="126"/>
                  </a:cubicBezTo>
                  <a:cubicBezTo>
                    <a:pt x="348" y="126"/>
                    <a:pt x="354" y="114"/>
                    <a:pt x="359" y="118"/>
                  </a:cubicBezTo>
                  <a:cubicBezTo>
                    <a:pt x="364" y="121"/>
                    <a:pt x="354" y="126"/>
                    <a:pt x="354" y="126"/>
                  </a:cubicBezTo>
                  <a:cubicBezTo>
                    <a:pt x="358" y="139"/>
                    <a:pt x="358" y="139"/>
                    <a:pt x="358" y="139"/>
                  </a:cubicBezTo>
                  <a:cubicBezTo>
                    <a:pt x="374" y="134"/>
                    <a:pt x="374" y="134"/>
                    <a:pt x="374" y="134"/>
                  </a:cubicBezTo>
                  <a:cubicBezTo>
                    <a:pt x="373" y="130"/>
                    <a:pt x="373" y="130"/>
                    <a:pt x="373" y="130"/>
                  </a:cubicBezTo>
                  <a:cubicBezTo>
                    <a:pt x="373" y="130"/>
                    <a:pt x="379" y="130"/>
                    <a:pt x="382" y="129"/>
                  </a:cubicBezTo>
                  <a:cubicBezTo>
                    <a:pt x="387" y="127"/>
                    <a:pt x="389" y="121"/>
                    <a:pt x="393" y="125"/>
                  </a:cubicBezTo>
                  <a:cubicBezTo>
                    <a:pt x="398" y="129"/>
                    <a:pt x="400" y="132"/>
                    <a:pt x="396" y="134"/>
                  </a:cubicBezTo>
                  <a:cubicBezTo>
                    <a:pt x="392" y="136"/>
                    <a:pt x="386" y="145"/>
                    <a:pt x="386" y="145"/>
                  </a:cubicBezTo>
                  <a:cubicBezTo>
                    <a:pt x="377" y="146"/>
                    <a:pt x="377" y="146"/>
                    <a:pt x="377" y="146"/>
                  </a:cubicBezTo>
                  <a:cubicBezTo>
                    <a:pt x="372" y="151"/>
                    <a:pt x="372" y="151"/>
                    <a:pt x="372" y="151"/>
                  </a:cubicBezTo>
                  <a:cubicBezTo>
                    <a:pt x="361" y="159"/>
                    <a:pt x="361" y="159"/>
                    <a:pt x="361" y="159"/>
                  </a:cubicBezTo>
                  <a:cubicBezTo>
                    <a:pt x="361" y="159"/>
                    <a:pt x="367" y="161"/>
                    <a:pt x="367" y="162"/>
                  </a:cubicBezTo>
                  <a:cubicBezTo>
                    <a:pt x="367" y="164"/>
                    <a:pt x="364" y="181"/>
                    <a:pt x="364" y="181"/>
                  </a:cubicBezTo>
                  <a:cubicBezTo>
                    <a:pt x="378" y="186"/>
                    <a:pt x="378" y="186"/>
                    <a:pt x="378" y="186"/>
                  </a:cubicBezTo>
                  <a:cubicBezTo>
                    <a:pt x="383" y="184"/>
                    <a:pt x="383" y="184"/>
                    <a:pt x="383" y="184"/>
                  </a:cubicBezTo>
                  <a:cubicBezTo>
                    <a:pt x="393" y="187"/>
                    <a:pt x="393" y="187"/>
                    <a:pt x="393" y="187"/>
                  </a:cubicBezTo>
                  <a:cubicBezTo>
                    <a:pt x="391" y="209"/>
                    <a:pt x="391" y="209"/>
                    <a:pt x="391" y="209"/>
                  </a:cubicBezTo>
                  <a:cubicBezTo>
                    <a:pt x="385" y="211"/>
                    <a:pt x="385" y="211"/>
                    <a:pt x="385" y="211"/>
                  </a:cubicBezTo>
                  <a:cubicBezTo>
                    <a:pt x="377" y="234"/>
                    <a:pt x="377" y="234"/>
                    <a:pt x="377" y="234"/>
                  </a:cubicBezTo>
                  <a:cubicBezTo>
                    <a:pt x="380" y="239"/>
                    <a:pt x="380" y="239"/>
                    <a:pt x="380" y="239"/>
                  </a:cubicBezTo>
                  <a:cubicBezTo>
                    <a:pt x="380" y="239"/>
                    <a:pt x="396" y="229"/>
                    <a:pt x="398" y="232"/>
                  </a:cubicBezTo>
                  <a:cubicBezTo>
                    <a:pt x="402" y="236"/>
                    <a:pt x="398" y="240"/>
                    <a:pt x="398" y="240"/>
                  </a:cubicBezTo>
                  <a:cubicBezTo>
                    <a:pt x="408" y="239"/>
                    <a:pt x="408" y="239"/>
                    <a:pt x="408" y="239"/>
                  </a:cubicBezTo>
                  <a:cubicBezTo>
                    <a:pt x="408" y="0"/>
                    <a:pt x="408" y="0"/>
                    <a:pt x="408" y="0"/>
                  </a:cubicBezTo>
                  <a:lnTo>
                    <a:pt x="395" y="19"/>
                  </a:lnTo>
                  <a:close/>
                  <a:moveTo>
                    <a:pt x="379" y="327"/>
                  </a:moveTo>
                  <a:cubicBezTo>
                    <a:pt x="370" y="322"/>
                    <a:pt x="370" y="316"/>
                    <a:pt x="364" y="316"/>
                  </a:cubicBezTo>
                  <a:cubicBezTo>
                    <a:pt x="359" y="318"/>
                    <a:pt x="354" y="319"/>
                    <a:pt x="354" y="319"/>
                  </a:cubicBezTo>
                  <a:cubicBezTo>
                    <a:pt x="354" y="319"/>
                    <a:pt x="358" y="326"/>
                    <a:pt x="355" y="328"/>
                  </a:cubicBezTo>
                  <a:cubicBezTo>
                    <a:pt x="353" y="330"/>
                    <a:pt x="336" y="337"/>
                    <a:pt x="336" y="337"/>
                  </a:cubicBezTo>
                  <a:cubicBezTo>
                    <a:pt x="345" y="346"/>
                    <a:pt x="345" y="346"/>
                    <a:pt x="345" y="346"/>
                  </a:cubicBezTo>
                  <a:cubicBezTo>
                    <a:pt x="345" y="346"/>
                    <a:pt x="338" y="346"/>
                    <a:pt x="337" y="347"/>
                  </a:cubicBezTo>
                  <a:cubicBezTo>
                    <a:pt x="336" y="350"/>
                    <a:pt x="340" y="354"/>
                    <a:pt x="337" y="356"/>
                  </a:cubicBezTo>
                  <a:cubicBezTo>
                    <a:pt x="332" y="358"/>
                    <a:pt x="318" y="353"/>
                    <a:pt x="318" y="353"/>
                  </a:cubicBezTo>
                  <a:cubicBezTo>
                    <a:pt x="306" y="362"/>
                    <a:pt x="306" y="362"/>
                    <a:pt x="306" y="362"/>
                  </a:cubicBezTo>
                  <a:cubicBezTo>
                    <a:pt x="306" y="362"/>
                    <a:pt x="311" y="370"/>
                    <a:pt x="307" y="371"/>
                  </a:cubicBezTo>
                  <a:cubicBezTo>
                    <a:pt x="303" y="371"/>
                    <a:pt x="296" y="367"/>
                    <a:pt x="296" y="367"/>
                  </a:cubicBezTo>
                  <a:cubicBezTo>
                    <a:pt x="297" y="382"/>
                    <a:pt x="297" y="382"/>
                    <a:pt x="297" y="382"/>
                  </a:cubicBezTo>
                  <a:cubicBezTo>
                    <a:pt x="292" y="384"/>
                    <a:pt x="292" y="384"/>
                    <a:pt x="292" y="384"/>
                  </a:cubicBezTo>
                  <a:cubicBezTo>
                    <a:pt x="292" y="384"/>
                    <a:pt x="298" y="390"/>
                    <a:pt x="296" y="397"/>
                  </a:cubicBezTo>
                  <a:cubicBezTo>
                    <a:pt x="294" y="402"/>
                    <a:pt x="290" y="414"/>
                    <a:pt x="290" y="414"/>
                  </a:cubicBezTo>
                  <a:cubicBezTo>
                    <a:pt x="258" y="417"/>
                    <a:pt x="258" y="417"/>
                    <a:pt x="258" y="417"/>
                  </a:cubicBezTo>
                  <a:cubicBezTo>
                    <a:pt x="258" y="417"/>
                    <a:pt x="258" y="414"/>
                    <a:pt x="255" y="413"/>
                  </a:cubicBezTo>
                  <a:cubicBezTo>
                    <a:pt x="251" y="413"/>
                    <a:pt x="248" y="415"/>
                    <a:pt x="248" y="415"/>
                  </a:cubicBezTo>
                  <a:cubicBezTo>
                    <a:pt x="248" y="415"/>
                    <a:pt x="236" y="410"/>
                    <a:pt x="234" y="415"/>
                  </a:cubicBezTo>
                  <a:cubicBezTo>
                    <a:pt x="232" y="419"/>
                    <a:pt x="232" y="422"/>
                    <a:pt x="234" y="423"/>
                  </a:cubicBezTo>
                  <a:cubicBezTo>
                    <a:pt x="238" y="423"/>
                    <a:pt x="243" y="422"/>
                    <a:pt x="245" y="428"/>
                  </a:cubicBezTo>
                  <a:cubicBezTo>
                    <a:pt x="247" y="432"/>
                    <a:pt x="255" y="432"/>
                    <a:pt x="254" y="436"/>
                  </a:cubicBezTo>
                  <a:cubicBezTo>
                    <a:pt x="252" y="440"/>
                    <a:pt x="251" y="448"/>
                    <a:pt x="246" y="445"/>
                  </a:cubicBezTo>
                  <a:cubicBezTo>
                    <a:pt x="242" y="442"/>
                    <a:pt x="239" y="436"/>
                    <a:pt x="239" y="433"/>
                  </a:cubicBezTo>
                  <a:cubicBezTo>
                    <a:pt x="239" y="429"/>
                    <a:pt x="238" y="428"/>
                    <a:pt x="232" y="428"/>
                  </a:cubicBezTo>
                  <a:cubicBezTo>
                    <a:pt x="227" y="428"/>
                    <a:pt x="221" y="429"/>
                    <a:pt x="215" y="424"/>
                  </a:cubicBezTo>
                  <a:cubicBezTo>
                    <a:pt x="210" y="420"/>
                    <a:pt x="205" y="419"/>
                    <a:pt x="202" y="422"/>
                  </a:cubicBezTo>
                  <a:cubicBezTo>
                    <a:pt x="199" y="426"/>
                    <a:pt x="198" y="428"/>
                    <a:pt x="194" y="426"/>
                  </a:cubicBezTo>
                  <a:cubicBezTo>
                    <a:pt x="189" y="425"/>
                    <a:pt x="191" y="417"/>
                    <a:pt x="182" y="418"/>
                  </a:cubicBezTo>
                  <a:cubicBezTo>
                    <a:pt x="174" y="419"/>
                    <a:pt x="161" y="431"/>
                    <a:pt x="161" y="431"/>
                  </a:cubicBezTo>
                  <a:cubicBezTo>
                    <a:pt x="153" y="431"/>
                    <a:pt x="153" y="431"/>
                    <a:pt x="153" y="431"/>
                  </a:cubicBezTo>
                  <a:cubicBezTo>
                    <a:pt x="153" y="431"/>
                    <a:pt x="157" y="437"/>
                    <a:pt x="151" y="437"/>
                  </a:cubicBezTo>
                  <a:cubicBezTo>
                    <a:pt x="145" y="438"/>
                    <a:pt x="129" y="428"/>
                    <a:pt x="129" y="428"/>
                  </a:cubicBezTo>
                  <a:cubicBezTo>
                    <a:pt x="125" y="430"/>
                    <a:pt x="125" y="430"/>
                    <a:pt x="125" y="430"/>
                  </a:cubicBezTo>
                  <a:cubicBezTo>
                    <a:pt x="127" y="437"/>
                    <a:pt x="127" y="437"/>
                    <a:pt x="127" y="437"/>
                  </a:cubicBezTo>
                  <a:cubicBezTo>
                    <a:pt x="127" y="437"/>
                    <a:pt x="118" y="437"/>
                    <a:pt x="116" y="441"/>
                  </a:cubicBezTo>
                  <a:cubicBezTo>
                    <a:pt x="114" y="446"/>
                    <a:pt x="123" y="452"/>
                    <a:pt x="119" y="454"/>
                  </a:cubicBezTo>
                  <a:cubicBezTo>
                    <a:pt x="116" y="456"/>
                    <a:pt x="111" y="455"/>
                    <a:pt x="111" y="455"/>
                  </a:cubicBezTo>
                  <a:cubicBezTo>
                    <a:pt x="111" y="455"/>
                    <a:pt x="110" y="468"/>
                    <a:pt x="104" y="466"/>
                  </a:cubicBezTo>
                  <a:cubicBezTo>
                    <a:pt x="99" y="465"/>
                    <a:pt x="105" y="455"/>
                    <a:pt x="102" y="454"/>
                  </a:cubicBezTo>
                  <a:cubicBezTo>
                    <a:pt x="99" y="453"/>
                    <a:pt x="88" y="460"/>
                    <a:pt x="88" y="460"/>
                  </a:cubicBezTo>
                  <a:cubicBezTo>
                    <a:pt x="77" y="460"/>
                    <a:pt x="77" y="460"/>
                    <a:pt x="77" y="460"/>
                  </a:cubicBezTo>
                  <a:cubicBezTo>
                    <a:pt x="84" y="466"/>
                    <a:pt x="84" y="466"/>
                    <a:pt x="84" y="466"/>
                  </a:cubicBezTo>
                  <a:cubicBezTo>
                    <a:pt x="84" y="466"/>
                    <a:pt x="79" y="469"/>
                    <a:pt x="77" y="471"/>
                  </a:cubicBezTo>
                  <a:cubicBezTo>
                    <a:pt x="75" y="473"/>
                    <a:pt x="80" y="480"/>
                    <a:pt x="80" y="482"/>
                  </a:cubicBezTo>
                  <a:cubicBezTo>
                    <a:pt x="80" y="485"/>
                    <a:pt x="70" y="487"/>
                    <a:pt x="71" y="489"/>
                  </a:cubicBezTo>
                  <a:cubicBezTo>
                    <a:pt x="72" y="493"/>
                    <a:pt x="79" y="492"/>
                    <a:pt x="78" y="496"/>
                  </a:cubicBezTo>
                  <a:cubicBezTo>
                    <a:pt x="78" y="499"/>
                    <a:pt x="65" y="507"/>
                    <a:pt x="65" y="507"/>
                  </a:cubicBezTo>
                  <a:cubicBezTo>
                    <a:pt x="59" y="518"/>
                    <a:pt x="59" y="518"/>
                    <a:pt x="59" y="518"/>
                  </a:cubicBezTo>
                  <a:cubicBezTo>
                    <a:pt x="49" y="524"/>
                    <a:pt x="49" y="524"/>
                    <a:pt x="49" y="524"/>
                  </a:cubicBezTo>
                  <a:cubicBezTo>
                    <a:pt x="51" y="534"/>
                    <a:pt x="51" y="534"/>
                    <a:pt x="51" y="534"/>
                  </a:cubicBezTo>
                  <a:cubicBezTo>
                    <a:pt x="51" y="534"/>
                    <a:pt x="61" y="533"/>
                    <a:pt x="59" y="537"/>
                  </a:cubicBezTo>
                  <a:cubicBezTo>
                    <a:pt x="58" y="543"/>
                    <a:pt x="51" y="548"/>
                    <a:pt x="51" y="548"/>
                  </a:cubicBezTo>
                  <a:cubicBezTo>
                    <a:pt x="51" y="548"/>
                    <a:pt x="53" y="564"/>
                    <a:pt x="47" y="565"/>
                  </a:cubicBezTo>
                  <a:cubicBezTo>
                    <a:pt x="41" y="566"/>
                    <a:pt x="36" y="568"/>
                    <a:pt x="36" y="568"/>
                  </a:cubicBezTo>
                  <a:cubicBezTo>
                    <a:pt x="35" y="572"/>
                    <a:pt x="35" y="572"/>
                    <a:pt x="35" y="572"/>
                  </a:cubicBezTo>
                  <a:cubicBezTo>
                    <a:pt x="39" y="572"/>
                    <a:pt x="39" y="572"/>
                    <a:pt x="39" y="572"/>
                  </a:cubicBezTo>
                  <a:cubicBezTo>
                    <a:pt x="39" y="572"/>
                    <a:pt x="49" y="584"/>
                    <a:pt x="53" y="588"/>
                  </a:cubicBezTo>
                  <a:cubicBezTo>
                    <a:pt x="58" y="590"/>
                    <a:pt x="61" y="595"/>
                    <a:pt x="61" y="595"/>
                  </a:cubicBezTo>
                  <a:cubicBezTo>
                    <a:pt x="61" y="595"/>
                    <a:pt x="68" y="587"/>
                    <a:pt x="67" y="596"/>
                  </a:cubicBezTo>
                  <a:cubicBezTo>
                    <a:pt x="66" y="606"/>
                    <a:pt x="60" y="620"/>
                    <a:pt x="54" y="620"/>
                  </a:cubicBezTo>
                  <a:cubicBezTo>
                    <a:pt x="48" y="620"/>
                    <a:pt x="41" y="621"/>
                    <a:pt x="37" y="614"/>
                  </a:cubicBezTo>
                  <a:cubicBezTo>
                    <a:pt x="34" y="609"/>
                    <a:pt x="22" y="600"/>
                    <a:pt x="14" y="600"/>
                  </a:cubicBezTo>
                  <a:cubicBezTo>
                    <a:pt x="4" y="600"/>
                    <a:pt x="0" y="607"/>
                    <a:pt x="1" y="614"/>
                  </a:cubicBezTo>
                  <a:cubicBezTo>
                    <a:pt x="1" y="622"/>
                    <a:pt x="10" y="623"/>
                    <a:pt x="9" y="628"/>
                  </a:cubicBezTo>
                  <a:cubicBezTo>
                    <a:pt x="0" y="643"/>
                    <a:pt x="0" y="643"/>
                    <a:pt x="0" y="643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22" y="676"/>
                    <a:pt x="25" y="685"/>
                  </a:cubicBezTo>
                  <a:cubicBezTo>
                    <a:pt x="28" y="693"/>
                    <a:pt x="22" y="703"/>
                    <a:pt x="22" y="703"/>
                  </a:cubicBezTo>
                  <a:cubicBezTo>
                    <a:pt x="28" y="742"/>
                    <a:pt x="28" y="742"/>
                    <a:pt x="28" y="742"/>
                  </a:cubicBezTo>
                  <a:cubicBezTo>
                    <a:pt x="57" y="736"/>
                    <a:pt x="57" y="736"/>
                    <a:pt x="57" y="736"/>
                  </a:cubicBezTo>
                  <a:cubicBezTo>
                    <a:pt x="57" y="736"/>
                    <a:pt x="57" y="740"/>
                    <a:pt x="60" y="742"/>
                  </a:cubicBezTo>
                  <a:cubicBezTo>
                    <a:pt x="62" y="745"/>
                    <a:pt x="67" y="747"/>
                    <a:pt x="65" y="750"/>
                  </a:cubicBezTo>
                  <a:cubicBezTo>
                    <a:pt x="64" y="752"/>
                    <a:pt x="63" y="759"/>
                    <a:pt x="68" y="760"/>
                  </a:cubicBezTo>
                  <a:cubicBezTo>
                    <a:pt x="74" y="762"/>
                    <a:pt x="86" y="762"/>
                    <a:pt x="86" y="762"/>
                  </a:cubicBezTo>
                  <a:cubicBezTo>
                    <a:pt x="82" y="754"/>
                    <a:pt x="82" y="754"/>
                    <a:pt x="82" y="754"/>
                  </a:cubicBezTo>
                  <a:cubicBezTo>
                    <a:pt x="82" y="754"/>
                    <a:pt x="87" y="755"/>
                    <a:pt x="94" y="753"/>
                  </a:cubicBezTo>
                  <a:cubicBezTo>
                    <a:pt x="101" y="751"/>
                    <a:pt x="98" y="739"/>
                    <a:pt x="108" y="742"/>
                  </a:cubicBezTo>
                  <a:cubicBezTo>
                    <a:pt x="117" y="745"/>
                    <a:pt x="118" y="756"/>
                    <a:pt x="125" y="756"/>
                  </a:cubicBezTo>
                  <a:cubicBezTo>
                    <a:pt x="132" y="756"/>
                    <a:pt x="133" y="752"/>
                    <a:pt x="139" y="754"/>
                  </a:cubicBezTo>
                  <a:cubicBezTo>
                    <a:pt x="144" y="757"/>
                    <a:pt x="149" y="768"/>
                    <a:pt x="157" y="770"/>
                  </a:cubicBezTo>
                  <a:cubicBezTo>
                    <a:pt x="164" y="772"/>
                    <a:pt x="183" y="779"/>
                    <a:pt x="178" y="784"/>
                  </a:cubicBezTo>
                  <a:cubicBezTo>
                    <a:pt x="174" y="788"/>
                    <a:pt x="164" y="782"/>
                    <a:pt x="160" y="787"/>
                  </a:cubicBezTo>
                  <a:cubicBezTo>
                    <a:pt x="156" y="794"/>
                    <a:pt x="157" y="800"/>
                    <a:pt x="166" y="801"/>
                  </a:cubicBezTo>
                  <a:cubicBezTo>
                    <a:pt x="177" y="802"/>
                    <a:pt x="200" y="798"/>
                    <a:pt x="200" y="798"/>
                  </a:cubicBezTo>
                  <a:cubicBezTo>
                    <a:pt x="199" y="794"/>
                    <a:pt x="199" y="794"/>
                    <a:pt x="199" y="794"/>
                  </a:cubicBezTo>
                  <a:cubicBezTo>
                    <a:pt x="196" y="793"/>
                    <a:pt x="196" y="793"/>
                    <a:pt x="196" y="793"/>
                  </a:cubicBezTo>
                  <a:cubicBezTo>
                    <a:pt x="202" y="791"/>
                    <a:pt x="202" y="791"/>
                    <a:pt x="202" y="791"/>
                  </a:cubicBezTo>
                  <a:cubicBezTo>
                    <a:pt x="202" y="788"/>
                    <a:pt x="202" y="788"/>
                    <a:pt x="202" y="788"/>
                  </a:cubicBezTo>
                  <a:cubicBezTo>
                    <a:pt x="198" y="789"/>
                    <a:pt x="198" y="789"/>
                    <a:pt x="198" y="789"/>
                  </a:cubicBezTo>
                  <a:cubicBezTo>
                    <a:pt x="198" y="785"/>
                    <a:pt x="198" y="785"/>
                    <a:pt x="198" y="785"/>
                  </a:cubicBezTo>
                  <a:cubicBezTo>
                    <a:pt x="195" y="782"/>
                    <a:pt x="195" y="782"/>
                    <a:pt x="195" y="782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5" y="779"/>
                    <a:pt x="205" y="779"/>
                    <a:pt x="205" y="779"/>
                  </a:cubicBezTo>
                  <a:cubicBezTo>
                    <a:pt x="209" y="784"/>
                    <a:pt x="209" y="784"/>
                    <a:pt x="209" y="784"/>
                  </a:cubicBezTo>
                  <a:cubicBezTo>
                    <a:pt x="209" y="778"/>
                    <a:pt x="209" y="778"/>
                    <a:pt x="209" y="778"/>
                  </a:cubicBezTo>
                  <a:cubicBezTo>
                    <a:pt x="209" y="778"/>
                    <a:pt x="212" y="780"/>
                    <a:pt x="215" y="775"/>
                  </a:cubicBezTo>
                  <a:cubicBezTo>
                    <a:pt x="219" y="770"/>
                    <a:pt x="218" y="765"/>
                    <a:pt x="218" y="765"/>
                  </a:cubicBezTo>
                  <a:cubicBezTo>
                    <a:pt x="218" y="765"/>
                    <a:pt x="222" y="768"/>
                    <a:pt x="223" y="765"/>
                  </a:cubicBezTo>
                  <a:cubicBezTo>
                    <a:pt x="225" y="763"/>
                    <a:pt x="224" y="756"/>
                    <a:pt x="224" y="756"/>
                  </a:cubicBezTo>
                  <a:cubicBezTo>
                    <a:pt x="228" y="754"/>
                    <a:pt x="228" y="754"/>
                    <a:pt x="228" y="754"/>
                  </a:cubicBezTo>
                  <a:cubicBezTo>
                    <a:pt x="228" y="740"/>
                    <a:pt x="228" y="740"/>
                    <a:pt x="228" y="740"/>
                  </a:cubicBezTo>
                  <a:cubicBezTo>
                    <a:pt x="236" y="740"/>
                    <a:pt x="236" y="740"/>
                    <a:pt x="236" y="740"/>
                  </a:cubicBezTo>
                  <a:cubicBezTo>
                    <a:pt x="235" y="733"/>
                    <a:pt x="235" y="733"/>
                    <a:pt x="235" y="733"/>
                  </a:cubicBezTo>
                  <a:cubicBezTo>
                    <a:pt x="243" y="732"/>
                    <a:pt x="243" y="732"/>
                    <a:pt x="243" y="732"/>
                  </a:cubicBezTo>
                  <a:cubicBezTo>
                    <a:pt x="243" y="732"/>
                    <a:pt x="239" y="722"/>
                    <a:pt x="247" y="714"/>
                  </a:cubicBezTo>
                  <a:cubicBezTo>
                    <a:pt x="256" y="705"/>
                    <a:pt x="262" y="707"/>
                    <a:pt x="262" y="707"/>
                  </a:cubicBezTo>
                  <a:cubicBezTo>
                    <a:pt x="266" y="705"/>
                    <a:pt x="266" y="705"/>
                    <a:pt x="266" y="705"/>
                  </a:cubicBezTo>
                  <a:cubicBezTo>
                    <a:pt x="268" y="707"/>
                    <a:pt x="268" y="707"/>
                    <a:pt x="268" y="707"/>
                  </a:cubicBezTo>
                  <a:cubicBezTo>
                    <a:pt x="270" y="703"/>
                    <a:pt x="270" y="703"/>
                    <a:pt x="270" y="703"/>
                  </a:cubicBezTo>
                  <a:cubicBezTo>
                    <a:pt x="274" y="708"/>
                    <a:pt x="274" y="708"/>
                    <a:pt x="274" y="708"/>
                  </a:cubicBezTo>
                  <a:cubicBezTo>
                    <a:pt x="281" y="707"/>
                    <a:pt x="281" y="707"/>
                    <a:pt x="281" y="707"/>
                  </a:cubicBezTo>
                  <a:cubicBezTo>
                    <a:pt x="283" y="702"/>
                    <a:pt x="283" y="702"/>
                    <a:pt x="283" y="702"/>
                  </a:cubicBezTo>
                  <a:cubicBezTo>
                    <a:pt x="285" y="708"/>
                    <a:pt x="285" y="708"/>
                    <a:pt x="285" y="708"/>
                  </a:cubicBezTo>
                  <a:cubicBezTo>
                    <a:pt x="290" y="703"/>
                    <a:pt x="290" y="703"/>
                    <a:pt x="290" y="703"/>
                  </a:cubicBezTo>
                  <a:cubicBezTo>
                    <a:pt x="290" y="703"/>
                    <a:pt x="293" y="708"/>
                    <a:pt x="296" y="707"/>
                  </a:cubicBezTo>
                  <a:cubicBezTo>
                    <a:pt x="299" y="706"/>
                    <a:pt x="298" y="699"/>
                    <a:pt x="298" y="699"/>
                  </a:cubicBezTo>
                  <a:cubicBezTo>
                    <a:pt x="304" y="696"/>
                    <a:pt x="304" y="696"/>
                    <a:pt x="304" y="696"/>
                  </a:cubicBezTo>
                  <a:cubicBezTo>
                    <a:pt x="304" y="696"/>
                    <a:pt x="301" y="687"/>
                    <a:pt x="304" y="685"/>
                  </a:cubicBezTo>
                  <a:cubicBezTo>
                    <a:pt x="307" y="683"/>
                    <a:pt x="309" y="688"/>
                    <a:pt x="309" y="688"/>
                  </a:cubicBezTo>
                  <a:cubicBezTo>
                    <a:pt x="318" y="683"/>
                    <a:pt x="318" y="683"/>
                    <a:pt x="318" y="683"/>
                  </a:cubicBezTo>
                  <a:cubicBezTo>
                    <a:pt x="318" y="683"/>
                    <a:pt x="318" y="677"/>
                    <a:pt x="322" y="677"/>
                  </a:cubicBezTo>
                  <a:cubicBezTo>
                    <a:pt x="326" y="677"/>
                    <a:pt x="326" y="679"/>
                    <a:pt x="326" y="679"/>
                  </a:cubicBezTo>
                  <a:cubicBezTo>
                    <a:pt x="332" y="678"/>
                    <a:pt x="332" y="678"/>
                    <a:pt x="332" y="678"/>
                  </a:cubicBezTo>
                  <a:cubicBezTo>
                    <a:pt x="332" y="678"/>
                    <a:pt x="333" y="684"/>
                    <a:pt x="337" y="685"/>
                  </a:cubicBezTo>
                  <a:cubicBezTo>
                    <a:pt x="340" y="685"/>
                    <a:pt x="345" y="682"/>
                    <a:pt x="345" y="685"/>
                  </a:cubicBezTo>
                  <a:cubicBezTo>
                    <a:pt x="345" y="689"/>
                    <a:pt x="337" y="691"/>
                    <a:pt x="337" y="691"/>
                  </a:cubicBezTo>
                  <a:cubicBezTo>
                    <a:pt x="338" y="696"/>
                    <a:pt x="338" y="696"/>
                    <a:pt x="338" y="696"/>
                  </a:cubicBezTo>
                  <a:cubicBezTo>
                    <a:pt x="341" y="694"/>
                    <a:pt x="341" y="694"/>
                    <a:pt x="341" y="694"/>
                  </a:cubicBezTo>
                  <a:cubicBezTo>
                    <a:pt x="342" y="701"/>
                    <a:pt x="342" y="701"/>
                    <a:pt x="342" y="701"/>
                  </a:cubicBezTo>
                  <a:cubicBezTo>
                    <a:pt x="352" y="703"/>
                    <a:pt x="352" y="703"/>
                    <a:pt x="352" y="703"/>
                  </a:cubicBezTo>
                  <a:cubicBezTo>
                    <a:pt x="352" y="706"/>
                    <a:pt x="352" y="706"/>
                    <a:pt x="352" y="706"/>
                  </a:cubicBezTo>
                  <a:cubicBezTo>
                    <a:pt x="346" y="706"/>
                    <a:pt x="346" y="706"/>
                    <a:pt x="346" y="706"/>
                  </a:cubicBezTo>
                  <a:cubicBezTo>
                    <a:pt x="348" y="713"/>
                    <a:pt x="348" y="713"/>
                    <a:pt x="348" y="713"/>
                  </a:cubicBezTo>
                  <a:cubicBezTo>
                    <a:pt x="357" y="709"/>
                    <a:pt x="357" y="709"/>
                    <a:pt x="357" y="709"/>
                  </a:cubicBezTo>
                  <a:cubicBezTo>
                    <a:pt x="357" y="709"/>
                    <a:pt x="357" y="716"/>
                    <a:pt x="359" y="718"/>
                  </a:cubicBezTo>
                  <a:cubicBezTo>
                    <a:pt x="361" y="720"/>
                    <a:pt x="364" y="725"/>
                    <a:pt x="363" y="732"/>
                  </a:cubicBezTo>
                  <a:cubicBezTo>
                    <a:pt x="363" y="738"/>
                    <a:pt x="361" y="741"/>
                    <a:pt x="361" y="748"/>
                  </a:cubicBezTo>
                  <a:cubicBezTo>
                    <a:pt x="361" y="753"/>
                    <a:pt x="367" y="760"/>
                    <a:pt x="367" y="760"/>
                  </a:cubicBezTo>
                  <a:cubicBezTo>
                    <a:pt x="391" y="756"/>
                    <a:pt x="391" y="756"/>
                    <a:pt x="391" y="756"/>
                  </a:cubicBezTo>
                  <a:cubicBezTo>
                    <a:pt x="391" y="756"/>
                    <a:pt x="388" y="767"/>
                    <a:pt x="381" y="768"/>
                  </a:cubicBezTo>
                  <a:cubicBezTo>
                    <a:pt x="374" y="770"/>
                    <a:pt x="366" y="769"/>
                    <a:pt x="362" y="772"/>
                  </a:cubicBezTo>
                  <a:cubicBezTo>
                    <a:pt x="358" y="776"/>
                    <a:pt x="350" y="784"/>
                    <a:pt x="346" y="786"/>
                  </a:cubicBezTo>
                  <a:cubicBezTo>
                    <a:pt x="342" y="788"/>
                    <a:pt x="331" y="789"/>
                    <a:pt x="331" y="789"/>
                  </a:cubicBezTo>
                  <a:cubicBezTo>
                    <a:pt x="330" y="799"/>
                    <a:pt x="330" y="799"/>
                    <a:pt x="330" y="799"/>
                  </a:cubicBezTo>
                  <a:cubicBezTo>
                    <a:pt x="323" y="801"/>
                    <a:pt x="323" y="801"/>
                    <a:pt x="323" y="801"/>
                  </a:cubicBezTo>
                  <a:cubicBezTo>
                    <a:pt x="323" y="801"/>
                    <a:pt x="321" y="810"/>
                    <a:pt x="321" y="814"/>
                  </a:cubicBezTo>
                  <a:cubicBezTo>
                    <a:pt x="321" y="818"/>
                    <a:pt x="326" y="823"/>
                    <a:pt x="326" y="823"/>
                  </a:cubicBezTo>
                  <a:cubicBezTo>
                    <a:pt x="326" y="823"/>
                    <a:pt x="323" y="823"/>
                    <a:pt x="321" y="825"/>
                  </a:cubicBezTo>
                  <a:cubicBezTo>
                    <a:pt x="318" y="827"/>
                    <a:pt x="317" y="831"/>
                    <a:pt x="317" y="831"/>
                  </a:cubicBezTo>
                  <a:cubicBezTo>
                    <a:pt x="313" y="834"/>
                    <a:pt x="313" y="834"/>
                    <a:pt x="313" y="834"/>
                  </a:cubicBezTo>
                  <a:cubicBezTo>
                    <a:pt x="314" y="838"/>
                    <a:pt x="314" y="838"/>
                    <a:pt x="314" y="838"/>
                  </a:cubicBezTo>
                  <a:cubicBezTo>
                    <a:pt x="322" y="836"/>
                    <a:pt x="322" y="836"/>
                    <a:pt x="322" y="836"/>
                  </a:cubicBezTo>
                  <a:cubicBezTo>
                    <a:pt x="321" y="842"/>
                    <a:pt x="321" y="842"/>
                    <a:pt x="321" y="842"/>
                  </a:cubicBezTo>
                  <a:cubicBezTo>
                    <a:pt x="327" y="840"/>
                    <a:pt x="327" y="840"/>
                    <a:pt x="327" y="840"/>
                  </a:cubicBezTo>
                  <a:cubicBezTo>
                    <a:pt x="328" y="842"/>
                    <a:pt x="328" y="842"/>
                    <a:pt x="328" y="842"/>
                  </a:cubicBezTo>
                  <a:cubicBezTo>
                    <a:pt x="337" y="842"/>
                    <a:pt x="337" y="842"/>
                    <a:pt x="337" y="842"/>
                  </a:cubicBezTo>
                  <a:cubicBezTo>
                    <a:pt x="337" y="842"/>
                    <a:pt x="339" y="846"/>
                    <a:pt x="342" y="846"/>
                  </a:cubicBezTo>
                  <a:cubicBezTo>
                    <a:pt x="346" y="845"/>
                    <a:pt x="349" y="840"/>
                    <a:pt x="352" y="843"/>
                  </a:cubicBezTo>
                  <a:cubicBezTo>
                    <a:pt x="355" y="847"/>
                    <a:pt x="345" y="850"/>
                    <a:pt x="345" y="850"/>
                  </a:cubicBezTo>
                  <a:cubicBezTo>
                    <a:pt x="345" y="850"/>
                    <a:pt x="344" y="860"/>
                    <a:pt x="340" y="859"/>
                  </a:cubicBezTo>
                  <a:cubicBezTo>
                    <a:pt x="336" y="858"/>
                    <a:pt x="323" y="857"/>
                    <a:pt x="323" y="857"/>
                  </a:cubicBezTo>
                  <a:cubicBezTo>
                    <a:pt x="323" y="857"/>
                    <a:pt x="316" y="863"/>
                    <a:pt x="312" y="864"/>
                  </a:cubicBezTo>
                  <a:cubicBezTo>
                    <a:pt x="309" y="865"/>
                    <a:pt x="297" y="866"/>
                    <a:pt x="301" y="879"/>
                  </a:cubicBezTo>
                  <a:cubicBezTo>
                    <a:pt x="306" y="891"/>
                    <a:pt x="314" y="889"/>
                    <a:pt x="321" y="886"/>
                  </a:cubicBezTo>
                  <a:cubicBezTo>
                    <a:pt x="328" y="883"/>
                    <a:pt x="336" y="879"/>
                    <a:pt x="341" y="886"/>
                  </a:cubicBezTo>
                  <a:cubicBezTo>
                    <a:pt x="346" y="891"/>
                    <a:pt x="363" y="907"/>
                    <a:pt x="367" y="906"/>
                  </a:cubicBezTo>
                  <a:cubicBezTo>
                    <a:pt x="373" y="906"/>
                    <a:pt x="378" y="904"/>
                    <a:pt x="385" y="913"/>
                  </a:cubicBezTo>
                  <a:cubicBezTo>
                    <a:pt x="391" y="922"/>
                    <a:pt x="390" y="931"/>
                    <a:pt x="390" y="931"/>
                  </a:cubicBezTo>
                  <a:cubicBezTo>
                    <a:pt x="393" y="931"/>
                    <a:pt x="393" y="931"/>
                    <a:pt x="393" y="931"/>
                  </a:cubicBezTo>
                  <a:cubicBezTo>
                    <a:pt x="397" y="925"/>
                    <a:pt x="397" y="925"/>
                    <a:pt x="397" y="925"/>
                  </a:cubicBezTo>
                  <a:cubicBezTo>
                    <a:pt x="402" y="925"/>
                    <a:pt x="402" y="925"/>
                    <a:pt x="402" y="925"/>
                  </a:cubicBezTo>
                  <a:cubicBezTo>
                    <a:pt x="402" y="925"/>
                    <a:pt x="402" y="921"/>
                    <a:pt x="406" y="920"/>
                  </a:cubicBezTo>
                  <a:cubicBezTo>
                    <a:pt x="408" y="920"/>
                    <a:pt x="408" y="920"/>
                    <a:pt x="408" y="920"/>
                  </a:cubicBezTo>
                  <a:cubicBezTo>
                    <a:pt x="408" y="320"/>
                    <a:pt x="408" y="320"/>
                    <a:pt x="408" y="320"/>
                  </a:cubicBezTo>
                  <a:cubicBezTo>
                    <a:pt x="399" y="324"/>
                    <a:pt x="387" y="331"/>
                    <a:pt x="379" y="327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61" name="Freeform 45"/>
            <p:cNvSpPr>
              <a:spLocks noEditPoints="1"/>
            </p:cNvSpPr>
            <p:nvPr/>
          </p:nvSpPr>
          <p:spPr bwMode="auto">
            <a:xfrm>
              <a:off x="5452" y="2198"/>
              <a:ext cx="309" cy="332"/>
            </a:xfrm>
            <a:custGeom>
              <a:avLst/>
              <a:gdLst/>
              <a:ahLst/>
              <a:cxnLst>
                <a:cxn ang="0">
                  <a:pos x="96" y="214"/>
                </a:cxn>
                <a:cxn ang="0">
                  <a:pos x="79" y="212"/>
                </a:cxn>
                <a:cxn ang="0">
                  <a:pos x="65" y="212"/>
                </a:cxn>
                <a:cxn ang="0">
                  <a:pos x="60" y="216"/>
                </a:cxn>
                <a:cxn ang="0">
                  <a:pos x="38" y="218"/>
                </a:cxn>
                <a:cxn ang="0">
                  <a:pos x="54" y="229"/>
                </a:cxn>
                <a:cxn ang="0">
                  <a:pos x="71" y="238"/>
                </a:cxn>
                <a:cxn ang="0">
                  <a:pos x="92" y="243"/>
                </a:cxn>
                <a:cxn ang="0">
                  <a:pos x="103" y="238"/>
                </a:cxn>
                <a:cxn ang="0">
                  <a:pos x="121" y="235"/>
                </a:cxn>
                <a:cxn ang="0">
                  <a:pos x="112" y="220"/>
                </a:cxn>
                <a:cxn ang="0">
                  <a:pos x="224" y="46"/>
                </a:cxn>
                <a:cxn ang="0">
                  <a:pos x="202" y="36"/>
                </a:cxn>
                <a:cxn ang="0">
                  <a:pos x="173" y="13"/>
                </a:cxn>
                <a:cxn ang="0">
                  <a:pos x="141" y="0"/>
                </a:cxn>
                <a:cxn ang="0">
                  <a:pos x="133" y="31"/>
                </a:cxn>
                <a:cxn ang="0">
                  <a:pos x="131" y="48"/>
                </a:cxn>
                <a:cxn ang="0">
                  <a:pos x="104" y="63"/>
                </a:cxn>
                <a:cxn ang="0">
                  <a:pos x="84" y="55"/>
                </a:cxn>
                <a:cxn ang="0">
                  <a:pos x="63" y="45"/>
                </a:cxn>
                <a:cxn ang="0">
                  <a:pos x="46" y="48"/>
                </a:cxn>
                <a:cxn ang="0">
                  <a:pos x="42" y="69"/>
                </a:cxn>
                <a:cxn ang="0">
                  <a:pos x="54" y="75"/>
                </a:cxn>
                <a:cxn ang="0">
                  <a:pos x="76" y="96"/>
                </a:cxn>
                <a:cxn ang="0">
                  <a:pos x="51" y="102"/>
                </a:cxn>
                <a:cxn ang="0">
                  <a:pos x="32" y="97"/>
                </a:cxn>
                <a:cxn ang="0">
                  <a:pos x="1" y="120"/>
                </a:cxn>
                <a:cxn ang="0">
                  <a:pos x="16" y="120"/>
                </a:cxn>
                <a:cxn ang="0">
                  <a:pos x="17" y="126"/>
                </a:cxn>
                <a:cxn ang="0">
                  <a:pos x="23" y="128"/>
                </a:cxn>
                <a:cxn ang="0">
                  <a:pos x="31" y="124"/>
                </a:cxn>
                <a:cxn ang="0">
                  <a:pos x="44" y="128"/>
                </a:cxn>
                <a:cxn ang="0">
                  <a:pos x="39" y="150"/>
                </a:cxn>
                <a:cxn ang="0">
                  <a:pos x="77" y="156"/>
                </a:cxn>
                <a:cxn ang="0">
                  <a:pos x="68" y="181"/>
                </a:cxn>
                <a:cxn ang="0">
                  <a:pos x="84" y="185"/>
                </a:cxn>
                <a:cxn ang="0">
                  <a:pos x="109" y="189"/>
                </a:cxn>
                <a:cxn ang="0">
                  <a:pos x="125" y="189"/>
                </a:cxn>
                <a:cxn ang="0">
                  <a:pos x="133" y="198"/>
                </a:cxn>
                <a:cxn ang="0">
                  <a:pos x="131" y="206"/>
                </a:cxn>
                <a:cxn ang="0">
                  <a:pos x="142" y="219"/>
                </a:cxn>
                <a:cxn ang="0">
                  <a:pos x="150" y="217"/>
                </a:cxn>
                <a:cxn ang="0">
                  <a:pos x="151" y="211"/>
                </a:cxn>
                <a:cxn ang="0">
                  <a:pos x="158" y="196"/>
                </a:cxn>
                <a:cxn ang="0">
                  <a:pos x="165" y="171"/>
                </a:cxn>
                <a:cxn ang="0">
                  <a:pos x="176" y="156"/>
                </a:cxn>
                <a:cxn ang="0">
                  <a:pos x="194" y="139"/>
                </a:cxn>
                <a:cxn ang="0">
                  <a:pos x="207" y="159"/>
                </a:cxn>
                <a:cxn ang="0">
                  <a:pos x="223" y="174"/>
                </a:cxn>
                <a:cxn ang="0">
                  <a:pos x="218" y="191"/>
                </a:cxn>
                <a:cxn ang="0">
                  <a:pos x="228" y="46"/>
                </a:cxn>
              </a:cxnLst>
              <a:rect l="0" t="0" r="r" b="b"/>
              <a:pathLst>
                <a:path w="228" h="244">
                  <a:moveTo>
                    <a:pt x="108" y="212"/>
                  </a:moveTo>
                  <a:cubicBezTo>
                    <a:pt x="104" y="212"/>
                    <a:pt x="96" y="214"/>
                    <a:pt x="96" y="214"/>
                  </a:cubicBezTo>
                  <a:cubicBezTo>
                    <a:pt x="96" y="214"/>
                    <a:pt x="95" y="201"/>
                    <a:pt x="90" y="201"/>
                  </a:cubicBezTo>
                  <a:cubicBezTo>
                    <a:pt x="85" y="201"/>
                    <a:pt x="79" y="212"/>
                    <a:pt x="79" y="212"/>
                  </a:cubicBezTo>
                  <a:cubicBezTo>
                    <a:pt x="68" y="214"/>
                    <a:pt x="68" y="214"/>
                    <a:pt x="68" y="214"/>
                  </a:cubicBezTo>
                  <a:cubicBezTo>
                    <a:pt x="65" y="212"/>
                    <a:pt x="65" y="212"/>
                    <a:pt x="65" y="212"/>
                  </a:cubicBezTo>
                  <a:cubicBezTo>
                    <a:pt x="63" y="215"/>
                    <a:pt x="63" y="215"/>
                    <a:pt x="63" y="215"/>
                  </a:cubicBezTo>
                  <a:cubicBezTo>
                    <a:pt x="60" y="216"/>
                    <a:pt x="60" y="216"/>
                    <a:pt x="60" y="216"/>
                  </a:cubicBezTo>
                  <a:cubicBezTo>
                    <a:pt x="60" y="216"/>
                    <a:pt x="56" y="204"/>
                    <a:pt x="50" y="205"/>
                  </a:cubicBezTo>
                  <a:cubicBezTo>
                    <a:pt x="45" y="206"/>
                    <a:pt x="38" y="218"/>
                    <a:pt x="38" y="218"/>
                  </a:cubicBezTo>
                  <a:cubicBezTo>
                    <a:pt x="38" y="218"/>
                    <a:pt x="45" y="219"/>
                    <a:pt x="48" y="220"/>
                  </a:cubicBezTo>
                  <a:cubicBezTo>
                    <a:pt x="50" y="222"/>
                    <a:pt x="51" y="229"/>
                    <a:pt x="54" y="229"/>
                  </a:cubicBezTo>
                  <a:cubicBezTo>
                    <a:pt x="56" y="229"/>
                    <a:pt x="61" y="227"/>
                    <a:pt x="63" y="229"/>
                  </a:cubicBezTo>
                  <a:cubicBezTo>
                    <a:pt x="65" y="230"/>
                    <a:pt x="67" y="238"/>
                    <a:pt x="71" y="238"/>
                  </a:cubicBezTo>
                  <a:cubicBezTo>
                    <a:pt x="76" y="238"/>
                    <a:pt x="79" y="236"/>
                    <a:pt x="81" y="235"/>
                  </a:cubicBezTo>
                  <a:cubicBezTo>
                    <a:pt x="84" y="235"/>
                    <a:pt x="92" y="243"/>
                    <a:pt x="92" y="243"/>
                  </a:cubicBezTo>
                  <a:cubicBezTo>
                    <a:pt x="101" y="244"/>
                    <a:pt x="101" y="244"/>
                    <a:pt x="101" y="244"/>
                  </a:cubicBezTo>
                  <a:cubicBezTo>
                    <a:pt x="103" y="238"/>
                    <a:pt x="103" y="238"/>
                    <a:pt x="103" y="238"/>
                  </a:cubicBezTo>
                  <a:cubicBezTo>
                    <a:pt x="119" y="239"/>
                    <a:pt x="119" y="239"/>
                    <a:pt x="119" y="239"/>
                  </a:cubicBezTo>
                  <a:cubicBezTo>
                    <a:pt x="121" y="235"/>
                    <a:pt x="121" y="235"/>
                    <a:pt x="121" y="235"/>
                  </a:cubicBezTo>
                  <a:cubicBezTo>
                    <a:pt x="131" y="234"/>
                    <a:pt x="131" y="234"/>
                    <a:pt x="131" y="234"/>
                  </a:cubicBezTo>
                  <a:cubicBezTo>
                    <a:pt x="112" y="220"/>
                    <a:pt x="112" y="220"/>
                    <a:pt x="112" y="220"/>
                  </a:cubicBezTo>
                  <a:cubicBezTo>
                    <a:pt x="112" y="220"/>
                    <a:pt x="112" y="213"/>
                    <a:pt x="108" y="212"/>
                  </a:cubicBezTo>
                  <a:close/>
                  <a:moveTo>
                    <a:pt x="224" y="46"/>
                  </a:moveTo>
                  <a:cubicBezTo>
                    <a:pt x="216" y="43"/>
                    <a:pt x="223" y="40"/>
                    <a:pt x="218" y="37"/>
                  </a:cubicBezTo>
                  <a:cubicBezTo>
                    <a:pt x="213" y="33"/>
                    <a:pt x="215" y="45"/>
                    <a:pt x="202" y="36"/>
                  </a:cubicBezTo>
                  <a:cubicBezTo>
                    <a:pt x="190" y="27"/>
                    <a:pt x="179" y="14"/>
                    <a:pt x="179" y="14"/>
                  </a:cubicBezTo>
                  <a:cubicBezTo>
                    <a:pt x="173" y="13"/>
                    <a:pt x="173" y="13"/>
                    <a:pt x="173" y="13"/>
                  </a:cubicBezTo>
                  <a:cubicBezTo>
                    <a:pt x="173" y="13"/>
                    <a:pt x="163" y="8"/>
                    <a:pt x="158" y="6"/>
                  </a:cubicBezTo>
                  <a:cubicBezTo>
                    <a:pt x="152" y="2"/>
                    <a:pt x="141" y="0"/>
                    <a:pt x="141" y="0"/>
                  </a:cubicBezTo>
                  <a:cubicBezTo>
                    <a:pt x="142" y="18"/>
                    <a:pt x="142" y="18"/>
                    <a:pt x="142" y="18"/>
                  </a:cubicBezTo>
                  <a:cubicBezTo>
                    <a:pt x="133" y="31"/>
                    <a:pt x="133" y="31"/>
                    <a:pt x="133" y="31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1" y="48"/>
                    <a:pt x="136" y="59"/>
                    <a:pt x="125" y="60"/>
                  </a:cubicBezTo>
                  <a:cubicBezTo>
                    <a:pt x="113" y="61"/>
                    <a:pt x="107" y="63"/>
                    <a:pt x="104" y="63"/>
                  </a:cubicBezTo>
                  <a:cubicBezTo>
                    <a:pt x="103" y="63"/>
                    <a:pt x="86" y="52"/>
                    <a:pt x="86" y="52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79" y="46"/>
                    <a:pt x="74" y="46"/>
                  </a:cubicBezTo>
                  <a:cubicBezTo>
                    <a:pt x="67" y="46"/>
                    <a:pt x="63" y="45"/>
                    <a:pt x="63" y="45"/>
                  </a:cubicBezTo>
                  <a:cubicBezTo>
                    <a:pt x="55" y="49"/>
                    <a:pt x="55" y="49"/>
                    <a:pt x="55" y="49"/>
                  </a:cubicBezTo>
                  <a:cubicBezTo>
                    <a:pt x="55" y="49"/>
                    <a:pt x="54" y="47"/>
                    <a:pt x="46" y="48"/>
                  </a:cubicBezTo>
                  <a:cubicBezTo>
                    <a:pt x="48" y="58"/>
                    <a:pt x="48" y="58"/>
                    <a:pt x="48" y="58"/>
                  </a:cubicBezTo>
                  <a:cubicBezTo>
                    <a:pt x="48" y="58"/>
                    <a:pt x="42" y="61"/>
                    <a:pt x="42" y="69"/>
                  </a:cubicBezTo>
                  <a:cubicBezTo>
                    <a:pt x="43" y="76"/>
                    <a:pt x="55" y="71"/>
                    <a:pt x="55" y="71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64" y="76"/>
                    <a:pt x="76" y="77"/>
                  </a:cubicBezTo>
                  <a:cubicBezTo>
                    <a:pt x="86" y="78"/>
                    <a:pt x="82" y="90"/>
                    <a:pt x="76" y="96"/>
                  </a:cubicBezTo>
                  <a:cubicBezTo>
                    <a:pt x="68" y="103"/>
                    <a:pt x="59" y="94"/>
                    <a:pt x="56" y="94"/>
                  </a:cubicBezTo>
                  <a:cubicBezTo>
                    <a:pt x="53" y="94"/>
                    <a:pt x="54" y="100"/>
                    <a:pt x="51" y="102"/>
                  </a:cubicBezTo>
                  <a:cubicBezTo>
                    <a:pt x="49" y="104"/>
                    <a:pt x="42" y="103"/>
                    <a:pt x="37" y="103"/>
                  </a:cubicBezTo>
                  <a:cubicBezTo>
                    <a:pt x="33" y="103"/>
                    <a:pt x="32" y="97"/>
                    <a:pt x="32" y="97"/>
                  </a:cubicBezTo>
                  <a:cubicBezTo>
                    <a:pt x="32" y="97"/>
                    <a:pt x="23" y="100"/>
                    <a:pt x="11" y="100"/>
                  </a:cubicBezTo>
                  <a:cubicBezTo>
                    <a:pt x="0" y="100"/>
                    <a:pt x="3" y="113"/>
                    <a:pt x="1" y="120"/>
                  </a:cubicBezTo>
                  <a:cubicBezTo>
                    <a:pt x="3" y="120"/>
                    <a:pt x="5" y="121"/>
                    <a:pt x="6" y="121"/>
                  </a:cubicBezTo>
                  <a:cubicBezTo>
                    <a:pt x="9" y="120"/>
                    <a:pt x="15" y="115"/>
                    <a:pt x="16" y="120"/>
                  </a:cubicBezTo>
                  <a:cubicBezTo>
                    <a:pt x="17" y="125"/>
                    <a:pt x="5" y="131"/>
                    <a:pt x="9" y="132"/>
                  </a:cubicBezTo>
                  <a:cubicBezTo>
                    <a:pt x="12" y="132"/>
                    <a:pt x="15" y="125"/>
                    <a:pt x="17" y="126"/>
                  </a:cubicBezTo>
                  <a:cubicBezTo>
                    <a:pt x="19" y="127"/>
                    <a:pt x="16" y="134"/>
                    <a:pt x="19" y="134"/>
                  </a:cubicBezTo>
                  <a:cubicBezTo>
                    <a:pt x="22" y="134"/>
                    <a:pt x="19" y="128"/>
                    <a:pt x="23" y="128"/>
                  </a:cubicBezTo>
                  <a:cubicBezTo>
                    <a:pt x="28" y="127"/>
                    <a:pt x="28" y="124"/>
                    <a:pt x="28" y="124"/>
                  </a:cubicBezTo>
                  <a:cubicBezTo>
                    <a:pt x="31" y="124"/>
                    <a:pt x="31" y="124"/>
                    <a:pt x="31" y="124"/>
                  </a:cubicBezTo>
                  <a:cubicBezTo>
                    <a:pt x="31" y="128"/>
                    <a:pt x="31" y="128"/>
                    <a:pt x="31" y="128"/>
                  </a:cubicBezTo>
                  <a:cubicBezTo>
                    <a:pt x="31" y="128"/>
                    <a:pt x="42" y="123"/>
                    <a:pt x="44" y="128"/>
                  </a:cubicBezTo>
                  <a:cubicBezTo>
                    <a:pt x="46" y="135"/>
                    <a:pt x="39" y="138"/>
                    <a:pt x="39" y="138"/>
                  </a:cubicBezTo>
                  <a:cubicBezTo>
                    <a:pt x="39" y="150"/>
                    <a:pt x="39" y="150"/>
                    <a:pt x="39" y="150"/>
                  </a:cubicBezTo>
                  <a:cubicBezTo>
                    <a:pt x="39" y="150"/>
                    <a:pt x="49" y="154"/>
                    <a:pt x="58" y="156"/>
                  </a:cubicBezTo>
                  <a:cubicBezTo>
                    <a:pt x="66" y="158"/>
                    <a:pt x="74" y="153"/>
                    <a:pt x="77" y="156"/>
                  </a:cubicBezTo>
                  <a:cubicBezTo>
                    <a:pt x="81" y="158"/>
                    <a:pt x="83" y="168"/>
                    <a:pt x="81" y="171"/>
                  </a:cubicBezTo>
                  <a:cubicBezTo>
                    <a:pt x="79" y="174"/>
                    <a:pt x="65" y="179"/>
                    <a:pt x="68" y="181"/>
                  </a:cubicBezTo>
                  <a:cubicBezTo>
                    <a:pt x="71" y="183"/>
                    <a:pt x="79" y="180"/>
                    <a:pt x="81" y="181"/>
                  </a:cubicBezTo>
                  <a:cubicBezTo>
                    <a:pt x="83" y="182"/>
                    <a:pt x="82" y="185"/>
                    <a:pt x="84" y="185"/>
                  </a:cubicBezTo>
                  <a:cubicBezTo>
                    <a:pt x="86" y="185"/>
                    <a:pt x="92" y="182"/>
                    <a:pt x="95" y="183"/>
                  </a:cubicBezTo>
                  <a:cubicBezTo>
                    <a:pt x="98" y="185"/>
                    <a:pt x="105" y="190"/>
                    <a:pt x="109" y="189"/>
                  </a:cubicBezTo>
                  <a:cubicBezTo>
                    <a:pt x="111" y="188"/>
                    <a:pt x="111" y="184"/>
                    <a:pt x="118" y="184"/>
                  </a:cubicBezTo>
                  <a:cubicBezTo>
                    <a:pt x="126" y="184"/>
                    <a:pt x="127" y="188"/>
                    <a:pt x="125" y="189"/>
                  </a:cubicBezTo>
                  <a:cubicBezTo>
                    <a:pt x="123" y="190"/>
                    <a:pt x="120" y="192"/>
                    <a:pt x="121" y="196"/>
                  </a:cubicBezTo>
                  <a:cubicBezTo>
                    <a:pt x="124" y="198"/>
                    <a:pt x="128" y="197"/>
                    <a:pt x="133" y="198"/>
                  </a:cubicBezTo>
                  <a:cubicBezTo>
                    <a:pt x="138" y="200"/>
                    <a:pt x="142" y="201"/>
                    <a:pt x="138" y="203"/>
                  </a:cubicBezTo>
                  <a:cubicBezTo>
                    <a:pt x="135" y="205"/>
                    <a:pt x="131" y="203"/>
                    <a:pt x="131" y="206"/>
                  </a:cubicBezTo>
                  <a:cubicBezTo>
                    <a:pt x="131" y="209"/>
                    <a:pt x="140" y="207"/>
                    <a:pt x="140" y="211"/>
                  </a:cubicBezTo>
                  <a:cubicBezTo>
                    <a:pt x="141" y="214"/>
                    <a:pt x="142" y="219"/>
                    <a:pt x="142" y="219"/>
                  </a:cubicBezTo>
                  <a:cubicBezTo>
                    <a:pt x="147" y="221"/>
                    <a:pt x="147" y="221"/>
                    <a:pt x="147" y="221"/>
                  </a:cubicBezTo>
                  <a:cubicBezTo>
                    <a:pt x="150" y="217"/>
                    <a:pt x="150" y="217"/>
                    <a:pt x="150" y="217"/>
                  </a:cubicBezTo>
                  <a:cubicBezTo>
                    <a:pt x="146" y="211"/>
                    <a:pt x="146" y="211"/>
                    <a:pt x="146" y="211"/>
                  </a:cubicBezTo>
                  <a:cubicBezTo>
                    <a:pt x="151" y="211"/>
                    <a:pt x="151" y="211"/>
                    <a:pt x="151" y="211"/>
                  </a:cubicBezTo>
                  <a:cubicBezTo>
                    <a:pt x="151" y="211"/>
                    <a:pt x="148" y="203"/>
                    <a:pt x="151" y="201"/>
                  </a:cubicBezTo>
                  <a:cubicBezTo>
                    <a:pt x="154" y="198"/>
                    <a:pt x="158" y="200"/>
                    <a:pt x="158" y="196"/>
                  </a:cubicBezTo>
                  <a:cubicBezTo>
                    <a:pt x="158" y="191"/>
                    <a:pt x="158" y="188"/>
                    <a:pt x="160" y="182"/>
                  </a:cubicBezTo>
                  <a:cubicBezTo>
                    <a:pt x="163" y="175"/>
                    <a:pt x="165" y="171"/>
                    <a:pt x="165" y="171"/>
                  </a:cubicBezTo>
                  <a:cubicBezTo>
                    <a:pt x="165" y="167"/>
                    <a:pt x="165" y="167"/>
                    <a:pt x="165" y="167"/>
                  </a:cubicBezTo>
                  <a:cubicBezTo>
                    <a:pt x="165" y="167"/>
                    <a:pt x="173" y="162"/>
                    <a:pt x="176" y="156"/>
                  </a:cubicBezTo>
                  <a:cubicBezTo>
                    <a:pt x="178" y="150"/>
                    <a:pt x="176" y="146"/>
                    <a:pt x="179" y="142"/>
                  </a:cubicBezTo>
                  <a:cubicBezTo>
                    <a:pt x="183" y="139"/>
                    <a:pt x="190" y="138"/>
                    <a:pt x="194" y="139"/>
                  </a:cubicBezTo>
                  <a:cubicBezTo>
                    <a:pt x="199" y="140"/>
                    <a:pt x="214" y="149"/>
                    <a:pt x="214" y="149"/>
                  </a:cubicBezTo>
                  <a:cubicBezTo>
                    <a:pt x="214" y="149"/>
                    <a:pt x="203" y="152"/>
                    <a:pt x="207" y="159"/>
                  </a:cubicBezTo>
                  <a:cubicBezTo>
                    <a:pt x="210" y="168"/>
                    <a:pt x="223" y="167"/>
                    <a:pt x="223" y="167"/>
                  </a:cubicBezTo>
                  <a:cubicBezTo>
                    <a:pt x="223" y="174"/>
                    <a:pt x="223" y="174"/>
                    <a:pt x="223" y="174"/>
                  </a:cubicBezTo>
                  <a:cubicBezTo>
                    <a:pt x="223" y="174"/>
                    <a:pt x="217" y="178"/>
                    <a:pt x="216" y="181"/>
                  </a:cubicBezTo>
                  <a:cubicBezTo>
                    <a:pt x="215" y="183"/>
                    <a:pt x="216" y="191"/>
                    <a:pt x="218" y="191"/>
                  </a:cubicBezTo>
                  <a:cubicBezTo>
                    <a:pt x="219" y="191"/>
                    <a:pt x="225" y="189"/>
                    <a:pt x="228" y="188"/>
                  </a:cubicBezTo>
                  <a:cubicBezTo>
                    <a:pt x="228" y="46"/>
                    <a:pt x="228" y="46"/>
                    <a:pt x="228" y="46"/>
                  </a:cubicBezTo>
                  <a:lnTo>
                    <a:pt x="224" y="4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62" name="Freeform 46"/>
            <p:cNvSpPr>
              <a:spLocks/>
            </p:cNvSpPr>
            <p:nvPr/>
          </p:nvSpPr>
          <p:spPr bwMode="auto">
            <a:xfrm>
              <a:off x="5472" y="2385"/>
              <a:ext cx="289" cy="396"/>
            </a:xfrm>
            <a:custGeom>
              <a:avLst/>
              <a:gdLst/>
              <a:ahLst/>
              <a:cxnLst>
                <a:cxn ang="0">
                  <a:pos x="213" y="50"/>
                </a:cxn>
                <a:cxn ang="0">
                  <a:pos x="203" y="53"/>
                </a:cxn>
                <a:cxn ang="0">
                  <a:pos x="201" y="43"/>
                </a:cxn>
                <a:cxn ang="0">
                  <a:pos x="208" y="36"/>
                </a:cxn>
                <a:cxn ang="0">
                  <a:pos x="208" y="29"/>
                </a:cxn>
                <a:cxn ang="0">
                  <a:pos x="192" y="21"/>
                </a:cxn>
                <a:cxn ang="0">
                  <a:pos x="199" y="11"/>
                </a:cxn>
                <a:cxn ang="0">
                  <a:pos x="179" y="1"/>
                </a:cxn>
                <a:cxn ang="0">
                  <a:pos x="164" y="4"/>
                </a:cxn>
                <a:cxn ang="0">
                  <a:pos x="161" y="18"/>
                </a:cxn>
                <a:cxn ang="0">
                  <a:pos x="150" y="29"/>
                </a:cxn>
                <a:cxn ang="0">
                  <a:pos x="150" y="33"/>
                </a:cxn>
                <a:cxn ang="0">
                  <a:pos x="145" y="44"/>
                </a:cxn>
                <a:cxn ang="0">
                  <a:pos x="143" y="58"/>
                </a:cxn>
                <a:cxn ang="0">
                  <a:pos x="136" y="63"/>
                </a:cxn>
                <a:cxn ang="0">
                  <a:pos x="136" y="73"/>
                </a:cxn>
                <a:cxn ang="0">
                  <a:pos x="131" y="73"/>
                </a:cxn>
                <a:cxn ang="0">
                  <a:pos x="135" y="79"/>
                </a:cxn>
                <a:cxn ang="0">
                  <a:pos x="132" y="83"/>
                </a:cxn>
                <a:cxn ang="0">
                  <a:pos x="127" y="88"/>
                </a:cxn>
                <a:cxn ang="0">
                  <a:pos x="121" y="89"/>
                </a:cxn>
                <a:cxn ang="0">
                  <a:pos x="116" y="96"/>
                </a:cxn>
                <a:cxn ang="0">
                  <a:pos x="106" y="97"/>
                </a:cxn>
                <a:cxn ang="0">
                  <a:pos x="104" y="101"/>
                </a:cxn>
                <a:cxn ang="0">
                  <a:pos x="88" y="100"/>
                </a:cxn>
                <a:cxn ang="0">
                  <a:pos x="86" y="106"/>
                </a:cxn>
                <a:cxn ang="0">
                  <a:pos x="77" y="105"/>
                </a:cxn>
                <a:cxn ang="0">
                  <a:pos x="66" y="97"/>
                </a:cxn>
                <a:cxn ang="0">
                  <a:pos x="56" y="100"/>
                </a:cxn>
                <a:cxn ang="0">
                  <a:pos x="48" y="91"/>
                </a:cxn>
                <a:cxn ang="0">
                  <a:pos x="39" y="91"/>
                </a:cxn>
                <a:cxn ang="0">
                  <a:pos x="33" y="82"/>
                </a:cxn>
                <a:cxn ang="0">
                  <a:pos x="23" y="80"/>
                </a:cxn>
                <a:cxn ang="0">
                  <a:pos x="11" y="87"/>
                </a:cxn>
                <a:cxn ang="0">
                  <a:pos x="15" y="107"/>
                </a:cxn>
                <a:cxn ang="0">
                  <a:pos x="0" y="116"/>
                </a:cxn>
                <a:cxn ang="0">
                  <a:pos x="19" y="140"/>
                </a:cxn>
                <a:cxn ang="0">
                  <a:pos x="27" y="140"/>
                </a:cxn>
                <a:cxn ang="0">
                  <a:pos x="31" y="150"/>
                </a:cxn>
                <a:cxn ang="0">
                  <a:pos x="40" y="158"/>
                </a:cxn>
                <a:cxn ang="0">
                  <a:pos x="44" y="171"/>
                </a:cxn>
                <a:cxn ang="0">
                  <a:pos x="52" y="167"/>
                </a:cxn>
                <a:cxn ang="0">
                  <a:pos x="54" y="198"/>
                </a:cxn>
                <a:cxn ang="0">
                  <a:pos x="77" y="203"/>
                </a:cxn>
                <a:cxn ang="0">
                  <a:pos x="85" y="221"/>
                </a:cxn>
                <a:cxn ang="0">
                  <a:pos x="100" y="222"/>
                </a:cxn>
                <a:cxn ang="0">
                  <a:pos x="101" y="234"/>
                </a:cxn>
                <a:cxn ang="0">
                  <a:pos x="104" y="239"/>
                </a:cxn>
                <a:cxn ang="0">
                  <a:pos x="115" y="240"/>
                </a:cxn>
                <a:cxn ang="0">
                  <a:pos x="112" y="250"/>
                </a:cxn>
                <a:cxn ang="0">
                  <a:pos x="114" y="253"/>
                </a:cxn>
                <a:cxn ang="0">
                  <a:pos x="128" y="252"/>
                </a:cxn>
                <a:cxn ang="0">
                  <a:pos x="135" y="267"/>
                </a:cxn>
                <a:cxn ang="0">
                  <a:pos x="146" y="263"/>
                </a:cxn>
                <a:cxn ang="0">
                  <a:pos x="154" y="276"/>
                </a:cxn>
                <a:cxn ang="0">
                  <a:pos x="165" y="281"/>
                </a:cxn>
                <a:cxn ang="0">
                  <a:pos x="165" y="292"/>
                </a:cxn>
                <a:cxn ang="0">
                  <a:pos x="177" y="282"/>
                </a:cxn>
                <a:cxn ang="0">
                  <a:pos x="193" y="287"/>
                </a:cxn>
                <a:cxn ang="0">
                  <a:pos x="207" y="274"/>
                </a:cxn>
                <a:cxn ang="0">
                  <a:pos x="213" y="279"/>
                </a:cxn>
                <a:cxn ang="0">
                  <a:pos x="213" y="278"/>
                </a:cxn>
                <a:cxn ang="0">
                  <a:pos x="213" y="50"/>
                </a:cxn>
              </a:cxnLst>
              <a:rect l="0" t="0" r="r" b="b"/>
              <a:pathLst>
                <a:path w="213" h="292">
                  <a:moveTo>
                    <a:pt x="213" y="50"/>
                  </a:moveTo>
                  <a:cubicBezTo>
                    <a:pt x="210" y="51"/>
                    <a:pt x="204" y="53"/>
                    <a:pt x="203" y="53"/>
                  </a:cubicBezTo>
                  <a:cubicBezTo>
                    <a:pt x="201" y="53"/>
                    <a:pt x="200" y="45"/>
                    <a:pt x="201" y="43"/>
                  </a:cubicBezTo>
                  <a:cubicBezTo>
                    <a:pt x="202" y="40"/>
                    <a:pt x="208" y="36"/>
                    <a:pt x="208" y="36"/>
                  </a:cubicBezTo>
                  <a:cubicBezTo>
                    <a:pt x="208" y="29"/>
                    <a:pt x="208" y="29"/>
                    <a:pt x="208" y="29"/>
                  </a:cubicBezTo>
                  <a:cubicBezTo>
                    <a:pt x="208" y="29"/>
                    <a:pt x="195" y="30"/>
                    <a:pt x="192" y="21"/>
                  </a:cubicBezTo>
                  <a:cubicBezTo>
                    <a:pt x="188" y="14"/>
                    <a:pt x="199" y="11"/>
                    <a:pt x="199" y="11"/>
                  </a:cubicBezTo>
                  <a:cubicBezTo>
                    <a:pt x="199" y="11"/>
                    <a:pt x="184" y="2"/>
                    <a:pt x="179" y="1"/>
                  </a:cubicBezTo>
                  <a:cubicBezTo>
                    <a:pt x="175" y="0"/>
                    <a:pt x="168" y="1"/>
                    <a:pt x="164" y="4"/>
                  </a:cubicBezTo>
                  <a:cubicBezTo>
                    <a:pt x="161" y="8"/>
                    <a:pt x="163" y="12"/>
                    <a:pt x="161" y="18"/>
                  </a:cubicBezTo>
                  <a:cubicBezTo>
                    <a:pt x="158" y="24"/>
                    <a:pt x="150" y="29"/>
                    <a:pt x="150" y="29"/>
                  </a:cubicBezTo>
                  <a:cubicBezTo>
                    <a:pt x="150" y="33"/>
                    <a:pt x="150" y="33"/>
                    <a:pt x="150" y="33"/>
                  </a:cubicBezTo>
                  <a:cubicBezTo>
                    <a:pt x="150" y="33"/>
                    <a:pt x="148" y="37"/>
                    <a:pt x="145" y="44"/>
                  </a:cubicBezTo>
                  <a:cubicBezTo>
                    <a:pt x="143" y="50"/>
                    <a:pt x="143" y="53"/>
                    <a:pt x="143" y="58"/>
                  </a:cubicBezTo>
                  <a:cubicBezTo>
                    <a:pt x="143" y="62"/>
                    <a:pt x="139" y="60"/>
                    <a:pt x="136" y="63"/>
                  </a:cubicBezTo>
                  <a:cubicBezTo>
                    <a:pt x="133" y="65"/>
                    <a:pt x="136" y="73"/>
                    <a:pt x="136" y="73"/>
                  </a:cubicBezTo>
                  <a:cubicBezTo>
                    <a:pt x="131" y="73"/>
                    <a:pt x="131" y="73"/>
                    <a:pt x="131" y="73"/>
                  </a:cubicBezTo>
                  <a:cubicBezTo>
                    <a:pt x="135" y="79"/>
                    <a:pt x="135" y="79"/>
                    <a:pt x="135" y="79"/>
                  </a:cubicBezTo>
                  <a:cubicBezTo>
                    <a:pt x="132" y="83"/>
                    <a:pt x="132" y="83"/>
                    <a:pt x="132" y="83"/>
                  </a:cubicBezTo>
                  <a:cubicBezTo>
                    <a:pt x="127" y="88"/>
                    <a:pt x="127" y="88"/>
                    <a:pt x="127" y="88"/>
                  </a:cubicBezTo>
                  <a:cubicBezTo>
                    <a:pt x="121" y="89"/>
                    <a:pt x="121" y="89"/>
                    <a:pt x="121" y="89"/>
                  </a:cubicBezTo>
                  <a:cubicBezTo>
                    <a:pt x="116" y="96"/>
                    <a:pt x="116" y="96"/>
                    <a:pt x="116" y="96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104" y="101"/>
                    <a:pt x="104" y="101"/>
                    <a:pt x="104" y="101"/>
                  </a:cubicBezTo>
                  <a:cubicBezTo>
                    <a:pt x="88" y="100"/>
                    <a:pt x="88" y="100"/>
                    <a:pt x="88" y="100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77" y="105"/>
                    <a:pt x="77" y="105"/>
                    <a:pt x="77" y="105"/>
                  </a:cubicBezTo>
                  <a:cubicBezTo>
                    <a:pt x="77" y="105"/>
                    <a:pt x="69" y="97"/>
                    <a:pt x="66" y="97"/>
                  </a:cubicBezTo>
                  <a:cubicBezTo>
                    <a:pt x="64" y="98"/>
                    <a:pt x="61" y="100"/>
                    <a:pt x="56" y="100"/>
                  </a:cubicBezTo>
                  <a:cubicBezTo>
                    <a:pt x="52" y="100"/>
                    <a:pt x="50" y="92"/>
                    <a:pt x="48" y="91"/>
                  </a:cubicBezTo>
                  <a:cubicBezTo>
                    <a:pt x="46" y="89"/>
                    <a:pt x="41" y="91"/>
                    <a:pt x="39" y="91"/>
                  </a:cubicBezTo>
                  <a:cubicBezTo>
                    <a:pt x="36" y="91"/>
                    <a:pt x="35" y="84"/>
                    <a:pt x="33" y="82"/>
                  </a:cubicBezTo>
                  <a:cubicBezTo>
                    <a:pt x="30" y="81"/>
                    <a:pt x="23" y="80"/>
                    <a:pt x="23" y="80"/>
                  </a:cubicBezTo>
                  <a:cubicBezTo>
                    <a:pt x="21" y="80"/>
                    <a:pt x="8" y="80"/>
                    <a:pt x="11" y="87"/>
                  </a:cubicBezTo>
                  <a:cubicBezTo>
                    <a:pt x="13" y="94"/>
                    <a:pt x="19" y="104"/>
                    <a:pt x="15" y="107"/>
                  </a:cubicBezTo>
                  <a:cubicBezTo>
                    <a:pt x="10" y="110"/>
                    <a:pt x="0" y="112"/>
                    <a:pt x="0" y="116"/>
                  </a:cubicBezTo>
                  <a:cubicBezTo>
                    <a:pt x="1" y="120"/>
                    <a:pt x="19" y="140"/>
                    <a:pt x="19" y="140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1" y="150"/>
                    <a:pt x="36" y="153"/>
                    <a:pt x="40" y="158"/>
                  </a:cubicBezTo>
                  <a:cubicBezTo>
                    <a:pt x="45" y="162"/>
                    <a:pt x="44" y="171"/>
                    <a:pt x="44" y="171"/>
                  </a:cubicBezTo>
                  <a:cubicBezTo>
                    <a:pt x="52" y="167"/>
                    <a:pt x="52" y="167"/>
                    <a:pt x="52" y="167"/>
                  </a:cubicBezTo>
                  <a:cubicBezTo>
                    <a:pt x="54" y="198"/>
                    <a:pt x="54" y="198"/>
                    <a:pt x="54" y="198"/>
                  </a:cubicBezTo>
                  <a:cubicBezTo>
                    <a:pt x="54" y="198"/>
                    <a:pt x="69" y="194"/>
                    <a:pt x="77" y="203"/>
                  </a:cubicBezTo>
                  <a:cubicBezTo>
                    <a:pt x="84" y="210"/>
                    <a:pt x="78" y="221"/>
                    <a:pt x="85" y="221"/>
                  </a:cubicBezTo>
                  <a:cubicBezTo>
                    <a:pt x="94" y="221"/>
                    <a:pt x="96" y="218"/>
                    <a:pt x="100" y="222"/>
                  </a:cubicBezTo>
                  <a:cubicBezTo>
                    <a:pt x="103" y="225"/>
                    <a:pt x="101" y="234"/>
                    <a:pt x="101" y="234"/>
                  </a:cubicBezTo>
                  <a:cubicBezTo>
                    <a:pt x="104" y="239"/>
                    <a:pt x="104" y="239"/>
                    <a:pt x="104" y="239"/>
                  </a:cubicBezTo>
                  <a:cubicBezTo>
                    <a:pt x="104" y="239"/>
                    <a:pt x="114" y="236"/>
                    <a:pt x="115" y="240"/>
                  </a:cubicBezTo>
                  <a:cubicBezTo>
                    <a:pt x="115" y="246"/>
                    <a:pt x="112" y="250"/>
                    <a:pt x="112" y="250"/>
                  </a:cubicBezTo>
                  <a:cubicBezTo>
                    <a:pt x="114" y="253"/>
                    <a:pt x="114" y="253"/>
                    <a:pt x="114" y="253"/>
                  </a:cubicBezTo>
                  <a:cubicBezTo>
                    <a:pt x="114" y="253"/>
                    <a:pt x="123" y="250"/>
                    <a:pt x="128" y="252"/>
                  </a:cubicBezTo>
                  <a:cubicBezTo>
                    <a:pt x="131" y="254"/>
                    <a:pt x="128" y="266"/>
                    <a:pt x="135" y="267"/>
                  </a:cubicBezTo>
                  <a:cubicBezTo>
                    <a:pt x="143" y="268"/>
                    <a:pt x="146" y="263"/>
                    <a:pt x="146" y="263"/>
                  </a:cubicBezTo>
                  <a:cubicBezTo>
                    <a:pt x="146" y="263"/>
                    <a:pt x="151" y="271"/>
                    <a:pt x="154" y="276"/>
                  </a:cubicBezTo>
                  <a:cubicBezTo>
                    <a:pt x="159" y="280"/>
                    <a:pt x="165" y="281"/>
                    <a:pt x="165" y="281"/>
                  </a:cubicBezTo>
                  <a:cubicBezTo>
                    <a:pt x="165" y="292"/>
                    <a:pt x="165" y="292"/>
                    <a:pt x="165" y="292"/>
                  </a:cubicBezTo>
                  <a:cubicBezTo>
                    <a:pt x="165" y="292"/>
                    <a:pt x="172" y="281"/>
                    <a:pt x="177" y="282"/>
                  </a:cubicBezTo>
                  <a:cubicBezTo>
                    <a:pt x="182" y="283"/>
                    <a:pt x="187" y="289"/>
                    <a:pt x="193" y="287"/>
                  </a:cubicBezTo>
                  <a:cubicBezTo>
                    <a:pt x="198" y="284"/>
                    <a:pt x="207" y="274"/>
                    <a:pt x="207" y="274"/>
                  </a:cubicBezTo>
                  <a:cubicBezTo>
                    <a:pt x="213" y="279"/>
                    <a:pt x="213" y="279"/>
                    <a:pt x="213" y="279"/>
                  </a:cubicBezTo>
                  <a:cubicBezTo>
                    <a:pt x="213" y="278"/>
                    <a:pt x="213" y="278"/>
                    <a:pt x="213" y="278"/>
                  </a:cubicBezTo>
                  <a:lnTo>
                    <a:pt x="213" y="5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63" name="Freeform 47"/>
            <p:cNvSpPr>
              <a:spLocks/>
            </p:cNvSpPr>
            <p:nvPr/>
          </p:nvSpPr>
          <p:spPr bwMode="auto">
            <a:xfrm>
              <a:off x="5337" y="2701"/>
              <a:ext cx="424" cy="616"/>
            </a:xfrm>
            <a:custGeom>
              <a:avLst/>
              <a:gdLst/>
              <a:ahLst/>
              <a:cxnLst>
                <a:cxn ang="0">
                  <a:pos x="312" y="46"/>
                </a:cxn>
                <a:cxn ang="0">
                  <a:pos x="312" y="47"/>
                </a:cxn>
                <a:cxn ang="0">
                  <a:pos x="306" y="42"/>
                </a:cxn>
                <a:cxn ang="0">
                  <a:pos x="292" y="55"/>
                </a:cxn>
                <a:cxn ang="0">
                  <a:pos x="276" y="50"/>
                </a:cxn>
                <a:cxn ang="0">
                  <a:pos x="264" y="60"/>
                </a:cxn>
                <a:cxn ang="0">
                  <a:pos x="264" y="49"/>
                </a:cxn>
                <a:cxn ang="0">
                  <a:pos x="253" y="44"/>
                </a:cxn>
                <a:cxn ang="0">
                  <a:pos x="245" y="31"/>
                </a:cxn>
                <a:cxn ang="0">
                  <a:pos x="234" y="35"/>
                </a:cxn>
                <a:cxn ang="0">
                  <a:pos x="227" y="20"/>
                </a:cxn>
                <a:cxn ang="0">
                  <a:pos x="213" y="21"/>
                </a:cxn>
                <a:cxn ang="0">
                  <a:pos x="211" y="18"/>
                </a:cxn>
                <a:cxn ang="0">
                  <a:pos x="214" y="8"/>
                </a:cxn>
                <a:cxn ang="0">
                  <a:pos x="203" y="7"/>
                </a:cxn>
                <a:cxn ang="0">
                  <a:pos x="200" y="2"/>
                </a:cxn>
                <a:cxn ang="0">
                  <a:pos x="191" y="3"/>
                </a:cxn>
                <a:cxn ang="0">
                  <a:pos x="182" y="22"/>
                </a:cxn>
                <a:cxn ang="0">
                  <a:pos x="175" y="20"/>
                </a:cxn>
                <a:cxn ang="0">
                  <a:pos x="168" y="5"/>
                </a:cxn>
                <a:cxn ang="0">
                  <a:pos x="155" y="18"/>
                </a:cxn>
                <a:cxn ang="0">
                  <a:pos x="126" y="22"/>
                </a:cxn>
                <a:cxn ang="0">
                  <a:pos x="126" y="26"/>
                </a:cxn>
                <a:cxn ang="0">
                  <a:pos x="113" y="26"/>
                </a:cxn>
                <a:cxn ang="0">
                  <a:pos x="110" y="33"/>
                </a:cxn>
                <a:cxn ang="0">
                  <a:pos x="90" y="33"/>
                </a:cxn>
                <a:cxn ang="0">
                  <a:pos x="96" y="50"/>
                </a:cxn>
                <a:cxn ang="0">
                  <a:pos x="84" y="56"/>
                </a:cxn>
                <a:cxn ang="0">
                  <a:pos x="85" y="69"/>
                </a:cxn>
                <a:cxn ang="0">
                  <a:pos x="79" y="77"/>
                </a:cxn>
                <a:cxn ang="0">
                  <a:pos x="70" y="101"/>
                </a:cxn>
                <a:cxn ang="0">
                  <a:pos x="51" y="117"/>
                </a:cxn>
                <a:cxn ang="0">
                  <a:pos x="57" y="147"/>
                </a:cxn>
                <a:cxn ang="0">
                  <a:pos x="72" y="164"/>
                </a:cxn>
                <a:cxn ang="0">
                  <a:pos x="77" y="200"/>
                </a:cxn>
                <a:cxn ang="0">
                  <a:pos x="90" y="226"/>
                </a:cxn>
                <a:cxn ang="0">
                  <a:pos x="91" y="239"/>
                </a:cxn>
                <a:cxn ang="0">
                  <a:pos x="88" y="240"/>
                </a:cxn>
                <a:cxn ang="0">
                  <a:pos x="89" y="256"/>
                </a:cxn>
                <a:cxn ang="0">
                  <a:pos x="87" y="257"/>
                </a:cxn>
                <a:cxn ang="0">
                  <a:pos x="0" y="371"/>
                </a:cxn>
                <a:cxn ang="0">
                  <a:pos x="57" y="432"/>
                </a:cxn>
                <a:cxn ang="0">
                  <a:pos x="101" y="425"/>
                </a:cxn>
                <a:cxn ang="0">
                  <a:pos x="203" y="436"/>
                </a:cxn>
                <a:cxn ang="0">
                  <a:pos x="298" y="438"/>
                </a:cxn>
                <a:cxn ang="0">
                  <a:pos x="312" y="455"/>
                </a:cxn>
                <a:cxn ang="0">
                  <a:pos x="312" y="46"/>
                </a:cxn>
              </a:cxnLst>
              <a:rect l="0" t="0" r="r" b="b"/>
              <a:pathLst>
                <a:path w="312" h="455">
                  <a:moveTo>
                    <a:pt x="312" y="46"/>
                  </a:moveTo>
                  <a:cubicBezTo>
                    <a:pt x="312" y="47"/>
                    <a:pt x="312" y="47"/>
                    <a:pt x="312" y="47"/>
                  </a:cubicBezTo>
                  <a:cubicBezTo>
                    <a:pt x="306" y="42"/>
                    <a:pt x="306" y="42"/>
                    <a:pt x="306" y="42"/>
                  </a:cubicBezTo>
                  <a:cubicBezTo>
                    <a:pt x="306" y="42"/>
                    <a:pt x="297" y="52"/>
                    <a:pt x="292" y="55"/>
                  </a:cubicBezTo>
                  <a:cubicBezTo>
                    <a:pt x="286" y="57"/>
                    <a:pt x="281" y="51"/>
                    <a:pt x="276" y="50"/>
                  </a:cubicBezTo>
                  <a:cubicBezTo>
                    <a:pt x="271" y="49"/>
                    <a:pt x="264" y="60"/>
                    <a:pt x="264" y="60"/>
                  </a:cubicBezTo>
                  <a:cubicBezTo>
                    <a:pt x="264" y="49"/>
                    <a:pt x="264" y="49"/>
                    <a:pt x="264" y="49"/>
                  </a:cubicBezTo>
                  <a:cubicBezTo>
                    <a:pt x="264" y="49"/>
                    <a:pt x="258" y="48"/>
                    <a:pt x="253" y="44"/>
                  </a:cubicBezTo>
                  <a:cubicBezTo>
                    <a:pt x="250" y="39"/>
                    <a:pt x="245" y="31"/>
                    <a:pt x="245" y="31"/>
                  </a:cubicBezTo>
                  <a:cubicBezTo>
                    <a:pt x="245" y="31"/>
                    <a:pt x="242" y="36"/>
                    <a:pt x="234" y="35"/>
                  </a:cubicBezTo>
                  <a:cubicBezTo>
                    <a:pt x="227" y="34"/>
                    <a:pt x="230" y="22"/>
                    <a:pt x="227" y="20"/>
                  </a:cubicBezTo>
                  <a:cubicBezTo>
                    <a:pt x="222" y="18"/>
                    <a:pt x="213" y="21"/>
                    <a:pt x="213" y="21"/>
                  </a:cubicBezTo>
                  <a:cubicBezTo>
                    <a:pt x="211" y="18"/>
                    <a:pt x="211" y="18"/>
                    <a:pt x="211" y="18"/>
                  </a:cubicBezTo>
                  <a:cubicBezTo>
                    <a:pt x="211" y="18"/>
                    <a:pt x="214" y="14"/>
                    <a:pt x="214" y="8"/>
                  </a:cubicBezTo>
                  <a:cubicBezTo>
                    <a:pt x="213" y="4"/>
                    <a:pt x="203" y="7"/>
                    <a:pt x="203" y="7"/>
                  </a:cubicBezTo>
                  <a:cubicBezTo>
                    <a:pt x="200" y="2"/>
                    <a:pt x="200" y="2"/>
                    <a:pt x="200" y="2"/>
                  </a:cubicBezTo>
                  <a:cubicBezTo>
                    <a:pt x="200" y="2"/>
                    <a:pt x="193" y="0"/>
                    <a:pt x="191" y="3"/>
                  </a:cubicBezTo>
                  <a:cubicBezTo>
                    <a:pt x="188" y="7"/>
                    <a:pt x="182" y="22"/>
                    <a:pt x="182" y="22"/>
                  </a:cubicBezTo>
                  <a:cubicBezTo>
                    <a:pt x="175" y="20"/>
                    <a:pt x="175" y="20"/>
                    <a:pt x="175" y="20"/>
                  </a:cubicBezTo>
                  <a:cubicBezTo>
                    <a:pt x="175" y="20"/>
                    <a:pt x="180" y="5"/>
                    <a:pt x="168" y="5"/>
                  </a:cubicBezTo>
                  <a:cubicBezTo>
                    <a:pt x="156" y="5"/>
                    <a:pt x="155" y="18"/>
                    <a:pt x="155" y="18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6"/>
                    <a:pt x="126" y="26"/>
                    <a:pt x="126" y="26"/>
                  </a:cubicBezTo>
                  <a:cubicBezTo>
                    <a:pt x="113" y="26"/>
                    <a:pt x="113" y="26"/>
                    <a:pt x="113" y="2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5" y="65"/>
                    <a:pt x="85" y="69"/>
                  </a:cubicBezTo>
                  <a:cubicBezTo>
                    <a:pt x="85" y="72"/>
                    <a:pt x="79" y="77"/>
                    <a:pt x="79" y="77"/>
                  </a:cubicBezTo>
                  <a:cubicBezTo>
                    <a:pt x="79" y="77"/>
                    <a:pt x="77" y="90"/>
                    <a:pt x="70" y="101"/>
                  </a:cubicBezTo>
                  <a:cubicBezTo>
                    <a:pt x="65" y="113"/>
                    <a:pt x="56" y="111"/>
                    <a:pt x="51" y="117"/>
                  </a:cubicBezTo>
                  <a:cubicBezTo>
                    <a:pt x="47" y="125"/>
                    <a:pt x="53" y="139"/>
                    <a:pt x="57" y="147"/>
                  </a:cubicBezTo>
                  <a:cubicBezTo>
                    <a:pt x="61" y="157"/>
                    <a:pt x="68" y="156"/>
                    <a:pt x="72" y="164"/>
                  </a:cubicBezTo>
                  <a:cubicBezTo>
                    <a:pt x="78" y="172"/>
                    <a:pt x="73" y="184"/>
                    <a:pt x="77" y="200"/>
                  </a:cubicBezTo>
                  <a:cubicBezTo>
                    <a:pt x="80" y="215"/>
                    <a:pt x="90" y="226"/>
                    <a:pt x="90" y="226"/>
                  </a:cubicBezTo>
                  <a:cubicBezTo>
                    <a:pt x="91" y="239"/>
                    <a:pt x="91" y="239"/>
                    <a:pt x="91" y="239"/>
                  </a:cubicBezTo>
                  <a:cubicBezTo>
                    <a:pt x="88" y="240"/>
                    <a:pt x="88" y="240"/>
                    <a:pt x="88" y="240"/>
                  </a:cubicBezTo>
                  <a:cubicBezTo>
                    <a:pt x="89" y="256"/>
                    <a:pt x="89" y="256"/>
                    <a:pt x="89" y="256"/>
                  </a:cubicBezTo>
                  <a:cubicBezTo>
                    <a:pt x="87" y="257"/>
                    <a:pt x="87" y="257"/>
                    <a:pt x="87" y="257"/>
                  </a:cubicBezTo>
                  <a:cubicBezTo>
                    <a:pt x="0" y="371"/>
                    <a:pt x="0" y="371"/>
                    <a:pt x="0" y="371"/>
                  </a:cubicBezTo>
                  <a:cubicBezTo>
                    <a:pt x="57" y="432"/>
                    <a:pt x="57" y="432"/>
                    <a:pt x="57" y="432"/>
                  </a:cubicBezTo>
                  <a:cubicBezTo>
                    <a:pt x="57" y="432"/>
                    <a:pt x="87" y="425"/>
                    <a:pt x="101" y="425"/>
                  </a:cubicBezTo>
                  <a:cubicBezTo>
                    <a:pt x="114" y="425"/>
                    <a:pt x="176" y="436"/>
                    <a:pt x="203" y="436"/>
                  </a:cubicBezTo>
                  <a:cubicBezTo>
                    <a:pt x="230" y="438"/>
                    <a:pt x="298" y="438"/>
                    <a:pt x="298" y="438"/>
                  </a:cubicBezTo>
                  <a:cubicBezTo>
                    <a:pt x="312" y="455"/>
                    <a:pt x="312" y="455"/>
                    <a:pt x="312" y="455"/>
                  </a:cubicBezTo>
                  <a:lnTo>
                    <a:pt x="312" y="4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64" name="Freeform 48"/>
            <p:cNvSpPr>
              <a:spLocks noEditPoints="1"/>
            </p:cNvSpPr>
            <p:nvPr/>
          </p:nvSpPr>
          <p:spPr bwMode="auto">
            <a:xfrm>
              <a:off x="3682" y="-7"/>
              <a:ext cx="2079" cy="2334"/>
            </a:xfrm>
            <a:custGeom>
              <a:avLst/>
              <a:gdLst/>
              <a:ahLst/>
              <a:cxnLst>
                <a:cxn ang="0">
                  <a:pos x="24" y="1219"/>
                </a:cxn>
                <a:cxn ang="0">
                  <a:pos x="8" y="1240"/>
                </a:cxn>
                <a:cxn ang="0">
                  <a:pos x="229" y="230"/>
                </a:cxn>
                <a:cxn ang="0">
                  <a:pos x="352" y="472"/>
                </a:cxn>
                <a:cxn ang="0">
                  <a:pos x="677" y="24"/>
                </a:cxn>
                <a:cxn ang="0">
                  <a:pos x="626" y="78"/>
                </a:cxn>
                <a:cxn ang="0">
                  <a:pos x="603" y="203"/>
                </a:cxn>
                <a:cxn ang="0">
                  <a:pos x="448" y="151"/>
                </a:cxn>
                <a:cxn ang="0">
                  <a:pos x="531" y="298"/>
                </a:cxn>
                <a:cxn ang="0">
                  <a:pos x="472" y="442"/>
                </a:cxn>
                <a:cxn ang="0">
                  <a:pos x="434" y="468"/>
                </a:cxn>
                <a:cxn ang="0">
                  <a:pos x="423" y="504"/>
                </a:cxn>
                <a:cxn ang="0">
                  <a:pos x="396" y="529"/>
                </a:cxn>
                <a:cxn ang="0">
                  <a:pos x="342" y="498"/>
                </a:cxn>
                <a:cxn ang="0">
                  <a:pos x="275" y="414"/>
                </a:cxn>
                <a:cxn ang="0">
                  <a:pos x="257" y="401"/>
                </a:cxn>
                <a:cxn ang="0">
                  <a:pos x="215" y="380"/>
                </a:cxn>
                <a:cxn ang="0">
                  <a:pos x="297" y="390"/>
                </a:cxn>
                <a:cxn ang="0">
                  <a:pos x="444" y="343"/>
                </a:cxn>
                <a:cxn ang="0">
                  <a:pos x="386" y="262"/>
                </a:cxn>
                <a:cxn ang="0">
                  <a:pos x="269" y="230"/>
                </a:cxn>
                <a:cxn ang="0">
                  <a:pos x="212" y="247"/>
                </a:cxn>
                <a:cxn ang="0">
                  <a:pos x="186" y="232"/>
                </a:cxn>
                <a:cxn ang="0">
                  <a:pos x="188" y="225"/>
                </a:cxn>
                <a:cxn ang="0">
                  <a:pos x="143" y="237"/>
                </a:cxn>
                <a:cxn ang="0">
                  <a:pos x="160" y="363"/>
                </a:cxn>
                <a:cxn ang="0">
                  <a:pos x="216" y="541"/>
                </a:cxn>
                <a:cxn ang="0">
                  <a:pos x="237" y="775"/>
                </a:cxn>
                <a:cxn ang="0">
                  <a:pos x="246" y="825"/>
                </a:cxn>
                <a:cxn ang="0">
                  <a:pos x="239" y="876"/>
                </a:cxn>
                <a:cxn ang="0">
                  <a:pos x="242" y="1006"/>
                </a:cxn>
                <a:cxn ang="0">
                  <a:pos x="289" y="1074"/>
                </a:cxn>
                <a:cxn ang="0">
                  <a:pos x="413" y="1136"/>
                </a:cxn>
                <a:cxn ang="0">
                  <a:pos x="490" y="1247"/>
                </a:cxn>
                <a:cxn ang="0">
                  <a:pos x="560" y="1265"/>
                </a:cxn>
                <a:cxn ang="0">
                  <a:pos x="648" y="1333"/>
                </a:cxn>
                <a:cxn ang="0">
                  <a:pos x="764" y="1354"/>
                </a:cxn>
                <a:cxn ang="0">
                  <a:pos x="862" y="1350"/>
                </a:cxn>
                <a:cxn ang="0">
                  <a:pos x="900" y="1455"/>
                </a:cxn>
                <a:cxn ang="0">
                  <a:pos x="871" y="1537"/>
                </a:cxn>
                <a:cxn ang="0">
                  <a:pos x="862" y="1623"/>
                </a:cxn>
                <a:cxn ang="0">
                  <a:pos x="903" y="1684"/>
                </a:cxn>
                <a:cxn ang="0">
                  <a:pos x="1047" y="1703"/>
                </a:cxn>
                <a:cxn ang="0">
                  <a:pos x="1233" y="1674"/>
                </a:cxn>
                <a:cxn ang="0">
                  <a:pos x="1408" y="1689"/>
                </a:cxn>
                <a:cxn ang="0">
                  <a:pos x="1341" y="1543"/>
                </a:cxn>
                <a:cxn ang="0">
                  <a:pos x="1283" y="1465"/>
                </a:cxn>
                <a:cxn ang="0">
                  <a:pos x="1320" y="1398"/>
                </a:cxn>
                <a:cxn ang="0">
                  <a:pos x="1281" y="1326"/>
                </a:cxn>
                <a:cxn ang="0">
                  <a:pos x="1133" y="1184"/>
                </a:cxn>
                <a:cxn ang="0">
                  <a:pos x="1183" y="1074"/>
                </a:cxn>
                <a:cxn ang="0">
                  <a:pos x="1253" y="984"/>
                </a:cxn>
                <a:cxn ang="0">
                  <a:pos x="1379" y="969"/>
                </a:cxn>
                <a:cxn ang="0">
                  <a:pos x="1488" y="872"/>
                </a:cxn>
                <a:cxn ang="0">
                  <a:pos x="1496" y="707"/>
                </a:cxn>
                <a:cxn ang="0">
                  <a:pos x="1446" y="669"/>
                </a:cxn>
                <a:cxn ang="0">
                  <a:pos x="1519" y="575"/>
                </a:cxn>
                <a:cxn ang="0">
                  <a:pos x="266" y="764"/>
                </a:cxn>
                <a:cxn ang="0">
                  <a:pos x="356" y="755"/>
                </a:cxn>
                <a:cxn ang="0">
                  <a:pos x="381" y="658"/>
                </a:cxn>
                <a:cxn ang="0">
                  <a:pos x="422" y="650"/>
                </a:cxn>
                <a:cxn ang="0">
                  <a:pos x="464" y="712"/>
                </a:cxn>
              </a:cxnLst>
              <a:rect l="0" t="0" r="r" b="b"/>
              <a:pathLst>
                <a:path w="1532" h="1721">
                  <a:moveTo>
                    <a:pt x="113" y="1210"/>
                  </a:moveTo>
                  <a:cubicBezTo>
                    <a:pt x="110" y="1208"/>
                    <a:pt x="101" y="1201"/>
                    <a:pt x="101" y="1201"/>
                  </a:cubicBezTo>
                  <a:cubicBezTo>
                    <a:pt x="90" y="1201"/>
                    <a:pt x="90" y="1201"/>
                    <a:pt x="90" y="1201"/>
                  </a:cubicBezTo>
                  <a:cubicBezTo>
                    <a:pt x="80" y="1205"/>
                    <a:pt x="80" y="1205"/>
                    <a:pt x="80" y="1205"/>
                  </a:cubicBezTo>
                  <a:cubicBezTo>
                    <a:pt x="79" y="1201"/>
                    <a:pt x="79" y="1201"/>
                    <a:pt x="79" y="1201"/>
                  </a:cubicBezTo>
                  <a:cubicBezTo>
                    <a:pt x="79" y="1201"/>
                    <a:pt x="73" y="1203"/>
                    <a:pt x="69" y="1200"/>
                  </a:cubicBezTo>
                  <a:cubicBezTo>
                    <a:pt x="64" y="1198"/>
                    <a:pt x="62" y="1197"/>
                    <a:pt x="62" y="1197"/>
                  </a:cubicBezTo>
                  <a:cubicBezTo>
                    <a:pt x="56" y="1198"/>
                    <a:pt x="56" y="1198"/>
                    <a:pt x="56" y="1198"/>
                  </a:cubicBezTo>
                  <a:cubicBezTo>
                    <a:pt x="51" y="1194"/>
                    <a:pt x="51" y="1194"/>
                    <a:pt x="51" y="1194"/>
                  </a:cubicBezTo>
                  <a:cubicBezTo>
                    <a:pt x="49" y="1199"/>
                    <a:pt x="49" y="1199"/>
                    <a:pt x="49" y="1199"/>
                  </a:cubicBezTo>
                  <a:cubicBezTo>
                    <a:pt x="46" y="1199"/>
                    <a:pt x="46" y="1199"/>
                    <a:pt x="46" y="1199"/>
                  </a:cubicBezTo>
                  <a:cubicBezTo>
                    <a:pt x="51" y="1215"/>
                    <a:pt x="51" y="1215"/>
                    <a:pt x="51" y="1215"/>
                  </a:cubicBezTo>
                  <a:cubicBezTo>
                    <a:pt x="44" y="1219"/>
                    <a:pt x="44" y="1219"/>
                    <a:pt x="44" y="1219"/>
                  </a:cubicBezTo>
                  <a:cubicBezTo>
                    <a:pt x="37" y="1219"/>
                    <a:pt x="37" y="1219"/>
                    <a:pt x="37" y="1219"/>
                  </a:cubicBezTo>
                  <a:cubicBezTo>
                    <a:pt x="37" y="1219"/>
                    <a:pt x="33" y="1218"/>
                    <a:pt x="32" y="1218"/>
                  </a:cubicBezTo>
                  <a:cubicBezTo>
                    <a:pt x="31" y="1218"/>
                    <a:pt x="24" y="1219"/>
                    <a:pt x="24" y="1219"/>
                  </a:cubicBezTo>
                  <a:cubicBezTo>
                    <a:pt x="36" y="1202"/>
                    <a:pt x="36" y="1202"/>
                    <a:pt x="36" y="1202"/>
                  </a:cubicBezTo>
                  <a:cubicBezTo>
                    <a:pt x="36" y="1198"/>
                    <a:pt x="36" y="1198"/>
                    <a:pt x="36" y="1198"/>
                  </a:cubicBezTo>
                  <a:cubicBezTo>
                    <a:pt x="41" y="1193"/>
                    <a:pt x="41" y="1193"/>
                    <a:pt x="41" y="1193"/>
                  </a:cubicBezTo>
                  <a:cubicBezTo>
                    <a:pt x="39" y="1191"/>
                    <a:pt x="39" y="1191"/>
                    <a:pt x="39" y="1191"/>
                  </a:cubicBezTo>
                  <a:cubicBezTo>
                    <a:pt x="37" y="1192"/>
                    <a:pt x="37" y="1192"/>
                    <a:pt x="37" y="1192"/>
                  </a:cubicBezTo>
                  <a:cubicBezTo>
                    <a:pt x="32" y="1202"/>
                    <a:pt x="32" y="1202"/>
                    <a:pt x="32" y="1202"/>
                  </a:cubicBezTo>
                  <a:cubicBezTo>
                    <a:pt x="23" y="1215"/>
                    <a:pt x="23" y="1215"/>
                    <a:pt x="23" y="1215"/>
                  </a:cubicBezTo>
                  <a:cubicBezTo>
                    <a:pt x="20" y="1218"/>
                    <a:pt x="20" y="1218"/>
                    <a:pt x="20" y="1218"/>
                  </a:cubicBezTo>
                  <a:cubicBezTo>
                    <a:pt x="2" y="1221"/>
                    <a:pt x="2" y="1221"/>
                    <a:pt x="2" y="1221"/>
                  </a:cubicBezTo>
                  <a:cubicBezTo>
                    <a:pt x="0" y="1226"/>
                    <a:pt x="0" y="1226"/>
                    <a:pt x="0" y="1226"/>
                  </a:cubicBezTo>
                  <a:cubicBezTo>
                    <a:pt x="3" y="1230"/>
                    <a:pt x="3" y="1230"/>
                    <a:pt x="3" y="1230"/>
                  </a:cubicBezTo>
                  <a:cubicBezTo>
                    <a:pt x="0" y="1241"/>
                    <a:pt x="0" y="1241"/>
                    <a:pt x="0" y="1241"/>
                  </a:cubicBezTo>
                  <a:cubicBezTo>
                    <a:pt x="3" y="1242"/>
                    <a:pt x="3" y="1242"/>
                    <a:pt x="3" y="1242"/>
                  </a:cubicBezTo>
                  <a:cubicBezTo>
                    <a:pt x="4" y="1239"/>
                    <a:pt x="4" y="1239"/>
                    <a:pt x="4" y="1239"/>
                  </a:cubicBezTo>
                  <a:cubicBezTo>
                    <a:pt x="6" y="1237"/>
                    <a:pt x="6" y="1237"/>
                    <a:pt x="6" y="1237"/>
                  </a:cubicBezTo>
                  <a:cubicBezTo>
                    <a:pt x="8" y="1240"/>
                    <a:pt x="8" y="1240"/>
                    <a:pt x="8" y="1240"/>
                  </a:cubicBezTo>
                  <a:cubicBezTo>
                    <a:pt x="13" y="1235"/>
                    <a:pt x="13" y="1235"/>
                    <a:pt x="13" y="1235"/>
                  </a:cubicBezTo>
                  <a:cubicBezTo>
                    <a:pt x="21" y="1237"/>
                    <a:pt x="21" y="1237"/>
                    <a:pt x="21" y="1237"/>
                  </a:cubicBezTo>
                  <a:cubicBezTo>
                    <a:pt x="16" y="1239"/>
                    <a:pt x="16" y="1239"/>
                    <a:pt x="16" y="1239"/>
                  </a:cubicBezTo>
                  <a:cubicBezTo>
                    <a:pt x="16" y="1241"/>
                    <a:pt x="16" y="1241"/>
                    <a:pt x="16" y="1241"/>
                  </a:cubicBezTo>
                  <a:cubicBezTo>
                    <a:pt x="8" y="1246"/>
                    <a:pt x="8" y="1246"/>
                    <a:pt x="8" y="1246"/>
                  </a:cubicBezTo>
                  <a:cubicBezTo>
                    <a:pt x="6" y="1245"/>
                    <a:pt x="6" y="1245"/>
                    <a:pt x="6" y="1245"/>
                  </a:cubicBezTo>
                  <a:cubicBezTo>
                    <a:pt x="3" y="1253"/>
                    <a:pt x="3" y="1253"/>
                    <a:pt x="3" y="1253"/>
                  </a:cubicBezTo>
                  <a:cubicBezTo>
                    <a:pt x="11" y="1253"/>
                    <a:pt x="45" y="1255"/>
                    <a:pt x="58" y="1254"/>
                  </a:cubicBezTo>
                  <a:cubicBezTo>
                    <a:pt x="74" y="1254"/>
                    <a:pt x="113" y="1244"/>
                    <a:pt x="113" y="1244"/>
                  </a:cubicBezTo>
                  <a:cubicBezTo>
                    <a:pt x="113" y="1244"/>
                    <a:pt x="106" y="1237"/>
                    <a:pt x="107" y="1229"/>
                  </a:cubicBezTo>
                  <a:cubicBezTo>
                    <a:pt x="107" y="1223"/>
                    <a:pt x="109" y="1218"/>
                    <a:pt x="109" y="1218"/>
                  </a:cubicBezTo>
                  <a:cubicBezTo>
                    <a:pt x="109" y="1218"/>
                    <a:pt x="117" y="1213"/>
                    <a:pt x="113" y="1210"/>
                  </a:cubicBezTo>
                  <a:close/>
                  <a:moveTo>
                    <a:pt x="229" y="228"/>
                  </a:moveTo>
                  <a:cubicBezTo>
                    <a:pt x="222" y="228"/>
                    <a:pt x="222" y="228"/>
                    <a:pt x="222" y="228"/>
                  </a:cubicBezTo>
                  <a:cubicBezTo>
                    <a:pt x="219" y="232"/>
                    <a:pt x="219" y="232"/>
                    <a:pt x="219" y="232"/>
                  </a:cubicBezTo>
                  <a:cubicBezTo>
                    <a:pt x="229" y="230"/>
                    <a:pt x="229" y="230"/>
                    <a:pt x="229" y="230"/>
                  </a:cubicBezTo>
                  <a:lnTo>
                    <a:pt x="229" y="228"/>
                  </a:lnTo>
                  <a:close/>
                  <a:moveTo>
                    <a:pt x="246" y="829"/>
                  </a:moveTo>
                  <a:cubicBezTo>
                    <a:pt x="238" y="825"/>
                    <a:pt x="238" y="825"/>
                    <a:pt x="238" y="825"/>
                  </a:cubicBezTo>
                  <a:cubicBezTo>
                    <a:pt x="239" y="830"/>
                    <a:pt x="239" y="830"/>
                    <a:pt x="239" y="830"/>
                  </a:cubicBezTo>
                  <a:cubicBezTo>
                    <a:pt x="244" y="832"/>
                    <a:pt x="244" y="832"/>
                    <a:pt x="244" y="832"/>
                  </a:cubicBezTo>
                  <a:lnTo>
                    <a:pt x="246" y="829"/>
                  </a:lnTo>
                  <a:close/>
                  <a:moveTo>
                    <a:pt x="363" y="466"/>
                  </a:moveTo>
                  <a:cubicBezTo>
                    <a:pt x="365" y="470"/>
                    <a:pt x="365" y="470"/>
                    <a:pt x="365" y="470"/>
                  </a:cubicBezTo>
                  <a:cubicBezTo>
                    <a:pt x="372" y="462"/>
                    <a:pt x="372" y="462"/>
                    <a:pt x="372" y="462"/>
                  </a:cubicBezTo>
                  <a:lnTo>
                    <a:pt x="363" y="466"/>
                  </a:lnTo>
                  <a:close/>
                  <a:moveTo>
                    <a:pt x="352" y="472"/>
                  </a:moveTo>
                  <a:cubicBezTo>
                    <a:pt x="351" y="476"/>
                    <a:pt x="351" y="476"/>
                    <a:pt x="351" y="476"/>
                  </a:cubicBezTo>
                  <a:cubicBezTo>
                    <a:pt x="356" y="478"/>
                    <a:pt x="356" y="478"/>
                    <a:pt x="356" y="478"/>
                  </a:cubicBezTo>
                  <a:cubicBezTo>
                    <a:pt x="363" y="473"/>
                    <a:pt x="363" y="473"/>
                    <a:pt x="363" y="473"/>
                  </a:cubicBezTo>
                  <a:cubicBezTo>
                    <a:pt x="357" y="468"/>
                    <a:pt x="357" y="468"/>
                    <a:pt x="357" y="468"/>
                  </a:cubicBezTo>
                  <a:lnTo>
                    <a:pt x="352" y="472"/>
                  </a:lnTo>
                  <a:close/>
                  <a:moveTo>
                    <a:pt x="365" y="482"/>
                  </a:moveTo>
                  <a:cubicBezTo>
                    <a:pt x="369" y="478"/>
                    <a:pt x="367" y="475"/>
                    <a:pt x="360" y="480"/>
                  </a:cubicBezTo>
                  <a:cubicBezTo>
                    <a:pt x="360" y="480"/>
                    <a:pt x="362" y="485"/>
                    <a:pt x="365" y="482"/>
                  </a:cubicBezTo>
                  <a:close/>
                  <a:moveTo>
                    <a:pt x="1532" y="0"/>
                  </a:moveTo>
                  <a:cubicBezTo>
                    <a:pt x="716" y="0"/>
                    <a:pt x="716" y="0"/>
                    <a:pt x="716" y="0"/>
                  </a:cubicBezTo>
                  <a:cubicBezTo>
                    <a:pt x="712" y="19"/>
                    <a:pt x="712" y="19"/>
                    <a:pt x="712" y="19"/>
                  </a:cubicBezTo>
                  <a:cubicBezTo>
                    <a:pt x="712" y="19"/>
                    <a:pt x="721" y="31"/>
                    <a:pt x="720" y="35"/>
                  </a:cubicBezTo>
                  <a:cubicBezTo>
                    <a:pt x="719" y="39"/>
                    <a:pt x="708" y="33"/>
                    <a:pt x="708" y="33"/>
                  </a:cubicBezTo>
                  <a:cubicBezTo>
                    <a:pt x="699" y="34"/>
                    <a:pt x="699" y="34"/>
                    <a:pt x="699" y="34"/>
                  </a:cubicBezTo>
                  <a:cubicBezTo>
                    <a:pt x="699" y="34"/>
                    <a:pt x="698" y="39"/>
                    <a:pt x="698" y="42"/>
                  </a:cubicBezTo>
                  <a:cubicBezTo>
                    <a:pt x="698" y="46"/>
                    <a:pt x="694" y="46"/>
                    <a:pt x="690" y="46"/>
                  </a:cubicBezTo>
                  <a:cubicBezTo>
                    <a:pt x="684" y="47"/>
                    <a:pt x="681" y="55"/>
                    <a:pt x="681" y="55"/>
                  </a:cubicBezTo>
                  <a:cubicBezTo>
                    <a:pt x="681" y="55"/>
                    <a:pt x="678" y="50"/>
                    <a:pt x="679" y="46"/>
                  </a:cubicBezTo>
                  <a:cubicBezTo>
                    <a:pt x="681" y="41"/>
                    <a:pt x="693" y="39"/>
                    <a:pt x="693" y="39"/>
                  </a:cubicBezTo>
                  <a:cubicBezTo>
                    <a:pt x="693" y="39"/>
                    <a:pt x="691" y="30"/>
                    <a:pt x="686" y="29"/>
                  </a:cubicBezTo>
                  <a:cubicBezTo>
                    <a:pt x="683" y="28"/>
                    <a:pt x="677" y="24"/>
                    <a:pt x="677" y="24"/>
                  </a:cubicBezTo>
                  <a:cubicBezTo>
                    <a:pt x="677" y="16"/>
                    <a:pt x="677" y="16"/>
                    <a:pt x="677" y="16"/>
                  </a:cubicBezTo>
                  <a:cubicBezTo>
                    <a:pt x="675" y="15"/>
                    <a:pt x="675" y="15"/>
                    <a:pt x="675" y="15"/>
                  </a:cubicBezTo>
                  <a:cubicBezTo>
                    <a:pt x="675" y="15"/>
                    <a:pt x="676" y="9"/>
                    <a:pt x="672" y="9"/>
                  </a:cubicBezTo>
                  <a:cubicBezTo>
                    <a:pt x="669" y="9"/>
                    <a:pt x="667" y="14"/>
                    <a:pt x="667" y="14"/>
                  </a:cubicBezTo>
                  <a:cubicBezTo>
                    <a:pt x="667" y="14"/>
                    <a:pt x="665" y="10"/>
                    <a:pt x="663" y="10"/>
                  </a:cubicBezTo>
                  <a:cubicBezTo>
                    <a:pt x="661" y="10"/>
                    <a:pt x="654" y="18"/>
                    <a:pt x="652" y="27"/>
                  </a:cubicBezTo>
                  <a:cubicBezTo>
                    <a:pt x="650" y="34"/>
                    <a:pt x="651" y="41"/>
                    <a:pt x="651" y="41"/>
                  </a:cubicBezTo>
                  <a:cubicBezTo>
                    <a:pt x="651" y="41"/>
                    <a:pt x="655" y="43"/>
                    <a:pt x="660" y="47"/>
                  </a:cubicBezTo>
                  <a:cubicBezTo>
                    <a:pt x="664" y="50"/>
                    <a:pt x="664" y="57"/>
                    <a:pt x="660" y="62"/>
                  </a:cubicBezTo>
                  <a:cubicBezTo>
                    <a:pt x="657" y="67"/>
                    <a:pt x="651" y="53"/>
                    <a:pt x="651" y="53"/>
                  </a:cubicBezTo>
                  <a:cubicBezTo>
                    <a:pt x="647" y="53"/>
                    <a:pt x="647" y="53"/>
                    <a:pt x="647" y="53"/>
                  </a:cubicBezTo>
                  <a:cubicBezTo>
                    <a:pt x="649" y="45"/>
                    <a:pt x="649" y="45"/>
                    <a:pt x="649" y="45"/>
                  </a:cubicBezTo>
                  <a:cubicBezTo>
                    <a:pt x="649" y="45"/>
                    <a:pt x="644" y="51"/>
                    <a:pt x="643" y="55"/>
                  </a:cubicBezTo>
                  <a:cubicBezTo>
                    <a:pt x="642" y="58"/>
                    <a:pt x="637" y="62"/>
                    <a:pt x="632" y="63"/>
                  </a:cubicBezTo>
                  <a:cubicBezTo>
                    <a:pt x="627" y="63"/>
                    <a:pt x="625" y="71"/>
                    <a:pt x="625" y="71"/>
                  </a:cubicBezTo>
                  <a:cubicBezTo>
                    <a:pt x="626" y="78"/>
                    <a:pt x="626" y="78"/>
                    <a:pt x="626" y="78"/>
                  </a:cubicBezTo>
                  <a:cubicBezTo>
                    <a:pt x="626" y="78"/>
                    <a:pt x="627" y="72"/>
                    <a:pt x="630" y="70"/>
                  </a:cubicBezTo>
                  <a:cubicBezTo>
                    <a:pt x="633" y="67"/>
                    <a:pt x="635" y="65"/>
                    <a:pt x="637" y="66"/>
                  </a:cubicBezTo>
                  <a:cubicBezTo>
                    <a:pt x="641" y="66"/>
                    <a:pt x="637" y="71"/>
                    <a:pt x="634" y="74"/>
                  </a:cubicBezTo>
                  <a:cubicBezTo>
                    <a:pt x="630" y="77"/>
                    <a:pt x="623" y="81"/>
                    <a:pt x="620" y="89"/>
                  </a:cubicBezTo>
                  <a:cubicBezTo>
                    <a:pt x="618" y="96"/>
                    <a:pt x="619" y="112"/>
                    <a:pt x="619" y="112"/>
                  </a:cubicBezTo>
                  <a:cubicBezTo>
                    <a:pt x="615" y="113"/>
                    <a:pt x="615" y="113"/>
                    <a:pt x="615" y="113"/>
                  </a:cubicBezTo>
                  <a:cubicBezTo>
                    <a:pt x="602" y="133"/>
                    <a:pt x="602" y="133"/>
                    <a:pt x="602" y="133"/>
                  </a:cubicBezTo>
                  <a:cubicBezTo>
                    <a:pt x="593" y="135"/>
                    <a:pt x="593" y="135"/>
                    <a:pt x="593" y="135"/>
                  </a:cubicBezTo>
                  <a:cubicBezTo>
                    <a:pt x="602" y="143"/>
                    <a:pt x="602" y="143"/>
                    <a:pt x="602" y="143"/>
                  </a:cubicBezTo>
                  <a:cubicBezTo>
                    <a:pt x="609" y="142"/>
                    <a:pt x="609" y="142"/>
                    <a:pt x="609" y="142"/>
                  </a:cubicBezTo>
                  <a:cubicBezTo>
                    <a:pt x="612" y="146"/>
                    <a:pt x="612" y="146"/>
                    <a:pt x="612" y="146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47"/>
                    <a:pt x="587" y="155"/>
                    <a:pt x="586" y="161"/>
                  </a:cubicBezTo>
                  <a:cubicBezTo>
                    <a:pt x="584" y="168"/>
                    <a:pt x="596" y="184"/>
                    <a:pt x="596" y="184"/>
                  </a:cubicBezTo>
                  <a:cubicBezTo>
                    <a:pt x="594" y="187"/>
                    <a:pt x="594" y="187"/>
                    <a:pt x="594" y="187"/>
                  </a:cubicBezTo>
                  <a:cubicBezTo>
                    <a:pt x="594" y="187"/>
                    <a:pt x="604" y="198"/>
                    <a:pt x="603" y="203"/>
                  </a:cubicBezTo>
                  <a:cubicBezTo>
                    <a:pt x="602" y="209"/>
                    <a:pt x="596" y="208"/>
                    <a:pt x="596" y="208"/>
                  </a:cubicBezTo>
                  <a:cubicBezTo>
                    <a:pt x="596" y="208"/>
                    <a:pt x="593" y="215"/>
                    <a:pt x="590" y="218"/>
                  </a:cubicBezTo>
                  <a:cubicBezTo>
                    <a:pt x="588" y="221"/>
                    <a:pt x="576" y="224"/>
                    <a:pt x="576" y="224"/>
                  </a:cubicBezTo>
                  <a:cubicBezTo>
                    <a:pt x="576" y="224"/>
                    <a:pt x="571" y="232"/>
                    <a:pt x="566" y="232"/>
                  </a:cubicBezTo>
                  <a:cubicBezTo>
                    <a:pt x="561" y="233"/>
                    <a:pt x="547" y="216"/>
                    <a:pt x="547" y="216"/>
                  </a:cubicBezTo>
                  <a:cubicBezTo>
                    <a:pt x="526" y="214"/>
                    <a:pt x="526" y="214"/>
                    <a:pt x="526" y="214"/>
                  </a:cubicBezTo>
                  <a:cubicBezTo>
                    <a:pt x="528" y="192"/>
                    <a:pt x="528" y="192"/>
                    <a:pt x="528" y="192"/>
                  </a:cubicBezTo>
                  <a:cubicBezTo>
                    <a:pt x="521" y="186"/>
                    <a:pt x="521" y="186"/>
                    <a:pt x="521" y="186"/>
                  </a:cubicBezTo>
                  <a:cubicBezTo>
                    <a:pt x="535" y="174"/>
                    <a:pt x="535" y="174"/>
                    <a:pt x="535" y="174"/>
                  </a:cubicBezTo>
                  <a:cubicBezTo>
                    <a:pt x="551" y="162"/>
                    <a:pt x="551" y="162"/>
                    <a:pt x="551" y="162"/>
                  </a:cubicBezTo>
                  <a:cubicBezTo>
                    <a:pt x="551" y="162"/>
                    <a:pt x="543" y="150"/>
                    <a:pt x="538" y="146"/>
                  </a:cubicBezTo>
                  <a:cubicBezTo>
                    <a:pt x="534" y="144"/>
                    <a:pt x="517" y="140"/>
                    <a:pt x="517" y="140"/>
                  </a:cubicBezTo>
                  <a:cubicBezTo>
                    <a:pt x="511" y="133"/>
                    <a:pt x="511" y="133"/>
                    <a:pt x="511" y="133"/>
                  </a:cubicBezTo>
                  <a:cubicBezTo>
                    <a:pt x="511" y="133"/>
                    <a:pt x="499" y="136"/>
                    <a:pt x="490" y="138"/>
                  </a:cubicBezTo>
                  <a:cubicBezTo>
                    <a:pt x="481" y="141"/>
                    <a:pt x="473" y="150"/>
                    <a:pt x="473" y="150"/>
                  </a:cubicBezTo>
                  <a:cubicBezTo>
                    <a:pt x="448" y="151"/>
                    <a:pt x="448" y="151"/>
                    <a:pt x="448" y="151"/>
                  </a:cubicBezTo>
                  <a:cubicBezTo>
                    <a:pt x="448" y="151"/>
                    <a:pt x="452" y="154"/>
                    <a:pt x="457" y="156"/>
                  </a:cubicBezTo>
                  <a:cubicBezTo>
                    <a:pt x="463" y="157"/>
                    <a:pt x="471" y="158"/>
                    <a:pt x="471" y="158"/>
                  </a:cubicBezTo>
                  <a:cubicBezTo>
                    <a:pt x="482" y="168"/>
                    <a:pt x="482" y="168"/>
                    <a:pt x="482" y="168"/>
                  </a:cubicBezTo>
                  <a:cubicBezTo>
                    <a:pt x="482" y="172"/>
                    <a:pt x="482" y="172"/>
                    <a:pt x="482" y="172"/>
                  </a:cubicBezTo>
                  <a:cubicBezTo>
                    <a:pt x="488" y="183"/>
                    <a:pt x="488" y="183"/>
                    <a:pt x="488" y="183"/>
                  </a:cubicBezTo>
                  <a:cubicBezTo>
                    <a:pt x="491" y="188"/>
                    <a:pt x="491" y="188"/>
                    <a:pt x="491" y="188"/>
                  </a:cubicBezTo>
                  <a:cubicBezTo>
                    <a:pt x="490" y="192"/>
                    <a:pt x="490" y="192"/>
                    <a:pt x="490" y="192"/>
                  </a:cubicBezTo>
                  <a:cubicBezTo>
                    <a:pt x="497" y="204"/>
                    <a:pt x="497" y="204"/>
                    <a:pt x="497" y="204"/>
                  </a:cubicBezTo>
                  <a:cubicBezTo>
                    <a:pt x="497" y="204"/>
                    <a:pt x="498" y="235"/>
                    <a:pt x="503" y="240"/>
                  </a:cubicBezTo>
                  <a:cubicBezTo>
                    <a:pt x="508" y="246"/>
                    <a:pt x="522" y="240"/>
                    <a:pt x="522" y="240"/>
                  </a:cubicBezTo>
                  <a:cubicBezTo>
                    <a:pt x="531" y="249"/>
                    <a:pt x="531" y="249"/>
                    <a:pt x="531" y="249"/>
                  </a:cubicBezTo>
                  <a:cubicBezTo>
                    <a:pt x="529" y="252"/>
                    <a:pt x="529" y="252"/>
                    <a:pt x="529" y="252"/>
                  </a:cubicBezTo>
                  <a:cubicBezTo>
                    <a:pt x="537" y="262"/>
                    <a:pt x="537" y="262"/>
                    <a:pt x="537" y="262"/>
                  </a:cubicBezTo>
                  <a:cubicBezTo>
                    <a:pt x="538" y="292"/>
                    <a:pt x="538" y="292"/>
                    <a:pt x="538" y="292"/>
                  </a:cubicBezTo>
                  <a:cubicBezTo>
                    <a:pt x="538" y="292"/>
                    <a:pt x="549" y="305"/>
                    <a:pt x="547" y="308"/>
                  </a:cubicBezTo>
                  <a:cubicBezTo>
                    <a:pt x="546" y="311"/>
                    <a:pt x="533" y="297"/>
                    <a:pt x="531" y="298"/>
                  </a:cubicBezTo>
                  <a:cubicBezTo>
                    <a:pt x="528" y="298"/>
                    <a:pt x="523" y="311"/>
                    <a:pt x="523" y="311"/>
                  </a:cubicBezTo>
                  <a:cubicBezTo>
                    <a:pt x="526" y="299"/>
                    <a:pt x="526" y="299"/>
                    <a:pt x="526" y="299"/>
                  </a:cubicBezTo>
                  <a:cubicBezTo>
                    <a:pt x="526" y="299"/>
                    <a:pt x="522" y="296"/>
                    <a:pt x="514" y="296"/>
                  </a:cubicBezTo>
                  <a:cubicBezTo>
                    <a:pt x="504" y="295"/>
                    <a:pt x="499" y="303"/>
                    <a:pt x="499" y="303"/>
                  </a:cubicBezTo>
                  <a:cubicBezTo>
                    <a:pt x="499" y="303"/>
                    <a:pt x="494" y="299"/>
                    <a:pt x="488" y="298"/>
                  </a:cubicBezTo>
                  <a:cubicBezTo>
                    <a:pt x="483" y="298"/>
                    <a:pt x="478" y="308"/>
                    <a:pt x="478" y="308"/>
                  </a:cubicBezTo>
                  <a:cubicBezTo>
                    <a:pt x="478" y="308"/>
                    <a:pt x="480" y="325"/>
                    <a:pt x="474" y="334"/>
                  </a:cubicBezTo>
                  <a:cubicBezTo>
                    <a:pt x="468" y="343"/>
                    <a:pt x="459" y="343"/>
                    <a:pt x="459" y="343"/>
                  </a:cubicBezTo>
                  <a:cubicBezTo>
                    <a:pt x="459" y="344"/>
                    <a:pt x="459" y="344"/>
                    <a:pt x="459" y="344"/>
                  </a:cubicBezTo>
                  <a:cubicBezTo>
                    <a:pt x="459" y="344"/>
                    <a:pt x="459" y="356"/>
                    <a:pt x="457" y="363"/>
                  </a:cubicBezTo>
                  <a:cubicBezTo>
                    <a:pt x="455" y="371"/>
                    <a:pt x="446" y="381"/>
                    <a:pt x="447" y="383"/>
                  </a:cubicBezTo>
                  <a:cubicBezTo>
                    <a:pt x="447" y="387"/>
                    <a:pt x="451" y="383"/>
                    <a:pt x="451" y="383"/>
                  </a:cubicBezTo>
                  <a:cubicBezTo>
                    <a:pt x="451" y="383"/>
                    <a:pt x="452" y="386"/>
                    <a:pt x="452" y="394"/>
                  </a:cubicBezTo>
                  <a:cubicBezTo>
                    <a:pt x="452" y="403"/>
                    <a:pt x="475" y="409"/>
                    <a:pt x="484" y="418"/>
                  </a:cubicBezTo>
                  <a:cubicBezTo>
                    <a:pt x="493" y="426"/>
                    <a:pt x="488" y="426"/>
                    <a:pt x="479" y="427"/>
                  </a:cubicBezTo>
                  <a:cubicBezTo>
                    <a:pt x="470" y="428"/>
                    <a:pt x="472" y="442"/>
                    <a:pt x="472" y="442"/>
                  </a:cubicBezTo>
                  <a:cubicBezTo>
                    <a:pt x="472" y="442"/>
                    <a:pt x="475" y="454"/>
                    <a:pt x="475" y="458"/>
                  </a:cubicBezTo>
                  <a:cubicBezTo>
                    <a:pt x="475" y="462"/>
                    <a:pt x="459" y="462"/>
                    <a:pt x="459" y="462"/>
                  </a:cubicBezTo>
                  <a:cubicBezTo>
                    <a:pt x="451" y="462"/>
                    <a:pt x="451" y="462"/>
                    <a:pt x="451" y="462"/>
                  </a:cubicBezTo>
                  <a:cubicBezTo>
                    <a:pt x="445" y="462"/>
                    <a:pt x="446" y="464"/>
                    <a:pt x="446" y="464"/>
                  </a:cubicBezTo>
                  <a:cubicBezTo>
                    <a:pt x="446" y="464"/>
                    <a:pt x="440" y="462"/>
                    <a:pt x="440" y="464"/>
                  </a:cubicBezTo>
                  <a:cubicBezTo>
                    <a:pt x="439" y="465"/>
                    <a:pt x="442" y="467"/>
                    <a:pt x="442" y="467"/>
                  </a:cubicBezTo>
                  <a:cubicBezTo>
                    <a:pt x="442" y="467"/>
                    <a:pt x="439" y="469"/>
                    <a:pt x="437" y="470"/>
                  </a:cubicBezTo>
                  <a:cubicBezTo>
                    <a:pt x="435" y="471"/>
                    <a:pt x="436" y="475"/>
                    <a:pt x="436" y="475"/>
                  </a:cubicBezTo>
                  <a:cubicBezTo>
                    <a:pt x="436" y="475"/>
                    <a:pt x="437" y="481"/>
                    <a:pt x="435" y="480"/>
                  </a:cubicBezTo>
                  <a:cubicBezTo>
                    <a:pt x="433" y="480"/>
                    <a:pt x="434" y="475"/>
                    <a:pt x="434" y="475"/>
                  </a:cubicBezTo>
                  <a:cubicBezTo>
                    <a:pt x="434" y="475"/>
                    <a:pt x="431" y="472"/>
                    <a:pt x="429" y="471"/>
                  </a:cubicBezTo>
                  <a:cubicBezTo>
                    <a:pt x="428" y="469"/>
                    <a:pt x="432" y="468"/>
                    <a:pt x="432" y="468"/>
                  </a:cubicBezTo>
                  <a:cubicBezTo>
                    <a:pt x="429" y="468"/>
                    <a:pt x="429" y="468"/>
                    <a:pt x="429" y="468"/>
                  </a:cubicBezTo>
                  <a:cubicBezTo>
                    <a:pt x="429" y="467"/>
                    <a:pt x="429" y="467"/>
                    <a:pt x="429" y="467"/>
                  </a:cubicBezTo>
                  <a:cubicBezTo>
                    <a:pt x="429" y="467"/>
                    <a:pt x="430" y="466"/>
                    <a:pt x="432" y="466"/>
                  </a:cubicBezTo>
                  <a:cubicBezTo>
                    <a:pt x="433" y="466"/>
                    <a:pt x="434" y="468"/>
                    <a:pt x="434" y="468"/>
                  </a:cubicBezTo>
                  <a:cubicBezTo>
                    <a:pt x="436" y="467"/>
                    <a:pt x="436" y="467"/>
                    <a:pt x="436" y="467"/>
                  </a:cubicBezTo>
                  <a:cubicBezTo>
                    <a:pt x="435" y="465"/>
                    <a:pt x="435" y="465"/>
                    <a:pt x="435" y="465"/>
                  </a:cubicBezTo>
                  <a:cubicBezTo>
                    <a:pt x="438" y="465"/>
                    <a:pt x="438" y="465"/>
                    <a:pt x="438" y="465"/>
                  </a:cubicBezTo>
                  <a:cubicBezTo>
                    <a:pt x="437" y="461"/>
                    <a:pt x="437" y="461"/>
                    <a:pt x="437" y="461"/>
                  </a:cubicBezTo>
                  <a:cubicBezTo>
                    <a:pt x="437" y="461"/>
                    <a:pt x="425" y="464"/>
                    <a:pt x="422" y="464"/>
                  </a:cubicBezTo>
                  <a:cubicBezTo>
                    <a:pt x="418" y="462"/>
                    <a:pt x="416" y="458"/>
                    <a:pt x="416" y="458"/>
                  </a:cubicBezTo>
                  <a:cubicBezTo>
                    <a:pt x="416" y="458"/>
                    <a:pt x="393" y="456"/>
                    <a:pt x="390" y="458"/>
                  </a:cubicBezTo>
                  <a:cubicBezTo>
                    <a:pt x="387" y="460"/>
                    <a:pt x="393" y="465"/>
                    <a:pt x="393" y="469"/>
                  </a:cubicBezTo>
                  <a:cubicBezTo>
                    <a:pt x="395" y="472"/>
                    <a:pt x="389" y="474"/>
                    <a:pt x="389" y="474"/>
                  </a:cubicBezTo>
                  <a:cubicBezTo>
                    <a:pt x="389" y="476"/>
                    <a:pt x="389" y="476"/>
                    <a:pt x="389" y="476"/>
                  </a:cubicBezTo>
                  <a:cubicBezTo>
                    <a:pt x="389" y="476"/>
                    <a:pt x="386" y="475"/>
                    <a:pt x="385" y="477"/>
                  </a:cubicBezTo>
                  <a:cubicBezTo>
                    <a:pt x="384" y="480"/>
                    <a:pt x="389" y="483"/>
                    <a:pt x="389" y="483"/>
                  </a:cubicBezTo>
                  <a:cubicBezTo>
                    <a:pt x="392" y="487"/>
                    <a:pt x="392" y="487"/>
                    <a:pt x="392" y="487"/>
                  </a:cubicBezTo>
                  <a:cubicBezTo>
                    <a:pt x="392" y="487"/>
                    <a:pt x="395" y="486"/>
                    <a:pt x="397" y="487"/>
                  </a:cubicBezTo>
                  <a:cubicBezTo>
                    <a:pt x="399" y="487"/>
                    <a:pt x="403" y="491"/>
                    <a:pt x="408" y="494"/>
                  </a:cubicBezTo>
                  <a:cubicBezTo>
                    <a:pt x="413" y="499"/>
                    <a:pt x="423" y="504"/>
                    <a:pt x="423" y="504"/>
                  </a:cubicBezTo>
                  <a:cubicBezTo>
                    <a:pt x="425" y="498"/>
                    <a:pt x="425" y="498"/>
                    <a:pt x="425" y="498"/>
                  </a:cubicBezTo>
                  <a:cubicBezTo>
                    <a:pt x="430" y="498"/>
                    <a:pt x="430" y="498"/>
                    <a:pt x="430" y="498"/>
                  </a:cubicBezTo>
                  <a:cubicBezTo>
                    <a:pt x="430" y="498"/>
                    <a:pt x="428" y="496"/>
                    <a:pt x="429" y="494"/>
                  </a:cubicBezTo>
                  <a:cubicBezTo>
                    <a:pt x="429" y="492"/>
                    <a:pt x="433" y="491"/>
                    <a:pt x="433" y="491"/>
                  </a:cubicBezTo>
                  <a:cubicBezTo>
                    <a:pt x="433" y="496"/>
                    <a:pt x="433" y="496"/>
                    <a:pt x="433" y="496"/>
                  </a:cubicBezTo>
                  <a:cubicBezTo>
                    <a:pt x="439" y="496"/>
                    <a:pt x="439" y="496"/>
                    <a:pt x="439" y="496"/>
                  </a:cubicBezTo>
                  <a:cubicBezTo>
                    <a:pt x="442" y="496"/>
                    <a:pt x="441" y="499"/>
                    <a:pt x="441" y="499"/>
                  </a:cubicBezTo>
                  <a:cubicBezTo>
                    <a:pt x="441" y="505"/>
                    <a:pt x="441" y="505"/>
                    <a:pt x="441" y="505"/>
                  </a:cubicBezTo>
                  <a:cubicBezTo>
                    <a:pt x="441" y="505"/>
                    <a:pt x="449" y="508"/>
                    <a:pt x="451" y="516"/>
                  </a:cubicBezTo>
                  <a:cubicBezTo>
                    <a:pt x="454" y="523"/>
                    <a:pt x="444" y="525"/>
                    <a:pt x="444" y="525"/>
                  </a:cubicBezTo>
                  <a:cubicBezTo>
                    <a:pt x="444" y="525"/>
                    <a:pt x="444" y="531"/>
                    <a:pt x="439" y="534"/>
                  </a:cubicBezTo>
                  <a:cubicBezTo>
                    <a:pt x="435" y="537"/>
                    <a:pt x="433" y="532"/>
                    <a:pt x="429" y="531"/>
                  </a:cubicBezTo>
                  <a:cubicBezTo>
                    <a:pt x="425" y="531"/>
                    <a:pt x="422" y="534"/>
                    <a:pt x="420" y="534"/>
                  </a:cubicBezTo>
                  <a:cubicBezTo>
                    <a:pt x="419" y="534"/>
                    <a:pt x="416" y="534"/>
                    <a:pt x="413" y="533"/>
                  </a:cubicBezTo>
                  <a:cubicBezTo>
                    <a:pt x="409" y="533"/>
                    <a:pt x="412" y="535"/>
                    <a:pt x="404" y="534"/>
                  </a:cubicBezTo>
                  <a:cubicBezTo>
                    <a:pt x="396" y="534"/>
                    <a:pt x="396" y="529"/>
                    <a:pt x="396" y="529"/>
                  </a:cubicBezTo>
                  <a:cubicBezTo>
                    <a:pt x="397" y="524"/>
                    <a:pt x="397" y="524"/>
                    <a:pt x="397" y="524"/>
                  </a:cubicBezTo>
                  <a:cubicBezTo>
                    <a:pt x="388" y="523"/>
                    <a:pt x="388" y="523"/>
                    <a:pt x="388" y="523"/>
                  </a:cubicBezTo>
                  <a:cubicBezTo>
                    <a:pt x="388" y="523"/>
                    <a:pt x="386" y="525"/>
                    <a:pt x="384" y="523"/>
                  </a:cubicBezTo>
                  <a:cubicBezTo>
                    <a:pt x="382" y="522"/>
                    <a:pt x="382" y="520"/>
                    <a:pt x="379" y="518"/>
                  </a:cubicBezTo>
                  <a:cubicBezTo>
                    <a:pt x="374" y="515"/>
                    <a:pt x="370" y="518"/>
                    <a:pt x="370" y="518"/>
                  </a:cubicBezTo>
                  <a:cubicBezTo>
                    <a:pt x="370" y="518"/>
                    <a:pt x="371" y="521"/>
                    <a:pt x="370" y="523"/>
                  </a:cubicBezTo>
                  <a:cubicBezTo>
                    <a:pt x="368" y="525"/>
                    <a:pt x="365" y="525"/>
                    <a:pt x="365" y="525"/>
                  </a:cubicBezTo>
                  <a:cubicBezTo>
                    <a:pt x="364" y="523"/>
                    <a:pt x="364" y="523"/>
                    <a:pt x="364" y="523"/>
                  </a:cubicBezTo>
                  <a:cubicBezTo>
                    <a:pt x="360" y="523"/>
                    <a:pt x="360" y="523"/>
                    <a:pt x="360" y="523"/>
                  </a:cubicBezTo>
                  <a:cubicBezTo>
                    <a:pt x="360" y="525"/>
                    <a:pt x="360" y="525"/>
                    <a:pt x="360" y="525"/>
                  </a:cubicBezTo>
                  <a:cubicBezTo>
                    <a:pt x="355" y="519"/>
                    <a:pt x="355" y="519"/>
                    <a:pt x="355" y="519"/>
                  </a:cubicBezTo>
                  <a:cubicBezTo>
                    <a:pt x="354" y="522"/>
                    <a:pt x="354" y="522"/>
                    <a:pt x="354" y="522"/>
                  </a:cubicBezTo>
                  <a:cubicBezTo>
                    <a:pt x="344" y="516"/>
                    <a:pt x="344" y="516"/>
                    <a:pt x="344" y="516"/>
                  </a:cubicBezTo>
                  <a:cubicBezTo>
                    <a:pt x="344" y="516"/>
                    <a:pt x="347" y="512"/>
                    <a:pt x="346" y="509"/>
                  </a:cubicBezTo>
                  <a:cubicBezTo>
                    <a:pt x="344" y="506"/>
                    <a:pt x="340" y="502"/>
                    <a:pt x="340" y="502"/>
                  </a:cubicBezTo>
                  <a:cubicBezTo>
                    <a:pt x="342" y="498"/>
                    <a:pt x="342" y="498"/>
                    <a:pt x="342" y="498"/>
                  </a:cubicBezTo>
                  <a:cubicBezTo>
                    <a:pt x="339" y="492"/>
                    <a:pt x="339" y="492"/>
                    <a:pt x="339" y="492"/>
                  </a:cubicBezTo>
                  <a:cubicBezTo>
                    <a:pt x="333" y="490"/>
                    <a:pt x="333" y="490"/>
                    <a:pt x="333" y="490"/>
                  </a:cubicBezTo>
                  <a:cubicBezTo>
                    <a:pt x="333" y="490"/>
                    <a:pt x="336" y="487"/>
                    <a:pt x="334" y="483"/>
                  </a:cubicBezTo>
                  <a:cubicBezTo>
                    <a:pt x="331" y="478"/>
                    <a:pt x="314" y="469"/>
                    <a:pt x="314" y="469"/>
                  </a:cubicBezTo>
                  <a:cubicBezTo>
                    <a:pt x="314" y="469"/>
                    <a:pt x="321" y="460"/>
                    <a:pt x="321" y="456"/>
                  </a:cubicBezTo>
                  <a:cubicBezTo>
                    <a:pt x="322" y="451"/>
                    <a:pt x="313" y="439"/>
                    <a:pt x="313" y="439"/>
                  </a:cubicBezTo>
                  <a:cubicBezTo>
                    <a:pt x="313" y="439"/>
                    <a:pt x="315" y="438"/>
                    <a:pt x="315" y="437"/>
                  </a:cubicBezTo>
                  <a:cubicBezTo>
                    <a:pt x="316" y="436"/>
                    <a:pt x="317" y="433"/>
                    <a:pt x="317" y="433"/>
                  </a:cubicBezTo>
                  <a:cubicBezTo>
                    <a:pt x="317" y="433"/>
                    <a:pt x="314" y="434"/>
                    <a:pt x="313" y="434"/>
                  </a:cubicBezTo>
                  <a:cubicBezTo>
                    <a:pt x="310" y="433"/>
                    <a:pt x="311" y="427"/>
                    <a:pt x="311" y="427"/>
                  </a:cubicBezTo>
                  <a:cubicBezTo>
                    <a:pt x="311" y="427"/>
                    <a:pt x="293" y="420"/>
                    <a:pt x="290" y="419"/>
                  </a:cubicBezTo>
                  <a:cubicBezTo>
                    <a:pt x="286" y="418"/>
                    <a:pt x="285" y="421"/>
                    <a:pt x="285" y="421"/>
                  </a:cubicBezTo>
                  <a:cubicBezTo>
                    <a:pt x="285" y="421"/>
                    <a:pt x="274" y="419"/>
                    <a:pt x="271" y="419"/>
                  </a:cubicBezTo>
                  <a:cubicBezTo>
                    <a:pt x="268" y="419"/>
                    <a:pt x="264" y="423"/>
                    <a:pt x="264" y="423"/>
                  </a:cubicBezTo>
                  <a:cubicBezTo>
                    <a:pt x="264" y="420"/>
                    <a:pt x="264" y="420"/>
                    <a:pt x="264" y="420"/>
                  </a:cubicBezTo>
                  <a:cubicBezTo>
                    <a:pt x="275" y="414"/>
                    <a:pt x="275" y="414"/>
                    <a:pt x="275" y="414"/>
                  </a:cubicBezTo>
                  <a:cubicBezTo>
                    <a:pt x="270" y="413"/>
                    <a:pt x="270" y="413"/>
                    <a:pt x="270" y="413"/>
                  </a:cubicBezTo>
                  <a:cubicBezTo>
                    <a:pt x="274" y="411"/>
                    <a:pt x="274" y="411"/>
                    <a:pt x="274" y="411"/>
                  </a:cubicBezTo>
                  <a:cubicBezTo>
                    <a:pt x="274" y="409"/>
                    <a:pt x="274" y="409"/>
                    <a:pt x="274" y="409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72" y="406"/>
                    <a:pt x="272" y="406"/>
                    <a:pt x="272" y="406"/>
                  </a:cubicBezTo>
                  <a:cubicBezTo>
                    <a:pt x="270" y="406"/>
                    <a:pt x="270" y="406"/>
                    <a:pt x="270" y="406"/>
                  </a:cubicBezTo>
                  <a:cubicBezTo>
                    <a:pt x="269" y="410"/>
                    <a:pt x="269" y="410"/>
                    <a:pt x="269" y="410"/>
                  </a:cubicBezTo>
                  <a:cubicBezTo>
                    <a:pt x="262" y="411"/>
                    <a:pt x="262" y="411"/>
                    <a:pt x="262" y="411"/>
                  </a:cubicBezTo>
                  <a:cubicBezTo>
                    <a:pt x="259" y="407"/>
                    <a:pt x="259" y="407"/>
                    <a:pt x="259" y="407"/>
                  </a:cubicBezTo>
                  <a:cubicBezTo>
                    <a:pt x="258" y="410"/>
                    <a:pt x="258" y="410"/>
                    <a:pt x="258" y="410"/>
                  </a:cubicBezTo>
                  <a:cubicBezTo>
                    <a:pt x="254" y="409"/>
                    <a:pt x="254" y="409"/>
                    <a:pt x="254" y="409"/>
                  </a:cubicBezTo>
                  <a:cubicBezTo>
                    <a:pt x="258" y="407"/>
                    <a:pt x="258" y="407"/>
                    <a:pt x="258" y="407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56" y="406"/>
                    <a:pt x="249" y="406"/>
                    <a:pt x="249" y="405"/>
                  </a:cubicBezTo>
                  <a:cubicBezTo>
                    <a:pt x="249" y="404"/>
                    <a:pt x="254" y="405"/>
                    <a:pt x="254" y="405"/>
                  </a:cubicBezTo>
                  <a:cubicBezTo>
                    <a:pt x="257" y="401"/>
                    <a:pt x="257" y="401"/>
                    <a:pt x="257" y="401"/>
                  </a:cubicBezTo>
                  <a:cubicBezTo>
                    <a:pt x="261" y="402"/>
                    <a:pt x="261" y="402"/>
                    <a:pt x="261" y="402"/>
                  </a:cubicBezTo>
                  <a:cubicBezTo>
                    <a:pt x="261" y="399"/>
                    <a:pt x="261" y="399"/>
                    <a:pt x="261" y="399"/>
                  </a:cubicBezTo>
                  <a:cubicBezTo>
                    <a:pt x="251" y="399"/>
                    <a:pt x="251" y="399"/>
                    <a:pt x="251" y="399"/>
                  </a:cubicBezTo>
                  <a:cubicBezTo>
                    <a:pt x="248" y="401"/>
                    <a:pt x="244" y="398"/>
                    <a:pt x="244" y="398"/>
                  </a:cubicBezTo>
                  <a:cubicBezTo>
                    <a:pt x="244" y="397"/>
                    <a:pt x="244" y="397"/>
                    <a:pt x="244" y="397"/>
                  </a:cubicBezTo>
                  <a:cubicBezTo>
                    <a:pt x="244" y="396"/>
                    <a:pt x="244" y="396"/>
                    <a:pt x="244" y="396"/>
                  </a:cubicBezTo>
                  <a:cubicBezTo>
                    <a:pt x="246" y="398"/>
                    <a:pt x="246" y="398"/>
                    <a:pt x="246" y="398"/>
                  </a:cubicBezTo>
                  <a:cubicBezTo>
                    <a:pt x="250" y="396"/>
                    <a:pt x="250" y="396"/>
                    <a:pt x="250" y="396"/>
                  </a:cubicBezTo>
                  <a:cubicBezTo>
                    <a:pt x="241" y="394"/>
                    <a:pt x="241" y="394"/>
                    <a:pt x="241" y="394"/>
                  </a:cubicBezTo>
                  <a:cubicBezTo>
                    <a:pt x="234" y="393"/>
                    <a:pt x="234" y="393"/>
                    <a:pt x="234" y="393"/>
                  </a:cubicBezTo>
                  <a:cubicBezTo>
                    <a:pt x="234" y="393"/>
                    <a:pt x="236" y="386"/>
                    <a:pt x="235" y="383"/>
                  </a:cubicBezTo>
                  <a:cubicBezTo>
                    <a:pt x="235" y="382"/>
                    <a:pt x="226" y="382"/>
                    <a:pt x="226" y="382"/>
                  </a:cubicBezTo>
                  <a:cubicBezTo>
                    <a:pt x="226" y="380"/>
                    <a:pt x="226" y="380"/>
                    <a:pt x="226" y="380"/>
                  </a:cubicBezTo>
                  <a:cubicBezTo>
                    <a:pt x="223" y="379"/>
                    <a:pt x="223" y="379"/>
                    <a:pt x="223" y="379"/>
                  </a:cubicBezTo>
                  <a:cubicBezTo>
                    <a:pt x="222" y="381"/>
                    <a:pt x="222" y="381"/>
                    <a:pt x="222" y="381"/>
                  </a:cubicBezTo>
                  <a:cubicBezTo>
                    <a:pt x="215" y="380"/>
                    <a:pt x="215" y="380"/>
                    <a:pt x="215" y="380"/>
                  </a:cubicBezTo>
                  <a:cubicBezTo>
                    <a:pt x="221" y="378"/>
                    <a:pt x="221" y="378"/>
                    <a:pt x="221" y="378"/>
                  </a:cubicBezTo>
                  <a:cubicBezTo>
                    <a:pt x="221" y="378"/>
                    <a:pt x="221" y="376"/>
                    <a:pt x="227" y="376"/>
                  </a:cubicBezTo>
                  <a:cubicBezTo>
                    <a:pt x="233" y="375"/>
                    <a:pt x="240" y="377"/>
                    <a:pt x="240" y="377"/>
                  </a:cubicBezTo>
                  <a:cubicBezTo>
                    <a:pt x="239" y="381"/>
                    <a:pt x="239" y="381"/>
                    <a:pt x="239" y="381"/>
                  </a:cubicBezTo>
                  <a:cubicBezTo>
                    <a:pt x="239" y="381"/>
                    <a:pt x="244" y="384"/>
                    <a:pt x="251" y="388"/>
                  </a:cubicBezTo>
                  <a:cubicBezTo>
                    <a:pt x="256" y="391"/>
                    <a:pt x="265" y="393"/>
                    <a:pt x="265" y="393"/>
                  </a:cubicBezTo>
                  <a:cubicBezTo>
                    <a:pt x="262" y="387"/>
                    <a:pt x="262" y="387"/>
                    <a:pt x="262" y="387"/>
                  </a:cubicBezTo>
                  <a:cubicBezTo>
                    <a:pt x="264" y="386"/>
                    <a:pt x="264" y="386"/>
                    <a:pt x="264" y="386"/>
                  </a:cubicBezTo>
                  <a:cubicBezTo>
                    <a:pt x="264" y="386"/>
                    <a:pt x="270" y="391"/>
                    <a:pt x="273" y="392"/>
                  </a:cubicBezTo>
                  <a:cubicBezTo>
                    <a:pt x="276" y="393"/>
                    <a:pt x="279" y="390"/>
                    <a:pt x="279" y="390"/>
                  </a:cubicBezTo>
                  <a:cubicBezTo>
                    <a:pt x="281" y="384"/>
                    <a:pt x="281" y="384"/>
                    <a:pt x="281" y="384"/>
                  </a:cubicBezTo>
                  <a:cubicBezTo>
                    <a:pt x="281" y="390"/>
                    <a:pt x="281" y="390"/>
                    <a:pt x="281" y="390"/>
                  </a:cubicBezTo>
                  <a:cubicBezTo>
                    <a:pt x="288" y="390"/>
                    <a:pt x="288" y="390"/>
                    <a:pt x="288" y="390"/>
                  </a:cubicBezTo>
                  <a:cubicBezTo>
                    <a:pt x="288" y="390"/>
                    <a:pt x="288" y="391"/>
                    <a:pt x="289" y="393"/>
                  </a:cubicBezTo>
                  <a:cubicBezTo>
                    <a:pt x="291" y="395"/>
                    <a:pt x="292" y="395"/>
                    <a:pt x="292" y="395"/>
                  </a:cubicBezTo>
                  <a:cubicBezTo>
                    <a:pt x="297" y="390"/>
                    <a:pt x="297" y="390"/>
                    <a:pt x="297" y="390"/>
                  </a:cubicBezTo>
                  <a:cubicBezTo>
                    <a:pt x="301" y="390"/>
                    <a:pt x="301" y="390"/>
                    <a:pt x="301" y="390"/>
                  </a:cubicBezTo>
                  <a:cubicBezTo>
                    <a:pt x="304" y="391"/>
                    <a:pt x="311" y="394"/>
                    <a:pt x="311" y="394"/>
                  </a:cubicBezTo>
                  <a:cubicBezTo>
                    <a:pt x="314" y="393"/>
                    <a:pt x="314" y="393"/>
                    <a:pt x="314" y="393"/>
                  </a:cubicBezTo>
                  <a:cubicBezTo>
                    <a:pt x="316" y="395"/>
                    <a:pt x="316" y="395"/>
                    <a:pt x="316" y="395"/>
                  </a:cubicBezTo>
                  <a:cubicBezTo>
                    <a:pt x="335" y="395"/>
                    <a:pt x="335" y="395"/>
                    <a:pt x="335" y="395"/>
                  </a:cubicBezTo>
                  <a:cubicBezTo>
                    <a:pt x="349" y="395"/>
                    <a:pt x="355" y="390"/>
                    <a:pt x="364" y="390"/>
                  </a:cubicBezTo>
                  <a:cubicBezTo>
                    <a:pt x="371" y="390"/>
                    <a:pt x="383" y="395"/>
                    <a:pt x="383" y="395"/>
                  </a:cubicBezTo>
                  <a:cubicBezTo>
                    <a:pt x="386" y="393"/>
                    <a:pt x="386" y="393"/>
                    <a:pt x="386" y="393"/>
                  </a:cubicBezTo>
                  <a:cubicBezTo>
                    <a:pt x="386" y="393"/>
                    <a:pt x="391" y="393"/>
                    <a:pt x="400" y="392"/>
                  </a:cubicBezTo>
                  <a:cubicBezTo>
                    <a:pt x="408" y="391"/>
                    <a:pt x="413" y="381"/>
                    <a:pt x="413" y="381"/>
                  </a:cubicBezTo>
                  <a:cubicBezTo>
                    <a:pt x="417" y="381"/>
                    <a:pt x="417" y="381"/>
                    <a:pt x="417" y="381"/>
                  </a:cubicBezTo>
                  <a:cubicBezTo>
                    <a:pt x="419" y="381"/>
                    <a:pt x="420" y="377"/>
                    <a:pt x="420" y="377"/>
                  </a:cubicBezTo>
                  <a:cubicBezTo>
                    <a:pt x="420" y="377"/>
                    <a:pt x="428" y="371"/>
                    <a:pt x="430" y="368"/>
                  </a:cubicBezTo>
                  <a:cubicBezTo>
                    <a:pt x="432" y="366"/>
                    <a:pt x="439" y="351"/>
                    <a:pt x="439" y="351"/>
                  </a:cubicBezTo>
                  <a:cubicBezTo>
                    <a:pt x="439" y="351"/>
                    <a:pt x="441" y="351"/>
                    <a:pt x="444" y="349"/>
                  </a:cubicBezTo>
                  <a:cubicBezTo>
                    <a:pt x="445" y="346"/>
                    <a:pt x="444" y="343"/>
                    <a:pt x="444" y="343"/>
                  </a:cubicBezTo>
                  <a:cubicBezTo>
                    <a:pt x="444" y="343"/>
                    <a:pt x="444" y="340"/>
                    <a:pt x="446" y="334"/>
                  </a:cubicBezTo>
                  <a:cubicBezTo>
                    <a:pt x="447" y="329"/>
                    <a:pt x="448" y="304"/>
                    <a:pt x="448" y="304"/>
                  </a:cubicBezTo>
                  <a:cubicBezTo>
                    <a:pt x="444" y="300"/>
                    <a:pt x="444" y="300"/>
                    <a:pt x="444" y="300"/>
                  </a:cubicBezTo>
                  <a:cubicBezTo>
                    <a:pt x="439" y="294"/>
                    <a:pt x="439" y="294"/>
                    <a:pt x="439" y="294"/>
                  </a:cubicBezTo>
                  <a:cubicBezTo>
                    <a:pt x="439" y="294"/>
                    <a:pt x="435" y="295"/>
                    <a:pt x="433" y="294"/>
                  </a:cubicBezTo>
                  <a:cubicBezTo>
                    <a:pt x="430" y="293"/>
                    <a:pt x="428" y="283"/>
                    <a:pt x="428" y="283"/>
                  </a:cubicBezTo>
                  <a:cubicBezTo>
                    <a:pt x="424" y="283"/>
                    <a:pt x="424" y="283"/>
                    <a:pt x="424" y="283"/>
                  </a:cubicBezTo>
                  <a:cubicBezTo>
                    <a:pt x="422" y="278"/>
                    <a:pt x="422" y="278"/>
                    <a:pt x="422" y="278"/>
                  </a:cubicBezTo>
                  <a:cubicBezTo>
                    <a:pt x="423" y="275"/>
                    <a:pt x="423" y="275"/>
                    <a:pt x="423" y="275"/>
                  </a:cubicBezTo>
                  <a:cubicBezTo>
                    <a:pt x="415" y="268"/>
                    <a:pt x="415" y="268"/>
                    <a:pt x="415" y="268"/>
                  </a:cubicBezTo>
                  <a:cubicBezTo>
                    <a:pt x="413" y="270"/>
                    <a:pt x="413" y="270"/>
                    <a:pt x="413" y="270"/>
                  </a:cubicBezTo>
                  <a:cubicBezTo>
                    <a:pt x="407" y="268"/>
                    <a:pt x="407" y="268"/>
                    <a:pt x="407" y="268"/>
                  </a:cubicBezTo>
                  <a:cubicBezTo>
                    <a:pt x="407" y="268"/>
                    <a:pt x="407" y="272"/>
                    <a:pt x="405" y="272"/>
                  </a:cubicBezTo>
                  <a:cubicBezTo>
                    <a:pt x="403" y="272"/>
                    <a:pt x="400" y="269"/>
                    <a:pt x="400" y="269"/>
                  </a:cubicBezTo>
                  <a:cubicBezTo>
                    <a:pt x="399" y="265"/>
                    <a:pt x="399" y="265"/>
                    <a:pt x="399" y="265"/>
                  </a:cubicBezTo>
                  <a:cubicBezTo>
                    <a:pt x="386" y="262"/>
                    <a:pt x="386" y="262"/>
                    <a:pt x="386" y="262"/>
                  </a:cubicBezTo>
                  <a:cubicBezTo>
                    <a:pt x="380" y="256"/>
                    <a:pt x="380" y="256"/>
                    <a:pt x="380" y="256"/>
                  </a:cubicBezTo>
                  <a:cubicBezTo>
                    <a:pt x="379" y="257"/>
                    <a:pt x="379" y="257"/>
                    <a:pt x="379" y="257"/>
                  </a:cubicBezTo>
                  <a:cubicBezTo>
                    <a:pt x="379" y="257"/>
                    <a:pt x="384" y="261"/>
                    <a:pt x="381" y="263"/>
                  </a:cubicBezTo>
                  <a:cubicBezTo>
                    <a:pt x="377" y="264"/>
                    <a:pt x="364" y="257"/>
                    <a:pt x="364" y="257"/>
                  </a:cubicBezTo>
                  <a:cubicBezTo>
                    <a:pt x="363" y="260"/>
                    <a:pt x="363" y="260"/>
                    <a:pt x="363" y="260"/>
                  </a:cubicBezTo>
                  <a:cubicBezTo>
                    <a:pt x="356" y="256"/>
                    <a:pt x="356" y="256"/>
                    <a:pt x="356" y="256"/>
                  </a:cubicBezTo>
                  <a:cubicBezTo>
                    <a:pt x="356" y="256"/>
                    <a:pt x="357" y="254"/>
                    <a:pt x="355" y="254"/>
                  </a:cubicBezTo>
                  <a:cubicBezTo>
                    <a:pt x="353" y="254"/>
                    <a:pt x="347" y="253"/>
                    <a:pt x="347" y="253"/>
                  </a:cubicBezTo>
                  <a:cubicBezTo>
                    <a:pt x="348" y="255"/>
                    <a:pt x="348" y="255"/>
                    <a:pt x="348" y="255"/>
                  </a:cubicBezTo>
                  <a:cubicBezTo>
                    <a:pt x="348" y="255"/>
                    <a:pt x="353" y="257"/>
                    <a:pt x="352" y="259"/>
                  </a:cubicBezTo>
                  <a:cubicBezTo>
                    <a:pt x="352" y="261"/>
                    <a:pt x="344" y="257"/>
                    <a:pt x="344" y="257"/>
                  </a:cubicBezTo>
                  <a:cubicBezTo>
                    <a:pt x="344" y="257"/>
                    <a:pt x="331" y="250"/>
                    <a:pt x="325" y="247"/>
                  </a:cubicBezTo>
                  <a:cubicBezTo>
                    <a:pt x="321" y="244"/>
                    <a:pt x="310" y="241"/>
                    <a:pt x="306" y="240"/>
                  </a:cubicBezTo>
                  <a:cubicBezTo>
                    <a:pt x="302" y="239"/>
                    <a:pt x="295" y="235"/>
                    <a:pt x="289" y="233"/>
                  </a:cubicBezTo>
                  <a:cubicBezTo>
                    <a:pt x="282" y="230"/>
                    <a:pt x="270" y="230"/>
                    <a:pt x="270" y="230"/>
                  </a:cubicBezTo>
                  <a:cubicBezTo>
                    <a:pt x="269" y="230"/>
                    <a:pt x="269" y="230"/>
                    <a:pt x="269" y="230"/>
                  </a:cubicBezTo>
                  <a:cubicBezTo>
                    <a:pt x="269" y="230"/>
                    <a:pt x="266" y="228"/>
                    <a:pt x="265" y="226"/>
                  </a:cubicBezTo>
                  <a:cubicBezTo>
                    <a:pt x="264" y="226"/>
                    <a:pt x="262" y="229"/>
                    <a:pt x="262" y="229"/>
                  </a:cubicBezTo>
                  <a:cubicBezTo>
                    <a:pt x="256" y="229"/>
                    <a:pt x="256" y="229"/>
                    <a:pt x="256" y="229"/>
                  </a:cubicBezTo>
                  <a:cubicBezTo>
                    <a:pt x="256" y="228"/>
                    <a:pt x="256" y="228"/>
                    <a:pt x="256" y="228"/>
                  </a:cubicBezTo>
                  <a:cubicBezTo>
                    <a:pt x="248" y="230"/>
                    <a:pt x="248" y="230"/>
                    <a:pt x="248" y="230"/>
                  </a:cubicBezTo>
                  <a:cubicBezTo>
                    <a:pt x="251" y="232"/>
                    <a:pt x="251" y="232"/>
                    <a:pt x="251" y="232"/>
                  </a:cubicBezTo>
                  <a:cubicBezTo>
                    <a:pt x="249" y="235"/>
                    <a:pt x="249" y="235"/>
                    <a:pt x="249" y="235"/>
                  </a:cubicBezTo>
                  <a:cubicBezTo>
                    <a:pt x="249" y="235"/>
                    <a:pt x="248" y="233"/>
                    <a:pt x="246" y="233"/>
                  </a:cubicBezTo>
                  <a:cubicBezTo>
                    <a:pt x="244" y="233"/>
                    <a:pt x="244" y="235"/>
                    <a:pt x="244" y="235"/>
                  </a:cubicBezTo>
                  <a:cubicBezTo>
                    <a:pt x="244" y="235"/>
                    <a:pt x="242" y="234"/>
                    <a:pt x="240" y="233"/>
                  </a:cubicBezTo>
                  <a:cubicBezTo>
                    <a:pt x="238" y="233"/>
                    <a:pt x="231" y="234"/>
                    <a:pt x="231" y="234"/>
                  </a:cubicBezTo>
                  <a:cubicBezTo>
                    <a:pt x="229" y="232"/>
                    <a:pt x="229" y="232"/>
                    <a:pt x="229" y="232"/>
                  </a:cubicBezTo>
                  <a:cubicBezTo>
                    <a:pt x="217" y="234"/>
                    <a:pt x="217" y="234"/>
                    <a:pt x="217" y="234"/>
                  </a:cubicBezTo>
                  <a:cubicBezTo>
                    <a:pt x="217" y="236"/>
                    <a:pt x="217" y="236"/>
                    <a:pt x="217" y="236"/>
                  </a:cubicBezTo>
                  <a:cubicBezTo>
                    <a:pt x="217" y="236"/>
                    <a:pt x="211" y="234"/>
                    <a:pt x="210" y="236"/>
                  </a:cubicBezTo>
                  <a:cubicBezTo>
                    <a:pt x="209" y="239"/>
                    <a:pt x="212" y="247"/>
                    <a:pt x="212" y="247"/>
                  </a:cubicBezTo>
                  <a:cubicBezTo>
                    <a:pt x="212" y="247"/>
                    <a:pt x="211" y="250"/>
                    <a:pt x="209" y="251"/>
                  </a:cubicBezTo>
                  <a:cubicBezTo>
                    <a:pt x="208" y="253"/>
                    <a:pt x="205" y="255"/>
                    <a:pt x="203" y="254"/>
                  </a:cubicBezTo>
                  <a:cubicBezTo>
                    <a:pt x="202" y="253"/>
                    <a:pt x="207" y="249"/>
                    <a:pt x="208" y="247"/>
                  </a:cubicBezTo>
                  <a:cubicBezTo>
                    <a:pt x="210" y="246"/>
                    <a:pt x="210" y="244"/>
                    <a:pt x="210" y="244"/>
                  </a:cubicBezTo>
                  <a:cubicBezTo>
                    <a:pt x="206" y="241"/>
                    <a:pt x="206" y="241"/>
                    <a:pt x="206" y="241"/>
                  </a:cubicBezTo>
                  <a:cubicBezTo>
                    <a:pt x="207" y="239"/>
                    <a:pt x="207" y="239"/>
                    <a:pt x="207" y="239"/>
                  </a:cubicBezTo>
                  <a:cubicBezTo>
                    <a:pt x="202" y="241"/>
                    <a:pt x="202" y="241"/>
                    <a:pt x="202" y="241"/>
                  </a:cubicBezTo>
                  <a:cubicBezTo>
                    <a:pt x="202" y="241"/>
                    <a:pt x="208" y="234"/>
                    <a:pt x="205" y="231"/>
                  </a:cubicBezTo>
                  <a:cubicBezTo>
                    <a:pt x="201" y="228"/>
                    <a:pt x="194" y="236"/>
                    <a:pt x="194" y="236"/>
                  </a:cubicBezTo>
                  <a:cubicBezTo>
                    <a:pt x="193" y="240"/>
                    <a:pt x="193" y="240"/>
                    <a:pt x="193" y="240"/>
                  </a:cubicBezTo>
                  <a:cubicBezTo>
                    <a:pt x="190" y="240"/>
                    <a:pt x="190" y="240"/>
                    <a:pt x="190" y="240"/>
                  </a:cubicBezTo>
                  <a:cubicBezTo>
                    <a:pt x="193" y="236"/>
                    <a:pt x="193" y="236"/>
                    <a:pt x="193" y="236"/>
                  </a:cubicBezTo>
                  <a:cubicBezTo>
                    <a:pt x="194" y="231"/>
                    <a:pt x="194" y="231"/>
                    <a:pt x="194" y="231"/>
                  </a:cubicBezTo>
                  <a:cubicBezTo>
                    <a:pt x="191" y="234"/>
                    <a:pt x="191" y="234"/>
                    <a:pt x="191" y="234"/>
                  </a:cubicBezTo>
                  <a:cubicBezTo>
                    <a:pt x="190" y="232"/>
                    <a:pt x="190" y="232"/>
                    <a:pt x="190" y="232"/>
                  </a:cubicBezTo>
                  <a:cubicBezTo>
                    <a:pt x="186" y="232"/>
                    <a:pt x="186" y="232"/>
                    <a:pt x="186" y="232"/>
                  </a:cubicBezTo>
                  <a:cubicBezTo>
                    <a:pt x="186" y="234"/>
                    <a:pt x="186" y="234"/>
                    <a:pt x="186" y="234"/>
                  </a:cubicBezTo>
                  <a:cubicBezTo>
                    <a:pt x="182" y="233"/>
                    <a:pt x="182" y="233"/>
                    <a:pt x="182" y="233"/>
                  </a:cubicBezTo>
                  <a:cubicBezTo>
                    <a:pt x="182" y="236"/>
                    <a:pt x="182" y="236"/>
                    <a:pt x="182" y="236"/>
                  </a:cubicBezTo>
                  <a:cubicBezTo>
                    <a:pt x="177" y="237"/>
                    <a:pt x="177" y="237"/>
                    <a:pt x="177" y="237"/>
                  </a:cubicBezTo>
                  <a:cubicBezTo>
                    <a:pt x="180" y="231"/>
                    <a:pt x="180" y="231"/>
                    <a:pt x="180" y="231"/>
                  </a:cubicBezTo>
                  <a:cubicBezTo>
                    <a:pt x="178" y="231"/>
                    <a:pt x="178" y="231"/>
                    <a:pt x="178" y="231"/>
                  </a:cubicBezTo>
                  <a:cubicBezTo>
                    <a:pt x="178" y="231"/>
                    <a:pt x="178" y="229"/>
                    <a:pt x="175" y="229"/>
                  </a:cubicBezTo>
                  <a:cubicBezTo>
                    <a:pt x="172" y="229"/>
                    <a:pt x="169" y="232"/>
                    <a:pt x="169" y="232"/>
                  </a:cubicBezTo>
                  <a:cubicBezTo>
                    <a:pt x="168" y="229"/>
                    <a:pt x="168" y="229"/>
                    <a:pt x="168" y="229"/>
                  </a:cubicBezTo>
                  <a:cubicBezTo>
                    <a:pt x="166" y="226"/>
                    <a:pt x="166" y="226"/>
                    <a:pt x="166" y="226"/>
                  </a:cubicBezTo>
                  <a:cubicBezTo>
                    <a:pt x="168" y="223"/>
                    <a:pt x="168" y="223"/>
                    <a:pt x="168" y="223"/>
                  </a:cubicBezTo>
                  <a:cubicBezTo>
                    <a:pt x="167" y="222"/>
                    <a:pt x="167" y="222"/>
                    <a:pt x="167" y="222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71" y="222"/>
                    <a:pt x="171" y="222"/>
                    <a:pt x="171" y="222"/>
                  </a:cubicBezTo>
                  <a:cubicBezTo>
                    <a:pt x="171" y="222"/>
                    <a:pt x="169" y="223"/>
                    <a:pt x="171" y="225"/>
                  </a:cubicBezTo>
                  <a:cubicBezTo>
                    <a:pt x="174" y="228"/>
                    <a:pt x="188" y="225"/>
                    <a:pt x="188" y="225"/>
                  </a:cubicBezTo>
                  <a:cubicBezTo>
                    <a:pt x="188" y="225"/>
                    <a:pt x="190" y="223"/>
                    <a:pt x="190" y="221"/>
                  </a:cubicBezTo>
                  <a:cubicBezTo>
                    <a:pt x="190" y="213"/>
                    <a:pt x="190" y="213"/>
                    <a:pt x="190" y="213"/>
                  </a:cubicBezTo>
                  <a:cubicBezTo>
                    <a:pt x="190" y="213"/>
                    <a:pt x="177" y="215"/>
                    <a:pt x="175" y="213"/>
                  </a:cubicBezTo>
                  <a:cubicBezTo>
                    <a:pt x="173" y="212"/>
                    <a:pt x="161" y="207"/>
                    <a:pt x="159" y="208"/>
                  </a:cubicBezTo>
                  <a:cubicBezTo>
                    <a:pt x="158" y="210"/>
                    <a:pt x="161" y="213"/>
                    <a:pt x="161" y="213"/>
                  </a:cubicBezTo>
                  <a:cubicBezTo>
                    <a:pt x="161" y="215"/>
                    <a:pt x="161" y="215"/>
                    <a:pt x="161" y="215"/>
                  </a:cubicBezTo>
                  <a:cubicBezTo>
                    <a:pt x="161" y="215"/>
                    <a:pt x="167" y="217"/>
                    <a:pt x="166" y="219"/>
                  </a:cubicBezTo>
                  <a:cubicBezTo>
                    <a:pt x="164" y="220"/>
                    <a:pt x="160" y="216"/>
                    <a:pt x="157" y="217"/>
                  </a:cubicBezTo>
                  <a:cubicBezTo>
                    <a:pt x="155" y="219"/>
                    <a:pt x="158" y="224"/>
                    <a:pt x="158" y="224"/>
                  </a:cubicBezTo>
                  <a:cubicBezTo>
                    <a:pt x="160" y="225"/>
                    <a:pt x="160" y="225"/>
                    <a:pt x="160" y="225"/>
                  </a:cubicBezTo>
                  <a:cubicBezTo>
                    <a:pt x="160" y="225"/>
                    <a:pt x="158" y="226"/>
                    <a:pt x="155" y="228"/>
                  </a:cubicBezTo>
                  <a:cubicBezTo>
                    <a:pt x="153" y="228"/>
                    <a:pt x="153" y="231"/>
                    <a:pt x="153" y="231"/>
                  </a:cubicBezTo>
                  <a:cubicBezTo>
                    <a:pt x="153" y="231"/>
                    <a:pt x="151" y="225"/>
                    <a:pt x="145" y="224"/>
                  </a:cubicBezTo>
                  <a:cubicBezTo>
                    <a:pt x="144" y="224"/>
                    <a:pt x="142" y="224"/>
                    <a:pt x="141" y="225"/>
                  </a:cubicBezTo>
                  <a:cubicBezTo>
                    <a:pt x="141" y="228"/>
                    <a:pt x="141" y="228"/>
                    <a:pt x="141" y="228"/>
                  </a:cubicBezTo>
                  <a:cubicBezTo>
                    <a:pt x="141" y="228"/>
                    <a:pt x="146" y="231"/>
                    <a:pt x="143" y="237"/>
                  </a:cubicBezTo>
                  <a:cubicBezTo>
                    <a:pt x="141" y="244"/>
                    <a:pt x="134" y="236"/>
                    <a:pt x="131" y="236"/>
                  </a:cubicBezTo>
                  <a:cubicBezTo>
                    <a:pt x="129" y="235"/>
                    <a:pt x="125" y="235"/>
                    <a:pt x="125" y="235"/>
                  </a:cubicBezTo>
                  <a:cubicBezTo>
                    <a:pt x="125" y="235"/>
                    <a:pt x="130" y="242"/>
                    <a:pt x="130" y="247"/>
                  </a:cubicBezTo>
                  <a:cubicBezTo>
                    <a:pt x="130" y="251"/>
                    <a:pt x="124" y="249"/>
                    <a:pt x="122" y="250"/>
                  </a:cubicBezTo>
                  <a:cubicBezTo>
                    <a:pt x="121" y="250"/>
                    <a:pt x="122" y="255"/>
                    <a:pt x="119" y="257"/>
                  </a:cubicBezTo>
                  <a:cubicBezTo>
                    <a:pt x="117" y="259"/>
                    <a:pt x="113" y="259"/>
                    <a:pt x="112" y="262"/>
                  </a:cubicBezTo>
                  <a:cubicBezTo>
                    <a:pt x="111" y="265"/>
                    <a:pt x="114" y="264"/>
                    <a:pt x="114" y="264"/>
                  </a:cubicBezTo>
                  <a:cubicBezTo>
                    <a:pt x="114" y="264"/>
                    <a:pt x="115" y="278"/>
                    <a:pt x="112" y="280"/>
                  </a:cubicBezTo>
                  <a:cubicBezTo>
                    <a:pt x="110" y="282"/>
                    <a:pt x="106" y="278"/>
                    <a:pt x="106" y="278"/>
                  </a:cubicBezTo>
                  <a:cubicBezTo>
                    <a:pt x="97" y="289"/>
                    <a:pt x="97" y="289"/>
                    <a:pt x="97" y="289"/>
                  </a:cubicBezTo>
                  <a:cubicBezTo>
                    <a:pt x="108" y="291"/>
                    <a:pt x="108" y="291"/>
                    <a:pt x="108" y="291"/>
                  </a:cubicBezTo>
                  <a:cubicBezTo>
                    <a:pt x="105" y="311"/>
                    <a:pt x="105" y="311"/>
                    <a:pt x="105" y="311"/>
                  </a:cubicBezTo>
                  <a:cubicBezTo>
                    <a:pt x="114" y="334"/>
                    <a:pt x="114" y="334"/>
                    <a:pt x="114" y="334"/>
                  </a:cubicBezTo>
                  <a:cubicBezTo>
                    <a:pt x="135" y="338"/>
                    <a:pt x="135" y="338"/>
                    <a:pt x="135" y="338"/>
                  </a:cubicBezTo>
                  <a:cubicBezTo>
                    <a:pt x="147" y="354"/>
                    <a:pt x="147" y="354"/>
                    <a:pt x="147" y="354"/>
                  </a:cubicBezTo>
                  <a:cubicBezTo>
                    <a:pt x="147" y="354"/>
                    <a:pt x="159" y="354"/>
                    <a:pt x="160" y="363"/>
                  </a:cubicBezTo>
                  <a:cubicBezTo>
                    <a:pt x="161" y="373"/>
                    <a:pt x="146" y="408"/>
                    <a:pt x="146" y="408"/>
                  </a:cubicBezTo>
                  <a:cubicBezTo>
                    <a:pt x="146" y="408"/>
                    <a:pt x="157" y="425"/>
                    <a:pt x="163" y="429"/>
                  </a:cubicBezTo>
                  <a:cubicBezTo>
                    <a:pt x="171" y="435"/>
                    <a:pt x="170" y="444"/>
                    <a:pt x="173" y="446"/>
                  </a:cubicBezTo>
                  <a:cubicBezTo>
                    <a:pt x="173" y="446"/>
                    <a:pt x="186" y="453"/>
                    <a:pt x="190" y="461"/>
                  </a:cubicBezTo>
                  <a:cubicBezTo>
                    <a:pt x="195" y="470"/>
                    <a:pt x="197" y="480"/>
                    <a:pt x="197" y="480"/>
                  </a:cubicBezTo>
                  <a:cubicBezTo>
                    <a:pt x="186" y="486"/>
                    <a:pt x="186" y="486"/>
                    <a:pt x="186" y="486"/>
                  </a:cubicBezTo>
                  <a:cubicBezTo>
                    <a:pt x="193" y="488"/>
                    <a:pt x="193" y="488"/>
                    <a:pt x="193" y="488"/>
                  </a:cubicBezTo>
                  <a:cubicBezTo>
                    <a:pt x="189" y="493"/>
                    <a:pt x="189" y="493"/>
                    <a:pt x="189" y="493"/>
                  </a:cubicBezTo>
                  <a:cubicBezTo>
                    <a:pt x="192" y="502"/>
                    <a:pt x="192" y="502"/>
                    <a:pt x="192" y="502"/>
                  </a:cubicBezTo>
                  <a:cubicBezTo>
                    <a:pt x="189" y="514"/>
                    <a:pt x="189" y="514"/>
                    <a:pt x="189" y="514"/>
                  </a:cubicBezTo>
                  <a:cubicBezTo>
                    <a:pt x="200" y="512"/>
                    <a:pt x="200" y="512"/>
                    <a:pt x="200" y="512"/>
                  </a:cubicBezTo>
                  <a:cubicBezTo>
                    <a:pt x="201" y="517"/>
                    <a:pt x="201" y="517"/>
                    <a:pt x="201" y="517"/>
                  </a:cubicBezTo>
                  <a:cubicBezTo>
                    <a:pt x="194" y="522"/>
                    <a:pt x="194" y="522"/>
                    <a:pt x="194" y="522"/>
                  </a:cubicBezTo>
                  <a:cubicBezTo>
                    <a:pt x="201" y="538"/>
                    <a:pt x="201" y="538"/>
                    <a:pt x="201" y="538"/>
                  </a:cubicBezTo>
                  <a:cubicBezTo>
                    <a:pt x="211" y="533"/>
                    <a:pt x="211" y="533"/>
                    <a:pt x="211" y="533"/>
                  </a:cubicBezTo>
                  <a:cubicBezTo>
                    <a:pt x="216" y="541"/>
                    <a:pt x="216" y="541"/>
                    <a:pt x="216" y="541"/>
                  </a:cubicBezTo>
                  <a:cubicBezTo>
                    <a:pt x="216" y="541"/>
                    <a:pt x="210" y="547"/>
                    <a:pt x="217" y="556"/>
                  </a:cubicBezTo>
                  <a:cubicBezTo>
                    <a:pt x="222" y="565"/>
                    <a:pt x="232" y="559"/>
                    <a:pt x="236" y="567"/>
                  </a:cubicBezTo>
                  <a:cubicBezTo>
                    <a:pt x="240" y="576"/>
                    <a:pt x="235" y="591"/>
                    <a:pt x="235" y="591"/>
                  </a:cubicBezTo>
                  <a:cubicBezTo>
                    <a:pt x="236" y="595"/>
                    <a:pt x="236" y="595"/>
                    <a:pt x="236" y="595"/>
                  </a:cubicBezTo>
                  <a:cubicBezTo>
                    <a:pt x="227" y="601"/>
                    <a:pt x="227" y="601"/>
                    <a:pt x="227" y="601"/>
                  </a:cubicBezTo>
                  <a:cubicBezTo>
                    <a:pt x="248" y="615"/>
                    <a:pt x="248" y="615"/>
                    <a:pt x="248" y="615"/>
                  </a:cubicBezTo>
                  <a:cubicBezTo>
                    <a:pt x="259" y="617"/>
                    <a:pt x="259" y="617"/>
                    <a:pt x="259" y="617"/>
                  </a:cubicBezTo>
                  <a:cubicBezTo>
                    <a:pt x="275" y="625"/>
                    <a:pt x="275" y="625"/>
                    <a:pt x="275" y="625"/>
                  </a:cubicBezTo>
                  <a:cubicBezTo>
                    <a:pt x="278" y="633"/>
                    <a:pt x="278" y="633"/>
                    <a:pt x="278" y="633"/>
                  </a:cubicBezTo>
                  <a:cubicBezTo>
                    <a:pt x="278" y="633"/>
                    <a:pt x="290" y="633"/>
                    <a:pt x="291" y="639"/>
                  </a:cubicBezTo>
                  <a:cubicBezTo>
                    <a:pt x="291" y="645"/>
                    <a:pt x="289" y="669"/>
                    <a:pt x="287" y="673"/>
                  </a:cubicBezTo>
                  <a:cubicBezTo>
                    <a:pt x="284" y="681"/>
                    <a:pt x="284" y="681"/>
                    <a:pt x="284" y="681"/>
                  </a:cubicBezTo>
                  <a:cubicBezTo>
                    <a:pt x="284" y="681"/>
                    <a:pt x="275" y="694"/>
                    <a:pt x="272" y="706"/>
                  </a:cubicBezTo>
                  <a:cubicBezTo>
                    <a:pt x="269" y="717"/>
                    <a:pt x="261" y="737"/>
                    <a:pt x="258" y="742"/>
                  </a:cubicBezTo>
                  <a:cubicBezTo>
                    <a:pt x="255" y="748"/>
                    <a:pt x="250" y="761"/>
                    <a:pt x="250" y="761"/>
                  </a:cubicBezTo>
                  <a:cubicBezTo>
                    <a:pt x="237" y="775"/>
                    <a:pt x="237" y="775"/>
                    <a:pt x="237" y="775"/>
                  </a:cubicBezTo>
                  <a:cubicBezTo>
                    <a:pt x="236" y="784"/>
                    <a:pt x="236" y="784"/>
                    <a:pt x="236" y="784"/>
                  </a:cubicBezTo>
                  <a:cubicBezTo>
                    <a:pt x="232" y="787"/>
                    <a:pt x="232" y="787"/>
                    <a:pt x="232" y="787"/>
                  </a:cubicBezTo>
                  <a:cubicBezTo>
                    <a:pt x="221" y="802"/>
                    <a:pt x="221" y="802"/>
                    <a:pt x="221" y="802"/>
                  </a:cubicBezTo>
                  <a:cubicBezTo>
                    <a:pt x="213" y="818"/>
                    <a:pt x="213" y="818"/>
                    <a:pt x="213" y="818"/>
                  </a:cubicBezTo>
                  <a:cubicBezTo>
                    <a:pt x="213" y="819"/>
                    <a:pt x="213" y="819"/>
                    <a:pt x="213" y="819"/>
                  </a:cubicBezTo>
                  <a:cubicBezTo>
                    <a:pt x="216" y="820"/>
                    <a:pt x="216" y="820"/>
                    <a:pt x="216" y="820"/>
                  </a:cubicBezTo>
                  <a:cubicBezTo>
                    <a:pt x="225" y="818"/>
                    <a:pt x="225" y="818"/>
                    <a:pt x="225" y="818"/>
                  </a:cubicBezTo>
                  <a:cubicBezTo>
                    <a:pt x="231" y="809"/>
                    <a:pt x="231" y="809"/>
                    <a:pt x="231" y="809"/>
                  </a:cubicBezTo>
                  <a:cubicBezTo>
                    <a:pt x="235" y="805"/>
                    <a:pt x="235" y="805"/>
                    <a:pt x="235" y="805"/>
                  </a:cubicBezTo>
                  <a:cubicBezTo>
                    <a:pt x="235" y="805"/>
                    <a:pt x="236" y="800"/>
                    <a:pt x="238" y="801"/>
                  </a:cubicBezTo>
                  <a:cubicBezTo>
                    <a:pt x="241" y="802"/>
                    <a:pt x="239" y="805"/>
                    <a:pt x="239" y="805"/>
                  </a:cubicBezTo>
                  <a:cubicBezTo>
                    <a:pt x="242" y="819"/>
                    <a:pt x="242" y="819"/>
                    <a:pt x="242" y="819"/>
                  </a:cubicBezTo>
                  <a:cubicBezTo>
                    <a:pt x="235" y="814"/>
                    <a:pt x="235" y="814"/>
                    <a:pt x="235" y="814"/>
                  </a:cubicBezTo>
                  <a:cubicBezTo>
                    <a:pt x="234" y="815"/>
                    <a:pt x="234" y="815"/>
                    <a:pt x="234" y="815"/>
                  </a:cubicBezTo>
                  <a:cubicBezTo>
                    <a:pt x="241" y="823"/>
                    <a:pt x="241" y="823"/>
                    <a:pt x="241" y="823"/>
                  </a:cubicBezTo>
                  <a:cubicBezTo>
                    <a:pt x="246" y="825"/>
                    <a:pt x="246" y="825"/>
                    <a:pt x="246" y="825"/>
                  </a:cubicBezTo>
                  <a:cubicBezTo>
                    <a:pt x="256" y="833"/>
                    <a:pt x="256" y="833"/>
                    <a:pt x="256" y="833"/>
                  </a:cubicBezTo>
                  <a:cubicBezTo>
                    <a:pt x="256" y="833"/>
                    <a:pt x="260" y="835"/>
                    <a:pt x="269" y="832"/>
                  </a:cubicBezTo>
                  <a:cubicBezTo>
                    <a:pt x="276" y="828"/>
                    <a:pt x="281" y="823"/>
                    <a:pt x="286" y="827"/>
                  </a:cubicBezTo>
                  <a:cubicBezTo>
                    <a:pt x="291" y="831"/>
                    <a:pt x="292" y="835"/>
                    <a:pt x="292" y="835"/>
                  </a:cubicBezTo>
                  <a:cubicBezTo>
                    <a:pt x="301" y="836"/>
                    <a:pt x="301" y="836"/>
                    <a:pt x="301" y="836"/>
                  </a:cubicBezTo>
                  <a:cubicBezTo>
                    <a:pt x="299" y="844"/>
                    <a:pt x="299" y="844"/>
                    <a:pt x="299" y="844"/>
                  </a:cubicBezTo>
                  <a:cubicBezTo>
                    <a:pt x="267" y="841"/>
                    <a:pt x="267" y="841"/>
                    <a:pt x="267" y="841"/>
                  </a:cubicBezTo>
                  <a:cubicBezTo>
                    <a:pt x="261" y="847"/>
                    <a:pt x="261" y="847"/>
                    <a:pt x="261" y="847"/>
                  </a:cubicBezTo>
                  <a:cubicBezTo>
                    <a:pt x="261" y="847"/>
                    <a:pt x="270" y="853"/>
                    <a:pt x="262" y="856"/>
                  </a:cubicBezTo>
                  <a:cubicBezTo>
                    <a:pt x="255" y="860"/>
                    <a:pt x="249" y="856"/>
                    <a:pt x="249" y="856"/>
                  </a:cubicBezTo>
                  <a:cubicBezTo>
                    <a:pt x="243" y="860"/>
                    <a:pt x="243" y="860"/>
                    <a:pt x="243" y="860"/>
                  </a:cubicBezTo>
                  <a:cubicBezTo>
                    <a:pt x="243" y="860"/>
                    <a:pt x="251" y="866"/>
                    <a:pt x="245" y="868"/>
                  </a:cubicBezTo>
                  <a:cubicBezTo>
                    <a:pt x="240" y="869"/>
                    <a:pt x="236" y="862"/>
                    <a:pt x="236" y="862"/>
                  </a:cubicBezTo>
                  <a:cubicBezTo>
                    <a:pt x="234" y="865"/>
                    <a:pt x="234" y="865"/>
                    <a:pt x="234" y="865"/>
                  </a:cubicBezTo>
                  <a:cubicBezTo>
                    <a:pt x="234" y="870"/>
                    <a:pt x="234" y="870"/>
                    <a:pt x="234" y="870"/>
                  </a:cubicBezTo>
                  <a:cubicBezTo>
                    <a:pt x="239" y="876"/>
                    <a:pt x="239" y="876"/>
                    <a:pt x="239" y="876"/>
                  </a:cubicBezTo>
                  <a:cubicBezTo>
                    <a:pt x="238" y="883"/>
                    <a:pt x="238" y="883"/>
                    <a:pt x="238" y="883"/>
                  </a:cubicBezTo>
                  <a:cubicBezTo>
                    <a:pt x="244" y="888"/>
                    <a:pt x="244" y="888"/>
                    <a:pt x="244" y="888"/>
                  </a:cubicBezTo>
                  <a:cubicBezTo>
                    <a:pt x="244" y="888"/>
                    <a:pt x="238" y="892"/>
                    <a:pt x="238" y="894"/>
                  </a:cubicBezTo>
                  <a:cubicBezTo>
                    <a:pt x="238" y="895"/>
                    <a:pt x="240" y="897"/>
                    <a:pt x="240" y="897"/>
                  </a:cubicBezTo>
                  <a:cubicBezTo>
                    <a:pt x="237" y="913"/>
                    <a:pt x="237" y="913"/>
                    <a:pt x="237" y="913"/>
                  </a:cubicBezTo>
                  <a:cubicBezTo>
                    <a:pt x="237" y="913"/>
                    <a:pt x="233" y="923"/>
                    <a:pt x="232" y="925"/>
                  </a:cubicBezTo>
                  <a:cubicBezTo>
                    <a:pt x="229" y="927"/>
                    <a:pt x="226" y="930"/>
                    <a:pt x="226" y="930"/>
                  </a:cubicBezTo>
                  <a:cubicBezTo>
                    <a:pt x="226" y="930"/>
                    <a:pt x="232" y="942"/>
                    <a:pt x="235" y="948"/>
                  </a:cubicBezTo>
                  <a:cubicBezTo>
                    <a:pt x="238" y="955"/>
                    <a:pt x="239" y="965"/>
                    <a:pt x="239" y="965"/>
                  </a:cubicBezTo>
                  <a:cubicBezTo>
                    <a:pt x="239" y="965"/>
                    <a:pt x="244" y="969"/>
                    <a:pt x="244" y="972"/>
                  </a:cubicBezTo>
                  <a:cubicBezTo>
                    <a:pt x="245" y="976"/>
                    <a:pt x="245" y="979"/>
                    <a:pt x="245" y="979"/>
                  </a:cubicBezTo>
                  <a:cubicBezTo>
                    <a:pt x="245" y="979"/>
                    <a:pt x="255" y="985"/>
                    <a:pt x="255" y="987"/>
                  </a:cubicBezTo>
                  <a:cubicBezTo>
                    <a:pt x="254" y="989"/>
                    <a:pt x="245" y="991"/>
                    <a:pt x="245" y="991"/>
                  </a:cubicBezTo>
                  <a:cubicBezTo>
                    <a:pt x="245" y="991"/>
                    <a:pt x="248" y="995"/>
                    <a:pt x="248" y="997"/>
                  </a:cubicBezTo>
                  <a:cubicBezTo>
                    <a:pt x="246" y="1000"/>
                    <a:pt x="243" y="1000"/>
                    <a:pt x="243" y="1000"/>
                  </a:cubicBezTo>
                  <a:cubicBezTo>
                    <a:pt x="242" y="1006"/>
                    <a:pt x="242" y="1006"/>
                    <a:pt x="242" y="1006"/>
                  </a:cubicBezTo>
                  <a:cubicBezTo>
                    <a:pt x="243" y="1010"/>
                    <a:pt x="243" y="1010"/>
                    <a:pt x="243" y="1010"/>
                  </a:cubicBezTo>
                  <a:cubicBezTo>
                    <a:pt x="246" y="1009"/>
                    <a:pt x="250" y="1009"/>
                    <a:pt x="250" y="1009"/>
                  </a:cubicBezTo>
                  <a:cubicBezTo>
                    <a:pt x="252" y="1016"/>
                    <a:pt x="252" y="1016"/>
                    <a:pt x="252" y="1016"/>
                  </a:cubicBezTo>
                  <a:cubicBezTo>
                    <a:pt x="252" y="1016"/>
                    <a:pt x="259" y="1017"/>
                    <a:pt x="261" y="1018"/>
                  </a:cubicBezTo>
                  <a:cubicBezTo>
                    <a:pt x="264" y="1019"/>
                    <a:pt x="267" y="1022"/>
                    <a:pt x="267" y="1022"/>
                  </a:cubicBezTo>
                  <a:cubicBezTo>
                    <a:pt x="267" y="1033"/>
                    <a:pt x="267" y="1033"/>
                    <a:pt x="267" y="1033"/>
                  </a:cubicBezTo>
                  <a:cubicBezTo>
                    <a:pt x="264" y="1037"/>
                    <a:pt x="264" y="1037"/>
                    <a:pt x="264" y="1037"/>
                  </a:cubicBezTo>
                  <a:cubicBezTo>
                    <a:pt x="266" y="1041"/>
                    <a:pt x="266" y="1041"/>
                    <a:pt x="266" y="1041"/>
                  </a:cubicBezTo>
                  <a:cubicBezTo>
                    <a:pt x="264" y="1052"/>
                    <a:pt x="264" y="1052"/>
                    <a:pt x="264" y="1052"/>
                  </a:cubicBezTo>
                  <a:cubicBezTo>
                    <a:pt x="264" y="1052"/>
                    <a:pt x="269" y="1049"/>
                    <a:pt x="272" y="1049"/>
                  </a:cubicBezTo>
                  <a:cubicBezTo>
                    <a:pt x="274" y="1049"/>
                    <a:pt x="276" y="1052"/>
                    <a:pt x="276" y="1052"/>
                  </a:cubicBezTo>
                  <a:cubicBezTo>
                    <a:pt x="274" y="1057"/>
                    <a:pt x="274" y="1057"/>
                    <a:pt x="274" y="1057"/>
                  </a:cubicBezTo>
                  <a:cubicBezTo>
                    <a:pt x="282" y="1059"/>
                    <a:pt x="282" y="1059"/>
                    <a:pt x="282" y="1059"/>
                  </a:cubicBezTo>
                  <a:cubicBezTo>
                    <a:pt x="283" y="1064"/>
                    <a:pt x="283" y="1064"/>
                    <a:pt x="283" y="1064"/>
                  </a:cubicBezTo>
                  <a:cubicBezTo>
                    <a:pt x="286" y="1065"/>
                    <a:pt x="286" y="1065"/>
                    <a:pt x="286" y="1065"/>
                  </a:cubicBezTo>
                  <a:cubicBezTo>
                    <a:pt x="289" y="1074"/>
                    <a:pt x="289" y="1074"/>
                    <a:pt x="289" y="1074"/>
                  </a:cubicBezTo>
                  <a:cubicBezTo>
                    <a:pt x="291" y="1080"/>
                    <a:pt x="291" y="1080"/>
                    <a:pt x="291" y="1080"/>
                  </a:cubicBezTo>
                  <a:cubicBezTo>
                    <a:pt x="293" y="1081"/>
                    <a:pt x="293" y="1081"/>
                    <a:pt x="293" y="1081"/>
                  </a:cubicBezTo>
                  <a:cubicBezTo>
                    <a:pt x="293" y="1081"/>
                    <a:pt x="294" y="1088"/>
                    <a:pt x="292" y="1092"/>
                  </a:cubicBezTo>
                  <a:cubicBezTo>
                    <a:pt x="291" y="1092"/>
                    <a:pt x="291" y="1092"/>
                    <a:pt x="291" y="1093"/>
                  </a:cubicBezTo>
                  <a:cubicBezTo>
                    <a:pt x="293" y="1093"/>
                    <a:pt x="295" y="1095"/>
                    <a:pt x="298" y="1095"/>
                  </a:cubicBezTo>
                  <a:cubicBezTo>
                    <a:pt x="301" y="1095"/>
                    <a:pt x="307" y="1090"/>
                    <a:pt x="313" y="1091"/>
                  </a:cubicBezTo>
                  <a:cubicBezTo>
                    <a:pt x="318" y="1092"/>
                    <a:pt x="310" y="1100"/>
                    <a:pt x="317" y="1101"/>
                  </a:cubicBezTo>
                  <a:cubicBezTo>
                    <a:pt x="322" y="1102"/>
                    <a:pt x="321" y="1096"/>
                    <a:pt x="323" y="1095"/>
                  </a:cubicBezTo>
                  <a:cubicBezTo>
                    <a:pt x="324" y="1092"/>
                    <a:pt x="338" y="1090"/>
                    <a:pt x="343" y="1095"/>
                  </a:cubicBezTo>
                  <a:cubicBezTo>
                    <a:pt x="349" y="1099"/>
                    <a:pt x="337" y="1108"/>
                    <a:pt x="348" y="1110"/>
                  </a:cubicBezTo>
                  <a:cubicBezTo>
                    <a:pt x="357" y="1110"/>
                    <a:pt x="351" y="1102"/>
                    <a:pt x="351" y="1102"/>
                  </a:cubicBezTo>
                  <a:cubicBezTo>
                    <a:pt x="351" y="1102"/>
                    <a:pt x="357" y="1100"/>
                    <a:pt x="365" y="1097"/>
                  </a:cubicBezTo>
                  <a:cubicBezTo>
                    <a:pt x="371" y="1093"/>
                    <a:pt x="379" y="1093"/>
                    <a:pt x="384" y="1098"/>
                  </a:cubicBezTo>
                  <a:cubicBezTo>
                    <a:pt x="390" y="1101"/>
                    <a:pt x="396" y="1098"/>
                    <a:pt x="402" y="1104"/>
                  </a:cubicBezTo>
                  <a:cubicBezTo>
                    <a:pt x="409" y="1111"/>
                    <a:pt x="401" y="1120"/>
                    <a:pt x="401" y="1120"/>
                  </a:cubicBezTo>
                  <a:cubicBezTo>
                    <a:pt x="413" y="1136"/>
                    <a:pt x="413" y="1136"/>
                    <a:pt x="413" y="1136"/>
                  </a:cubicBezTo>
                  <a:cubicBezTo>
                    <a:pt x="411" y="1154"/>
                    <a:pt x="411" y="1154"/>
                    <a:pt x="411" y="1154"/>
                  </a:cubicBezTo>
                  <a:cubicBezTo>
                    <a:pt x="411" y="1154"/>
                    <a:pt x="422" y="1156"/>
                    <a:pt x="429" y="1160"/>
                  </a:cubicBezTo>
                  <a:cubicBezTo>
                    <a:pt x="435" y="1163"/>
                    <a:pt x="426" y="1170"/>
                    <a:pt x="426" y="1170"/>
                  </a:cubicBezTo>
                  <a:cubicBezTo>
                    <a:pt x="434" y="1172"/>
                    <a:pt x="434" y="1172"/>
                    <a:pt x="434" y="1172"/>
                  </a:cubicBezTo>
                  <a:cubicBezTo>
                    <a:pt x="434" y="1172"/>
                    <a:pt x="435" y="1177"/>
                    <a:pt x="437" y="1181"/>
                  </a:cubicBezTo>
                  <a:cubicBezTo>
                    <a:pt x="438" y="1185"/>
                    <a:pt x="456" y="1186"/>
                    <a:pt x="456" y="1186"/>
                  </a:cubicBezTo>
                  <a:cubicBezTo>
                    <a:pt x="456" y="1186"/>
                    <a:pt x="462" y="1187"/>
                    <a:pt x="465" y="1191"/>
                  </a:cubicBezTo>
                  <a:cubicBezTo>
                    <a:pt x="468" y="1194"/>
                    <a:pt x="466" y="1207"/>
                    <a:pt x="466" y="1207"/>
                  </a:cubicBezTo>
                  <a:cubicBezTo>
                    <a:pt x="479" y="1203"/>
                    <a:pt x="479" y="1203"/>
                    <a:pt x="479" y="1203"/>
                  </a:cubicBezTo>
                  <a:cubicBezTo>
                    <a:pt x="495" y="1205"/>
                    <a:pt x="495" y="1205"/>
                    <a:pt x="495" y="1205"/>
                  </a:cubicBezTo>
                  <a:cubicBezTo>
                    <a:pt x="490" y="1212"/>
                    <a:pt x="490" y="1212"/>
                    <a:pt x="490" y="1212"/>
                  </a:cubicBezTo>
                  <a:cubicBezTo>
                    <a:pt x="510" y="1221"/>
                    <a:pt x="510" y="1221"/>
                    <a:pt x="510" y="1221"/>
                  </a:cubicBezTo>
                  <a:cubicBezTo>
                    <a:pt x="511" y="1226"/>
                    <a:pt x="511" y="1226"/>
                    <a:pt x="511" y="1226"/>
                  </a:cubicBezTo>
                  <a:cubicBezTo>
                    <a:pt x="500" y="1230"/>
                    <a:pt x="500" y="1230"/>
                    <a:pt x="500" y="1230"/>
                  </a:cubicBezTo>
                  <a:cubicBezTo>
                    <a:pt x="502" y="1235"/>
                    <a:pt x="502" y="1235"/>
                    <a:pt x="502" y="1235"/>
                  </a:cubicBezTo>
                  <a:cubicBezTo>
                    <a:pt x="502" y="1235"/>
                    <a:pt x="499" y="1243"/>
                    <a:pt x="490" y="1247"/>
                  </a:cubicBezTo>
                  <a:cubicBezTo>
                    <a:pt x="481" y="1253"/>
                    <a:pt x="472" y="1245"/>
                    <a:pt x="472" y="1245"/>
                  </a:cubicBezTo>
                  <a:cubicBezTo>
                    <a:pt x="461" y="1248"/>
                    <a:pt x="461" y="1248"/>
                    <a:pt x="461" y="1248"/>
                  </a:cubicBezTo>
                  <a:cubicBezTo>
                    <a:pt x="462" y="1256"/>
                    <a:pt x="462" y="1256"/>
                    <a:pt x="462" y="1256"/>
                  </a:cubicBezTo>
                  <a:cubicBezTo>
                    <a:pt x="459" y="1263"/>
                    <a:pt x="459" y="1263"/>
                    <a:pt x="459" y="1263"/>
                  </a:cubicBezTo>
                  <a:cubicBezTo>
                    <a:pt x="459" y="1263"/>
                    <a:pt x="467" y="1265"/>
                    <a:pt x="472" y="1270"/>
                  </a:cubicBezTo>
                  <a:cubicBezTo>
                    <a:pt x="479" y="1275"/>
                    <a:pt x="477" y="1281"/>
                    <a:pt x="477" y="1281"/>
                  </a:cubicBezTo>
                  <a:cubicBezTo>
                    <a:pt x="477" y="1281"/>
                    <a:pt x="479" y="1282"/>
                    <a:pt x="481" y="1286"/>
                  </a:cubicBezTo>
                  <a:cubicBezTo>
                    <a:pt x="484" y="1290"/>
                    <a:pt x="485" y="1302"/>
                    <a:pt x="485" y="1302"/>
                  </a:cubicBezTo>
                  <a:cubicBezTo>
                    <a:pt x="489" y="1305"/>
                    <a:pt x="489" y="1305"/>
                    <a:pt x="489" y="1305"/>
                  </a:cubicBezTo>
                  <a:cubicBezTo>
                    <a:pt x="493" y="1305"/>
                    <a:pt x="500" y="1306"/>
                    <a:pt x="503" y="1303"/>
                  </a:cubicBezTo>
                  <a:cubicBezTo>
                    <a:pt x="508" y="1300"/>
                    <a:pt x="507" y="1285"/>
                    <a:pt x="507" y="1285"/>
                  </a:cubicBezTo>
                  <a:cubicBezTo>
                    <a:pt x="526" y="1285"/>
                    <a:pt x="526" y="1285"/>
                    <a:pt x="526" y="1285"/>
                  </a:cubicBezTo>
                  <a:cubicBezTo>
                    <a:pt x="529" y="1285"/>
                    <a:pt x="529" y="1285"/>
                    <a:pt x="529" y="1285"/>
                  </a:cubicBezTo>
                  <a:cubicBezTo>
                    <a:pt x="533" y="1284"/>
                    <a:pt x="539" y="1272"/>
                    <a:pt x="539" y="1272"/>
                  </a:cubicBezTo>
                  <a:cubicBezTo>
                    <a:pt x="552" y="1272"/>
                    <a:pt x="552" y="1272"/>
                    <a:pt x="552" y="1272"/>
                  </a:cubicBezTo>
                  <a:cubicBezTo>
                    <a:pt x="552" y="1272"/>
                    <a:pt x="552" y="1266"/>
                    <a:pt x="560" y="1265"/>
                  </a:cubicBezTo>
                  <a:cubicBezTo>
                    <a:pt x="568" y="1265"/>
                    <a:pt x="567" y="1271"/>
                    <a:pt x="567" y="1271"/>
                  </a:cubicBezTo>
                  <a:cubicBezTo>
                    <a:pt x="576" y="1272"/>
                    <a:pt x="576" y="1272"/>
                    <a:pt x="576" y="1272"/>
                  </a:cubicBezTo>
                  <a:cubicBezTo>
                    <a:pt x="576" y="1272"/>
                    <a:pt x="576" y="1279"/>
                    <a:pt x="580" y="1285"/>
                  </a:cubicBezTo>
                  <a:cubicBezTo>
                    <a:pt x="584" y="1290"/>
                    <a:pt x="596" y="1291"/>
                    <a:pt x="599" y="1295"/>
                  </a:cubicBezTo>
                  <a:cubicBezTo>
                    <a:pt x="602" y="1301"/>
                    <a:pt x="584" y="1305"/>
                    <a:pt x="584" y="1305"/>
                  </a:cubicBezTo>
                  <a:cubicBezTo>
                    <a:pt x="584" y="1305"/>
                    <a:pt x="587" y="1306"/>
                    <a:pt x="592" y="1310"/>
                  </a:cubicBezTo>
                  <a:cubicBezTo>
                    <a:pt x="597" y="1313"/>
                    <a:pt x="595" y="1321"/>
                    <a:pt x="595" y="1321"/>
                  </a:cubicBezTo>
                  <a:cubicBezTo>
                    <a:pt x="600" y="1321"/>
                    <a:pt x="600" y="1321"/>
                    <a:pt x="600" y="1321"/>
                  </a:cubicBezTo>
                  <a:cubicBezTo>
                    <a:pt x="599" y="1328"/>
                    <a:pt x="599" y="1328"/>
                    <a:pt x="599" y="1328"/>
                  </a:cubicBezTo>
                  <a:cubicBezTo>
                    <a:pt x="613" y="1325"/>
                    <a:pt x="613" y="1325"/>
                    <a:pt x="613" y="1325"/>
                  </a:cubicBezTo>
                  <a:cubicBezTo>
                    <a:pt x="619" y="1329"/>
                    <a:pt x="619" y="1329"/>
                    <a:pt x="619" y="1329"/>
                  </a:cubicBezTo>
                  <a:cubicBezTo>
                    <a:pt x="619" y="1329"/>
                    <a:pt x="629" y="1319"/>
                    <a:pt x="634" y="1319"/>
                  </a:cubicBezTo>
                  <a:cubicBezTo>
                    <a:pt x="639" y="1319"/>
                    <a:pt x="639" y="1328"/>
                    <a:pt x="639" y="1328"/>
                  </a:cubicBezTo>
                  <a:cubicBezTo>
                    <a:pt x="645" y="1324"/>
                    <a:pt x="645" y="1324"/>
                    <a:pt x="645" y="1324"/>
                  </a:cubicBezTo>
                  <a:cubicBezTo>
                    <a:pt x="645" y="1324"/>
                    <a:pt x="649" y="1325"/>
                    <a:pt x="650" y="1325"/>
                  </a:cubicBezTo>
                  <a:cubicBezTo>
                    <a:pt x="651" y="1325"/>
                    <a:pt x="648" y="1333"/>
                    <a:pt x="648" y="1333"/>
                  </a:cubicBezTo>
                  <a:cubicBezTo>
                    <a:pt x="661" y="1349"/>
                    <a:pt x="661" y="1349"/>
                    <a:pt x="661" y="1349"/>
                  </a:cubicBezTo>
                  <a:cubicBezTo>
                    <a:pt x="659" y="1354"/>
                    <a:pt x="659" y="1354"/>
                    <a:pt x="659" y="1354"/>
                  </a:cubicBezTo>
                  <a:cubicBezTo>
                    <a:pt x="659" y="1354"/>
                    <a:pt x="675" y="1366"/>
                    <a:pt x="680" y="1361"/>
                  </a:cubicBezTo>
                  <a:cubicBezTo>
                    <a:pt x="686" y="1357"/>
                    <a:pt x="687" y="1355"/>
                    <a:pt x="693" y="1354"/>
                  </a:cubicBezTo>
                  <a:cubicBezTo>
                    <a:pt x="698" y="1353"/>
                    <a:pt x="698" y="1360"/>
                    <a:pt x="701" y="1360"/>
                  </a:cubicBezTo>
                  <a:cubicBezTo>
                    <a:pt x="704" y="1360"/>
                    <a:pt x="704" y="1356"/>
                    <a:pt x="704" y="1356"/>
                  </a:cubicBezTo>
                  <a:cubicBezTo>
                    <a:pt x="711" y="1356"/>
                    <a:pt x="711" y="1356"/>
                    <a:pt x="711" y="1356"/>
                  </a:cubicBezTo>
                  <a:cubicBezTo>
                    <a:pt x="712" y="1361"/>
                    <a:pt x="712" y="1361"/>
                    <a:pt x="712" y="1361"/>
                  </a:cubicBezTo>
                  <a:cubicBezTo>
                    <a:pt x="717" y="1363"/>
                    <a:pt x="717" y="1363"/>
                    <a:pt x="717" y="1363"/>
                  </a:cubicBezTo>
                  <a:cubicBezTo>
                    <a:pt x="717" y="1363"/>
                    <a:pt x="720" y="1356"/>
                    <a:pt x="721" y="1352"/>
                  </a:cubicBezTo>
                  <a:cubicBezTo>
                    <a:pt x="723" y="1349"/>
                    <a:pt x="734" y="1345"/>
                    <a:pt x="734" y="1345"/>
                  </a:cubicBezTo>
                  <a:cubicBezTo>
                    <a:pt x="744" y="1334"/>
                    <a:pt x="744" y="1334"/>
                    <a:pt x="744" y="1334"/>
                  </a:cubicBezTo>
                  <a:cubicBezTo>
                    <a:pt x="748" y="1339"/>
                    <a:pt x="748" y="1339"/>
                    <a:pt x="748" y="1339"/>
                  </a:cubicBezTo>
                  <a:cubicBezTo>
                    <a:pt x="753" y="1340"/>
                    <a:pt x="753" y="1340"/>
                    <a:pt x="753" y="1340"/>
                  </a:cubicBezTo>
                  <a:cubicBezTo>
                    <a:pt x="754" y="1344"/>
                    <a:pt x="754" y="1344"/>
                    <a:pt x="754" y="1344"/>
                  </a:cubicBezTo>
                  <a:cubicBezTo>
                    <a:pt x="764" y="1354"/>
                    <a:pt x="764" y="1354"/>
                    <a:pt x="764" y="1354"/>
                  </a:cubicBezTo>
                  <a:cubicBezTo>
                    <a:pt x="774" y="1354"/>
                    <a:pt x="774" y="1354"/>
                    <a:pt x="774" y="1354"/>
                  </a:cubicBezTo>
                  <a:cubicBezTo>
                    <a:pt x="779" y="1357"/>
                    <a:pt x="779" y="1357"/>
                    <a:pt x="779" y="1357"/>
                  </a:cubicBezTo>
                  <a:cubicBezTo>
                    <a:pt x="782" y="1354"/>
                    <a:pt x="782" y="1354"/>
                    <a:pt x="782" y="1354"/>
                  </a:cubicBezTo>
                  <a:cubicBezTo>
                    <a:pt x="782" y="1344"/>
                    <a:pt x="782" y="1344"/>
                    <a:pt x="782" y="1344"/>
                  </a:cubicBezTo>
                  <a:cubicBezTo>
                    <a:pt x="797" y="1349"/>
                    <a:pt x="797" y="1349"/>
                    <a:pt x="797" y="1349"/>
                  </a:cubicBezTo>
                  <a:cubicBezTo>
                    <a:pt x="801" y="1343"/>
                    <a:pt x="801" y="1343"/>
                    <a:pt x="801" y="1343"/>
                  </a:cubicBezTo>
                  <a:cubicBezTo>
                    <a:pt x="811" y="1349"/>
                    <a:pt x="811" y="1349"/>
                    <a:pt x="811" y="1349"/>
                  </a:cubicBezTo>
                  <a:cubicBezTo>
                    <a:pt x="819" y="1349"/>
                    <a:pt x="819" y="1349"/>
                    <a:pt x="819" y="1349"/>
                  </a:cubicBezTo>
                  <a:cubicBezTo>
                    <a:pt x="821" y="1341"/>
                    <a:pt x="821" y="1341"/>
                    <a:pt x="821" y="1341"/>
                  </a:cubicBezTo>
                  <a:cubicBezTo>
                    <a:pt x="826" y="1340"/>
                    <a:pt x="826" y="1340"/>
                    <a:pt x="826" y="1340"/>
                  </a:cubicBezTo>
                  <a:cubicBezTo>
                    <a:pt x="826" y="1340"/>
                    <a:pt x="829" y="1344"/>
                    <a:pt x="830" y="1347"/>
                  </a:cubicBezTo>
                  <a:cubicBezTo>
                    <a:pt x="831" y="1349"/>
                    <a:pt x="836" y="1348"/>
                    <a:pt x="836" y="1348"/>
                  </a:cubicBezTo>
                  <a:cubicBezTo>
                    <a:pt x="838" y="1344"/>
                    <a:pt x="838" y="1344"/>
                    <a:pt x="838" y="1344"/>
                  </a:cubicBezTo>
                  <a:cubicBezTo>
                    <a:pt x="845" y="1344"/>
                    <a:pt x="845" y="1344"/>
                    <a:pt x="845" y="1344"/>
                  </a:cubicBezTo>
                  <a:cubicBezTo>
                    <a:pt x="845" y="1344"/>
                    <a:pt x="847" y="1348"/>
                    <a:pt x="851" y="1350"/>
                  </a:cubicBezTo>
                  <a:cubicBezTo>
                    <a:pt x="856" y="1352"/>
                    <a:pt x="862" y="1350"/>
                    <a:pt x="862" y="1350"/>
                  </a:cubicBezTo>
                  <a:cubicBezTo>
                    <a:pt x="864" y="1343"/>
                    <a:pt x="864" y="1343"/>
                    <a:pt x="864" y="1343"/>
                  </a:cubicBezTo>
                  <a:cubicBezTo>
                    <a:pt x="870" y="1343"/>
                    <a:pt x="870" y="1343"/>
                    <a:pt x="870" y="1343"/>
                  </a:cubicBezTo>
                  <a:cubicBezTo>
                    <a:pt x="870" y="1354"/>
                    <a:pt x="870" y="1354"/>
                    <a:pt x="870" y="1354"/>
                  </a:cubicBezTo>
                  <a:cubicBezTo>
                    <a:pt x="870" y="1354"/>
                    <a:pt x="876" y="1357"/>
                    <a:pt x="879" y="1366"/>
                  </a:cubicBezTo>
                  <a:cubicBezTo>
                    <a:pt x="881" y="1374"/>
                    <a:pt x="868" y="1384"/>
                    <a:pt x="868" y="1384"/>
                  </a:cubicBezTo>
                  <a:cubicBezTo>
                    <a:pt x="868" y="1390"/>
                    <a:pt x="868" y="1390"/>
                    <a:pt x="868" y="1390"/>
                  </a:cubicBezTo>
                  <a:cubicBezTo>
                    <a:pt x="885" y="1389"/>
                    <a:pt x="885" y="1389"/>
                    <a:pt x="885" y="1389"/>
                  </a:cubicBezTo>
                  <a:cubicBezTo>
                    <a:pt x="885" y="1394"/>
                    <a:pt x="885" y="1394"/>
                    <a:pt x="885" y="1394"/>
                  </a:cubicBezTo>
                  <a:cubicBezTo>
                    <a:pt x="876" y="1397"/>
                    <a:pt x="876" y="1397"/>
                    <a:pt x="876" y="1397"/>
                  </a:cubicBezTo>
                  <a:cubicBezTo>
                    <a:pt x="876" y="1412"/>
                    <a:pt x="876" y="1412"/>
                    <a:pt x="876" y="1412"/>
                  </a:cubicBezTo>
                  <a:cubicBezTo>
                    <a:pt x="876" y="1412"/>
                    <a:pt x="882" y="1411"/>
                    <a:pt x="889" y="1415"/>
                  </a:cubicBezTo>
                  <a:cubicBezTo>
                    <a:pt x="896" y="1419"/>
                    <a:pt x="892" y="1427"/>
                    <a:pt x="892" y="1427"/>
                  </a:cubicBezTo>
                  <a:cubicBezTo>
                    <a:pt x="897" y="1428"/>
                    <a:pt x="897" y="1428"/>
                    <a:pt x="897" y="1428"/>
                  </a:cubicBezTo>
                  <a:cubicBezTo>
                    <a:pt x="898" y="1442"/>
                    <a:pt x="898" y="1442"/>
                    <a:pt x="898" y="1442"/>
                  </a:cubicBezTo>
                  <a:cubicBezTo>
                    <a:pt x="895" y="1445"/>
                    <a:pt x="895" y="1445"/>
                    <a:pt x="895" y="1445"/>
                  </a:cubicBezTo>
                  <a:cubicBezTo>
                    <a:pt x="895" y="1445"/>
                    <a:pt x="900" y="1449"/>
                    <a:pt x="900" y="1455"/>
                  </a:cubicBezTo>
                  <a:cubicBezTo>
                    <a:pt x="901" y="1462"/>
                    <a:pt x="874" y="1465"/>
                    <a:pt x="866" y="1467"/>
                  </a:cubicBezTo>
                  <a:cubicBezTo>
                    <a:pt x="859" y="1470"/>
                    <a:pt x="860" y="1475"/>
                    <a:pt x="861" y="1479"/>
                  </a:cubicBezTo>
                  <a:cubicBezTo>
                    <a:pt x="861" y="1482"/>
                    <a:pt x="856" y="1485"/>
                    <a:pt x="849" y="1489"/>
                  </a:cubicBezTo>
                  <a:cubicBezTo>
                    <a:pt x="843" y="1492"/>
                    <a:pt x="843" y="1505"/>
                    <a:pt x="847" y="1511"/>
                  </a:cubicBezTo>
                  <a:cubicBezTo>
                    <a:pt x="850" y="1516"/>
                    <a:pt x="852" y="1521"/>
                    <a:pt x="852" y="1524"/>
                  </a:cubicBezTo>
                  <a:cubicBezTo>
                    <a:pt x="870" y="1520"/>
                    <a:pt x="870" y="1520"/>
                    <a:pt x="870" y="1520"/>
                  </a:cubicBezTo>
                  <a:cubicBezTo>
                    <a:pt x="870" y="1511"/>
                    <a:pt x="870" y="1511"/>
                    <a:pt x="870" y="1511"/>
                  </a:cubicBezTo>
                  <a:cubicBezTo>
                    <a:pt x="881" y="1511"/>
                    <a:pt x="881" y="1511"/>
                    <a:pt x="881" y="1511"/>
                  </a:cubicBezTo>
                  <a:cubicBezTo>
                    <a:pt x="880" y="1506"/>
                    <a:pt x="880" y="1506"/>
                    <a:pt x="880" y="1506"/>
                  </a:cubicBezTo>
                  <a:cubicBezTo>
                    <a:pt x="884" y="1500"/>
                    <a:pt x="884" y="1500"/>
                    <a:pt x="884" y="1500"/>
                  </a:cubicBezTo>
                  <a:cubicBezTo>
                    <a:pt x="894" y="1500"/>
                    <a:pt x="894" y="1500"/>
                    <a:pt x="894" y="1500"/>
                  </a:cubicBezTo>
                  <a:cubicBezTo>
                    <a:pt x="893" y="1506"/>
                    <a:pt x="893" y="1506"/>
                    <a:pt x="893" y="1506"/>
                  </a:cubicBezTo>
                  <a:cubicBezTo>
                    <a:pt x="900" y="1515"/>
                    <a:pt x="900" y="1515"/>
                    <a:pt x="900" y="1515"/>
                  </a:cubicBezTo>
                  <a:cubicBezTo>
                    <a:pt x="891" y="1514"/>
                    <a:pt x="891" y="1514"/>
                    <a:pt x="891" y="1514"/>
                  </a:cubicBezTo>
                  <a:cubicBezTo>
                    <a:pt x="891" y="1514"/>
                    <a:pt x="887" y="1521"/>
                    <a:pt x="883" y="1530"/>
                  </a:cubicBezTo>
                  <a:cubicBezTo>
                    <a:pt x="880" y="1540"/>
                    <a:pt x="871" y="1537"/>
                    <a:pt x="871" y="1537"/>
                  </a:cubicBezTo>
                  <a:cubicBezTo>
                    <a:pt x="870" y="1544"/>
                    <a:pt x="870" y="1544"/>
                    <a:pt x="870" y="1544"/>
                  </a:cubicBezTo>
                  <a:cubicBezTo>
                    <a:pt x="878" y="1543"/>
                    <a:pt x="878" y="1543"/>
                    <a:pt x="878" y="1543"/>
                  </a:cubicBezTo>
                  <a:cubicBezTo>
                    <a:pt x="876" y="1549"/>
                    <a:pt x="876" y="1549"/>
                    <a:pt x="876" y="1549"/>
                  </a:cubicBezTo>
                  <a:cubicBezTo>
                    <a:pt x="866" y="1549"/>
                    <a:pt x="866" y="1549"/>
                    <a:pt x="866" y="1549"/>
                  </a:cubicBezTo>
                  <a:cubicBezTo>
                    <a:pt x="858" y="1558"/>
                    <a:pt x="858" y="1558"/>
                    <a:pt x="858" y="1558"/>
                  </a:cubicBezTo>
                  <a:cubicBezTo>
                    <a:pt x="843" y="1558"/>
                    <a:pt x="843" y="1558"/>
                    <a:pt x="843" y="1558"/>
                  </a:cubicBezTo>
                  <a:cubicBezTo>
                    <a:pt x="855" y="1575"/>
                    <a:pt x="855" y="1575"/>
                    <a:pt x="855" y="1575"/>
                  </a:cubicBezTo>
                  <a:cubicBezTo>
                    <a:pt x="855" y="1575"/>
                    <a:pt x="862" y="1571"/>
                    <a:pt x="867" y="1571"/>
                  </a:cubicBezTo>
                  <a:cubicBezTo>
                    <a:pt x="874" y="1571"/>
                    <a:pt x="876" y="1580"/>
                    <a:pt x="876" y="1580"/>
                  </a:cubicBezTo>
                  <a:cubicBezTo>
                    <a:pt x="876" y="1580"/>
                    <a:pt x="893" y="1578"/>
                    <a:pt x="894" y="1586"/>
                  </a:cubicBezTo>
                  <a:cubicBezTo>
                    <a:pt x="895" y="1592"/>
                    <a:pt x="880" y="1585"/>
                    <a:pt x="880" y="1585"/>
                  </a:cubicBezTo>
                  <a:cubicBezTo>
                    <a:pt x="877" y="1599"/>
                    <a:pt x="877" y="1599"/>
                    <a:pt x="877" y="1599"/>
                  </a:cubicBezTo>
                  <a:cubicBezTo>
                    <a:pt x="873" y="1591"/>
                    <a:pt x="873" y="1591"/>
                    <a:pt x="873" y="1591"/>
                  </a:cubicBezTo>
                  <a:cubicBezTo>
                    <a:pt x="867" y="1594"/>
                    <a:pt x="867" y="1594"/>
                    <a:pt x="867" y="1594"/>
                  </a:cubicBezTo>
                  <a:cubicBezTo>
                    <a:pt x="867" y="1594"/>
                    <a:pt x="871" y="1610"/>
                    <a:pt x="871" y="1615"/>
                  </a:cubicBezTo>
                  <a:cubicBezTo>
                    <a:pt x="871" y="1619"/>
                    <a:pt x="865" y="1619"/>
                    <a:pt x="862" y="1623"/>
                  </a:cubicBezTo>
                  <a:cubicBezTo>
                    <a:pt x="859" y="1626"/>
                    <a:pt x="868" y="1634"/>
                    <a:pt x="866" y="1639"/>
                  </a:cubicBezTo>
                  <a:cubicBezTo>
                    <a:pt x="864" y="1646"/>
                    <a:pt x="859" y="1657"/>
                    <a:pt x="852" y="1658"/>
                  </a:cubicBezTo>
                  <a:cubicBezTo>
                    <a:pt x="846" y="1658"/>
                    <a:pt x="844" y="1650"/>
                    <a:pt x="844" y="1650"/>
                  </a:cubicBezTo>
                  <a:cubicBezTo>
                    <a:pt x="830" y="1651"/>
                    <a:pt x="830" y="1651"/>
                    <a:pt x="830" y="1651"/>
                  </a:cubicBezTo>
                  <a:cubicBezTo>
                    <a:pt x="831" y="1656"/>
                    <a:pt x="831" y="1656"/>
                    <a:pt x="831" y="1656"/>
                  </a:cubicBezTo>
                  <a:cubicBezTo>
                    <a:pt x="831" y="1656"/>
                    <a:pt x="841" y="1657"/>
                    <a:pt x="842" y="1659"/>
                  </a:cubicBezTo>
                  <a:cubicBezTo>
                    <a:pt x="842" y="1662"/>
                    <a:pt x="830" y="1669"/>
                    <a:pt x="830" y="1669"/>
                  </a:cubicBezTo>
                  <a:cubicBezTo>
                    <a:pt x="833" y="1674"/>
                    <a:pt x="833" y="1674"/>
                    <a:pt x="833" y="1674"/>
                  </a:cubicBezTo>
                  <a:cubicBezTo>
                    <a:pt x="847" y="1669"/>
                    <a:pt x="847" y="1669"/>
                    <a:pt x="847" y="1669"/>
                  </a:cubicBezTo>
                  <a:cubicBezTo>
                    <a:pt x="847" y="1669"/>
                    <a:pt x="841" y="1664"/>
                    <a:pt x="851" y="1663"/>
                  </a:cubicBezTo>
                  <a:cubicBezTo>
                    <a:pt x="862" y="1663"/>
                    <a:pt x="852" y="1670"/>
                    <a:pt x="852" y="1670"/>
                  </a:cubicBezTo>
                  <a:cubicBezTo>
                    <a:pt x="865" y="1673"/>
                    <a:pt x="865" y="1673"/>
                    <a:pt x="865" y="1673"/>
                  </a:cubicBezTo>
                  <a:cubicBezTo>
                    <a:pt x="873" y="1686"/>
                    <a:pt x="873" y="1686"/>
                    <a:pt x="873" y="1686"/>
                  </a:cubicBezTo>
                  <a:cubicBezTo>
                    <a:pt x="894" y="1684"/>
                    <a:pt x="894" y="1684"/>
                    <a:pt x="894" y="1684"/>
                  </a:cubicBezTo>
                  <a:cubicBezTo>
                    <a:pt x="895" y="1678"/>
                    <a:pt x="895" y="1678"/>
                    <a:pt x="895" y="1678"/>
                  </a:cubicBezTo>
                  <a:cubicBezTo>
                    <a:pt x="903" y="1684"/>
                    <a:pt x="903" y="1684"/>
                    <a:pt x="903" y="1684"/>
                  </a:cubicBezTo>
                  <a:cubicBezTo>
                    <a:pt x="908" y="1684"/>
                    <a:pt x="908" y="1684"/>
                    <a:pt x="908" y="1684"/>
                  </a:cubicBezTo>
                  <a:cubicBezTo>
                    <a:pt x="911" y="1689"/>
                    <a:pt x="911" y="1689"/>
                    <a:pt x="911" y="1689"/>
                  </a:cubicBezTo>
                  <a:cubicBezTo>
                    <a:pt x="917" y="1688"/>
                    <a:pt x="917" y="1688"/>
                    <a:pt x="917" y="1688"/>
                  </a:cubicBezTo>
                  <a:cubicBezTo>
                    <a:pt x="926" y="1691"/>
                    <a:pt x="926" y="1691"/>
                    <a:pt x="926" y="1691"/>
                  </a:cubicBezTo>
                  <a:cubicBezTo>
                    <a:pt x="929" y="1688"/>
                    <a:pt x="929" y="1688"/>
                    <a:pt x="929" y="1688"/>
                  </a:cubicBezTo>
                  <a:cubicBezTo>
                    <a:pt x="943" y="1687"/>
                    <a:pt x="943" y="1687"/>
                    <a:pt x="943" y="1687"/>
                  </a:cubicBezTo>
                  <a:cubicBezTo>
                    <a:pt x="949" y="1694"/>
                    <a:pt x="949" y="1694"/>
                    <a:pt x="949" y="1694"/>
                  </a:cubicBezTo>
                  <a:cubicBezTo>
                    <a:pt x="949" y="1694"/>
                    <a:pt x="970" y="1696"/>
                    <a:pt x="976" y="1699"/>
                  </a:cubicBezTo>
                  <a:cubicBezTo>
                    <a:pt x="982" y="1702"/>
                    <a:pt x="998" y="1713"/>
                    <a:pt x="998" y="1713"/>
                  </a:cubicBezTo>
                  <a:cubicBezTo>
                    <a:pt x="1003" y="1712"/>
                    <a:pt x="1003" y="1712"/>
                    <a:pt x="1003" y="1712"/>
                  </a:cubicBezTo>
                  <a:cubicBezTo>
                    <a:pt x="1007" y="1716"/>
                    <a:pt x="1007" y="1716"/>
                    <a:pt x="1007" y="1716"/>
                  </a:cubicBezTo>
                  <a:cubicBezTo>
                    <a:pt x="1016" y="1717"/>
                    <a:pt x="1016" y="1717"/>
                    <a:pt x="1016" y="1717"/>
                  </a:cubicBezTo>
                  <a:cubicBezTo>
                    <a:pt x="1019" y="1721"/>
                    <a:pt x="1019" y="1721"/>
                    <a:pt x="1019" y="1721"/>
                  </a:cubicBezTo>
                  <a:cubicBezTo>
                    <a:pt x="1024" y="1720"/>
                    <a:pt x="1024" y="1720"/>
                    <a:pt x="1024" y="1720"/>
                  </a:cubicBezTo>
                  <a:cubicBezTo>
                    <a:pt x="1024" y="1720"/>
                    <a:pt x="1024" y="1710"/>
                    <a:pt x="1028" y="1705"/>
                  </a:cubicBezTo>
                  <a:cubicBezTo>
                    <a:pt x="1031" y="1701"/>
                    <a:pt x="1047" y="1703"/>
                    <a:pt x="1047" y="1703"/>
                  </a:cubicBezTo>
                  <a:cubicBezTo>
                    <a:pt x="1050" y="1698"/>
                    <a:pt x="1050" y="1698"/>
                    <a:pt x="1050" y="1698"/>
                  </a:cubicBezTo>
                  <a:cubicBezTo>
                    <a:pt x="1072" y="1701"/>
                    <a:pt x="1072" y="1701"/>
                    <a:pt x="1072" y="1701"/>
                  </a:cubicBezTo>
                  <a:cubicBezTo>
                    <a:pt x="1073" y="1700"/>
                    <a:pt x="1073" y="1700"/>
                    <a:pt x="1073" y="1700"/>
                  </a:cubicBezTo>
                  <a:cubicBezTo>
                    <a:pt x="1080" y="1700"/>
                    <a:pt x="1080" y="1700"/>
                    <a:pt x="1080" y="1700"/>
                  </a:cubicBezTo>
                  <a:cubicBezTo>
                    <a:pt x="1085" y="1696"/>
                    <a:pt x="1085" y="1696"/>
                    <a:pt x="1085" y="1696"/>
                  </a:cubicBezTo>
                  <a:cubicBezTo>
                    <a:pt x="1085" y="1696"/>
                    <a:pt x="1095" y="1702"/>
                    <a:pt x="1107" y="1699"/>
                  </a:cubicBezTo>
                  <a:cubicBezTo>
                    <a:pt x="1120" y="1697"/>
                    <a:pt x="1137" y="1683"/>
                    <a:pt x="1137" y="1683"/>
                  </a:cubicBezTo>
                  <a:cubicBezTo>
                    <a:pt x="1143" y="1684"/>
                    <a:pt x="1143" y="1684"/>
                    <a:pt x="1143" y="1684"/>
                  </a:cubicBezTo>
                  <a:cubicBezTo>
                    <a:pt x="1143" y="1684"/>
                    <a:pt x="1146" y="1679"/>
                    <a:pt x="1154" y="1679"/>
                  </a:cubicBezTo>
                  <a:cubicBezTo>
                    <a:pt x="1161" y="1678"/>
                    <a:pt x="1162" y="1683"/>
                    <a:pt x="1169" y="1685"/>
                  </a:cubicBezTo>
                  <a:cubicBezTo>
                    <a:pt x="1175" y="1688"/>
                    <a:pt x="1192" y="1683"/>
                    <a:pt x="1192" y="1683"/>
                  </a:cubicBezTo>
                  <a:cubicBezTo>
                    <a:pt x="1210" y="1683"/>
                    <a:pt x="1210" y="1683"/>
                    <a:pt x="1210" y="1683"/>
                  </a:cubicBezTo>
                  <a:cubicBezTo>
                    <a:pt x="1208" y="1689"/>
                    <a:pt x="1208" y="1689"/>
                    <a:pt x="1208" y="1689"/>
                  </a:cubicBezTo>
                  <a:cubicBezTo>
                    <a:pt x="1208" y="1689"/>
                    <a:pt x="1215" y="1691"/>
                    <a:pt x="1221" y="1690"/>
                  </a:cubicBezTo>
                  <a:cubicBezTo>
                    <a:pt x="1227" y="1690"/>
                    <a:pt x="1233" y="1681"/>
                    <a:pt x="1233" y="1681"/>
                  </a:cubicBezTo>
                  <a:cubicBezTo>
                    <a:pt x="1233" y="1674"/>
                    <a:pt x="1233" y="1674"/>
                    <a:pt x="1233" y="1674"/>
                  </a:cubicBezTo>
                  <a:cubicBezTo>
                    <a:pt x="1233" y="1674"/>
                    <a:pt x="1239" y="1669"/>
                    <a:pt x="1243" y="1666"/>
                  </a:cubicBezTo>
                  <a:cubicBezTo>
                    <a:pt x="1248" y="1664"/>
                    <a:pt x="1259" y="1669"/>
                    <a:pt x="1259" y="1669"/>
                  </a:cubicBezTo>
                  <a:cubicBezTo>
                    <a:pt x="1259" y="1659"/>
                    <a:pt x="1259" y="1659"/>
                    <a:pt x="1259" y="1659"/>
                  </a:cubicBezTo>
                  <a:cubicBezTo>
                    <a:pt x="1266" y="1660"/>
                    <a:pt x="1266" y="1660"/>
                    <a:pt x="1266" y="1660"/>
                  </a:cubicBezTo>
                  <a:cubicBezTo>
                    <a:pt x="1274" y="1656"/>
                    <a:pt x="1274" y="1656"/>
                    <a:pt x="1274" y="1656"/>
                  </a:cubicBezTo>
                  <a:cubicBezTo>
                    <a:pt x="1285" y="1663"/>
                    <a:pt x="1285" y="1663"/>
                    <a:pt x="1285" y="1663"/>
                  </a:cubicBezTo>
                  <a:cubicBezTo>
                    <a:pt x="1291" y="1657"/>
                    <a:pt x="1291" y="1657"/>
                    <a:pt x="1291" y="1657"/>
                  </a:cubicBezTo>
                  <a:cubicBezTo>
                    <a:pt x="1302" y="1654"/>
                    <a:pt x="1302" y="1654"/>
                    <a:pt x="1302" y="1654"/>
                  </a:cubicBezTo>
                  <a:cubicBezTo>
                    <a:pt x="1302" y="1654"/>
                    <a:pt x="1305" y="1671"/>
                    <a:pt x="1309" y="1675"/>
                  </a:cubicBezTo>
                  <a:cubicBezTo>
                    <a:pt x="1315" y="1679"/>
                    <a:pt x="1337" y="1674"/>
                    <a:pt x="1347" y="1674"/>
                  </a:cubicBezTo>
                  <a:cubicBezTo>
                    <a:pt x="1357" y="1673"/>
                    <a:pt x="1359" y="1675"/>
                    <a:pt x="1359" y="1675"/>
                  </a:cubicBezTo>
                  <a:cubicBezTo>
                    <a:pt x="1367" y="1671"/>
                    <a:pt x="1367" y="1671"/>
                    <a:pt x="1367" y="1671"/>
                  </a:cubicBezTo>
                  <a:cubicBezTo>
                    <a:pt x="1367" y="1671"/>
                    <a:pt x="1371" y="1672"/>
                    <a:pt x="1378" y="1672"/>
                  </a:cubicBezTo>
                  <a:cubicBezTo>
                    <a:pt x="1383" y="1672"/>
                    <a:pt x="1388" y="1681"/>
                    <a:pt x="1388" y="1681"/>
                  </a:cubicBezTo>
                  <a:cubicBezTo>
                    <a:pt x="1390" y="1678"/>
                    <a:pt x="1390" y="1678"/>
                    <a:pt x="1390" y="1678"/>
                  </a:cubicBezTo>
                  <a:cubicBezTo>
                    <a:pt x="1390" y="1678"/>
                    <a:pt x="1407" y="1689"/>
                    <a:pt x="1408" y="1689"/>
                  </a:cubicBezTo>
                  <a:cubicBezTo>
                    <a:pt x="1411" y="1689"/>
                    <a:pt x="1417" y="1687"/>
                    <a:pt x="1429" y="1686"/>
                  </a:cubicBezTo>
                  <a:cubicBezTo>
                    <a:pt x="1440" y="1685"/>
                    <a:pt x="1435" y="1674"/>
                    <a:pt x="1435" y="1674"/>
                  </a:cubicBezTo>
                  <a:cubicBezTo>
                    <a:pt x="1438" y="1668"/>
                    <a:pt x="1438" y="1668"/>
                    <a:pt x="1438" y="1668"/>
                  </a:cubicBezTo>
                  <a:cubicBezTo>
                    <a:pt x="1437" y="1657"/>
                    <a:pt x="1437" y="1657"/>
                    <a:pt x="1437" y="1657"/>
                  </a:cubicBezTo>
                  <a:cubicBezTo>
                    <a:pt x="1446" y="1644"/>
                    <a:pt x="1446" y="1644"/>
                    <a:pt x="1446" y="1644"/>
                  </a:cubicBezTo>
                  <a:cubicBezTo>
                    <a:pt x="1445" y="1626"/>
                    <a:pt x="1445" y="1626"/>
                    <a:pt x="1445" y="1626"/>
                  </a:cubicBezTo>
                  <a:cubicBezTo>
                    <a:pt x="1434" y="1626"/>
                    <a:pt x="1434" y="1626"/>
                    <a:pt x="1434" y="1626"/>
                  </a:cubicBezTo>
                  <a:cubicBezTo>
                    <a:pt x="1417" y="1613"/>
                    <a:pt x="1417" y="1613"/>
                    <a:pt x="1417" y="1613"/>
                  </a:cubicBezTo>
                  <a:cubicBezTo>
                    <a:pt x="1417" y="1613"/>
                    <a:pt x="1406" y="1612"/>
                    <a:pt x="1404" y="1611"/>
                  </a:cubicBezTo>
                  <a:cubicBezTo>
                    <a:pt x="1402" y="1611"/>
                    <a:pt x="1391" y="1604"/>
                    <a:pt x="1391" y="1604"/>
                  </a:cubicBezTo>
                  <a:cubicBezTo>
                    <a:pt x="1391" y="1604"/>
                    <a:pt x="1387" y="1604"/>
                    <a:pt x="1382" y="1602"/>
                  </a:cubicBezTo>
                  <a:cubicBezTo>
                    <a:pt x="1378" y="1601"/>
                    <a:pt x="1380" y="1599"/>
                    <a:pt x="1376" y="1592"/>
                  </a:cubicBezTo>
                  <a:cubicBezTo>
                    <a:pt x="1372" y="1586"/>
                    <a:pt x="1365" y="1590"/>
                    <a:pt x="1358" y="1584"/>
                  </a:cubicBezTo>
                  <a:cubicBezTo>
                    <a:pt x="1352" y="1578"/>
                    <a:pt x="1356" y="1565"/>
                    <a:pt x="1356" y="1565"/>
                  </a:cubicBezTo>
                  <a:cubicBezTo>
                    <a:pt x="1350" y="1565"/>
                    <a:pt x="1350" y="1565"/>
                    <a:pt x="1350" y="1565"/>
                  </a:cubicBezTo>
                  <a:cubicBezTo>
                    <a:pt x="1341" y="1543"/>
                    <a:pt x="1341" y="1543"/>
                    <a:pt x="1341" y="1543"/>
                  </a:cubicBezTo>
                  <a:cubicBezTo>
                    <a:pt x="1341" y="1530"/>
                    <a:pt x="1341" y="1530"/>
                    <a:pt x="1341" y="1530"/>
                  </a:cubicBezTo>
                  <a:cubicBezTo>
                    <a:pt x="1343" y="1527"/>
                    <a:pt x="1343" y="1527"/>
                    <a:pt x="1343" y="1527"/>
                  </a:cubicBezTo>
                  <a:cubicBezTo>
                    <a:pt x="1343" y="1527"/>
                    <a:pt x="1342" y="1525"/>
                    <a:pt x="1339" y="1525"/>
                  </a:cubicBezTo>
                  <a:cubicBezTo>
                    <a:pt x="1335" y="1526"/>
                    <a:pt x="1338" y="1538"/>
                    <a:pt x="1338" y="1538"/>
                  </a:cubicBezTo>
                  <a:cubicBezTo>
                    <a:pt x="1342" y="1559"/>
                    <a:pt x="1342" y="1559"/>
                    <a:pt x="1342" y="1559"/>
                  </a:cubicBezTo>
                  <a:cubicBezTo>
                    <a:pt x="1339" y="1558"/>
                    <a:pt x="1339" y="1558"/>
                    <a:pt x="1339" y="1558"/>
                  </a:cubicBezTo>
                  <a:cubicBezTo>
                    <a:pt x="1337" y="1540"/>
                    <a:pt x="1337" y="1540"/>
                    <a:pt x="1337" y="1540"/>
                  </a:cubicBezTo>
                  <a:cubicBezTo>
                    <a:pt x="1333" y="1539"/>
                    <a:pt x="1333" y="1539"/>
                    <a:pt x="1333" y="1539"/>
                  </a:cubicBezTo>
                  <a:cubicBezTo>
                    <a:pt x="1313" y="1523"/>
                    <a:pt x="1313" y="1523"/>
                    <a:pt x="1313" y="1523"/>
                  </a:cubicBezTo>
                  <a:cubicBezTo>
                    <a:pt x="1313" y="1523"/>
                    <a:pt x="1310" y="1526"/>
                    <a:pt x="1308" y="1526"/>
                  </a:cubicBezTo>
                  <a:cubicBezTo>
                    <a:pt x="1306" y="1526"/>
                    <a:pt x="1304" y="1521"/>
                    <a:pt x="1301" y="1518"/>
                  </a:cubicBezTo>
                  <a:cubicBezTo>
                    <a:pt x="1297" y="1516"/>
                    <a:pt x="1286" y="1522"/>
                    <a:pt x="1286" y="1522"/>
                  </a:cubicBezTo>
                  <a:cubicBezTo>
                    <a:pt x="1286" y="1522"/>
                    <a:pt x="1277" y="1512"/>
                    <a:pt x="1275" y="1508"/>
                  </a:cubicBezTo>
                  <a:cubicBezTo>
                    <a:pt x="1273" y="1502"/>
                    <a:pt x="1281" y="1496"/>
                    <a:pt x="1285" y="1490"/>
                  </a:cubicBezTo>
                  <a:cubicBezTo>
                    <a:pt x="1290" y="1483"/>
                    <a:pt x="1287" y="1468"/>
                    <a:pt x="1287" y="1468"/>
                  </a:cubicBezTo>
                  <a:cubicBezTo>
                    <a:pt x="1283" y="1465"/>
                    <a:pt x="1283" y="1465"/>
                    <a:pt x="1283" y="1465"/>
                  </a:cubicBezTo>
                  <a:cubicBezTo>
                    <a:pt x="1287" y="1460"/>
                    <a:pt x="1287" y="1460"/>
                    <a:pt x="1287" y="1460"/>
                  </a:cubicBezTo>
                  <a:cubicBezTo>
                    <a:pt x="1284" y="1459"/>
                    <a:pt x="1284" y="1459"/>
                    <a:pt x="1284" y="1459"/>
                  </a:cubicBezTo>
                  <a:cubicBezTo>
                    <a:pt x="1283" y="1443"/>
                    <a:pt x="1283" y="1443"/>
                    <a:pt x="1283" y="1443"/>
                  </a:cubicBezTo>
                  <a:cubicBezTo>
                    <a:pt x="1286" y="1436"/>
                    <a:pt x="1286" y="1436"/>
                    <a:pt x="1286" y="1436"/>
                  </a:cubicBezTo>
                  <a:cubicBezTo>
                    <a:pt x="1286" y="1436"/>
                    <a:pt x="1280" y="1431"/>
                    <a:pt x="1281" y="1428"/>
                  </a:cubicBezTo>
                  <a:cubicBezTo>
                    <a:pt x="1282" y="1424"/>
                    <a:pt x="1291" y="1430"/>
                    <a:pt x="1296" y="1431"/>
                  </a:cubicBezTo>
                  <a:cubicBezTo>
                    <a:pt x="1300" y="1431"/>
                    <a:pt x="1299" y="1428"/>
                    <a:pt x="1299" y="1428"/>
                  </a:cubicBezTo>
                  <a:cubicBezTo>
                    <a:pt x="1299" y="1428"/>
                    <a:pt x="1291" y="1422"/>
                    <a:pt x="1293" y="1419"/>
                  </a:cubicBezTo>
                  <a:cubicBezTo>
                    <a:pt x="1296" y="1416"/>
                    <a:pt x="1306" y="1410"/>
                    <a:pt x="1306" y="1410"/>
                  </a:cubicBezTo>
                  <a:cubicBezTo>
                    <a:pt x="1313" y="1412"/>
                    <a:pt x="1313" y="1412"/>
                    <a:pt x="1313" y="1412"/>
                  </a:cubicBezTo>
                  <a:cubicBezTo>
                    <a:pt x="1317" y="1411"/>
                    <a:pt x="1317" y="1411"/>
                    <a:pt x="1317" y="1411"/>
                  </a:cubicBezTo>
                  <a:cubicBezTo>
                    <a:pt x="1305" y="1402"/>
                    <a:pt x="1305" y="1402"/>
                    <a:pt x="1305" y="1402"/>
                  </a:cubicBezTo>
                  <a:cubicBezTo>
                    <a:pt x="1308" y="1397"/>
                    <a:pt x="1308" y="1397"/>
                    <a:pt x="1308" y="1397"/>
                  </a:cubicBezTo>
                  <a:cubicBezTo>
                    <a:pt x="1322" y="1404"/>
                    <a:pt x="1322" y="1404"/>
                    <a:pt x="1322" y="1404"/>
                  </a:cubicBezTo>
                  <a:cubicBezTo>
                    <a:pt x="1327" y="1402"/>
                    <a:pt x="1327" y="1402"/>
                    <a:pt x="1327" y="1402"/>
                  </a:cubicBezTo>
                  <a:cubicBezTo>
                    <a:pt x="1320" y="1398"/>
                    <a:pt x="1320" y="1398"/>
                    <a:pt x="1320" y="1398"/>
                  </a:cubicBezTo>
                  <a:cubicBezTo>
                    <a:pt x="1323" y="1391"/>
                    <a:pt x="1323" y="1391"/>
                    <a:pt x="1323" y="1391"/>
                  </a:cubicBezTo>
                  <a:cubicBezTo>
                    <a:pt x="1313" y="1386"/>
                    <a:pt x="1313" y="1386"/>
                    <a:pt x="1313" y="1386"/>
                  </a:cubicBezTo>
                  <a:cubicBezTo>
                    <a:pt x="1314" y="1381"/>
                    <a:pt x="1314" y="1381"/>
                    <a:pt x="1314" y="1381"/>
                  </a:cubicBezTo>
                  <a:cubicBezTo>
                    <a:pt x="1322" y="1383"/>
                    <a:pt x="1322" y="1383"/>
                    <a:pt x="1322" y="1383"/>
                  </a:cubicBezTo>
                  <a:cubicBezTo>
                    <a:pt x="1325" y="1383"/>
                    <a:pt x="1325" y="1383"/>
                    <a:pt x="1325" y="1383"/>
                  </a:cubicBezTo>
                  <a:cubicBezTo>
                    <a:pt x="1318" y="1378"/>
                    <a:pt x="1318" y="1378"/>
                    <a:pt x="1318" y="1378"/>
                  </a:cubicBezTo>
                  <a:cubicBezTo>
                    <a:pt x="1323" y="1375"/>
                    <a:pt x="1323" y="1375"/>
                    <a:pt x="1323" y="1375"/>
                  </a:cubicBezTo>
                  <a:cubicBezTo>
                    <a:pt x="1331" y="1379"/>
                    <a:pt x="1331" y="1379"/>
                    <a:pt x="1331" y="1379"/>
                  </a:cubicBezTo>
                  <a:cubicBezTo>
                    <a:pt x="1331" y="1379"/>
                    <a:pt x="1331" y="1372"/>
                    <a:pt x="1329" y="1369"/>
                  </a:cubicBezTo>
                  <a:cubicBezTo>
                    <a:pt x="1326" y="1366"/>
                    <a:pt x="1319" y="1367"/>
                    <a:pt x="1320" y="1363"/>
                  </a:cubicBezTo>
                  <a:cubicBezTo>
                    <a:pt x="1321" y="1357"/>
                    <a:pt x="1332" y="1358"/>
                    <a:pt x="1332" y="1358"/>
                  </a:cubicBezTo>
                  <a:cubicBezTo>
                    <a:pt x="1324" y="1354"/>
                    <a:pt x="1324" y="1354"/>
                    <a:pt x="1324" y="1354"/>
                  </a:cubicBezTo>
                  <a:cubicBezTo>
                    <a:pt x="1324" y="1354"/>
                    <a:pt x="1301" y="1358"/>
                    <a:pt x="1290" y="1357"/>
                  </a:cubicBezTo>
                  <a:cubicBezTo>
                    <a:pt x="1281" y="1356"/>
                    <a:pt x="1280" y="1350"/>
                    <a:pt x="1284" y="1343"/>
                  </a:cubicBezTo>
                  <a:cubicBezTo>
                    <a:pt x="1288" y="1338"/>
                    <a:pt x="1298" y="1344"/>
                    <a:pt x="1302" y="1340"/>
                  </a:cubicBezTo>
                  <a:cubicBezTo>
                    <a:pt x="1307" y="1335"/>
                    <a:pt x="1288" y="1328"/>
                    <a:pt x="1281" y="1326"/>
                  </a:cubicBezTo>
                  <a:cubicBezTo>
                    <a:pt x="1273" y="1324"/>
                    <a:pt x="1268" y="1313"/>
                    <a:pt x="1263" y="1310"/>
                  </a:cubicBezTo>
                  <a:cubicBezTo>
                    <a:pt x="1257" y="1308"/>
                    <a:pt x="1256" y="1312"/>
                    <a:pt x="1249" y="1312"/>
                  </a:cubicBezTo>
                  <a:cubicBezTo>
                    <a:pt x="1242" y="1312"/>
                    <a:pt x="1241" y="1301"/>
                    <a:pt x="1232" y="1298"/>
                  </a:cubicBezTo>
                  <a:cubicBezTo>
                    <a:pt x="1222" y="1295"/>
                    <a:pt x="1225" y="1307"/>
                    <a:pt x="1218" y="1309"/>
                  </a:cubicBezTo>
                  <a:cubicBezTo>
                    <a:pt x="1211" y="1311"/>
                    <a:pt x="1206" y="1310"/>
                    <a:pt x="1206" y="1310"/>
                  </a:cubicBezTo>
                  <a:cubicBezTo>
                    <a:pt x="1210" y="1318"/>
                    <a:pt x="1210" y="1318"/>
                    <a:pt x="1210" y="1318"/>
                  </a:cubicBezTo>
                  <a:cubicBezTo>
                    <a:pt x="1210" y="1318"/>
                    <a:pt x="1198" y="1318"/>
                    <a:pt x="1192" y="1316"/>
                  </a:cubicBezTo>
                  <a:cubicBezTo>
                    <a:pt x="1187" y="1315"/>
                    <a:pt x="1188" y="1308"/>
                    <a:pt x="1189" y="1306"/>
                  </a:cubicBezTo>
                  <a:cubicBezTo>
                    <a:pt x="1191" y="1303"/>
                    <a:pt x="1186" y="1301"/>
                    <a:pt x="1184" y="1298"/>
                  </a:cubicBezTo>
                  <a:cubicBezTo>
                    <a:pt x="1181" y="1296"/>
                    <a:pt x="1181" y="1292"/>
                    <a:pt x="1181" y="1292"/>
                  </a:cubicBezTo>
                  <a:cubicBezTo>
                    <a:pt x="1152" y="1298"/>
                    <a:pt x="1152" y="1298"/>
                    <a:pt x="1152" y="1298"/>
                  </a:cubicBezTo>
                  <a:cubicBezTo>
                    <a:pt x="1146" y="1259"/>
                    <a:pt x="1146" y="1259"/>
                    <a:pt x="1146" y="1259"/>
                  </a:cubicBezTo>
                  <a:cubicBezTo>
                    <a:pt x="1146" y="1259"/>
                    <a:pt x="1152" y="1249"/>
                    <a:pt x="1149" y="1241"/>
                  </a:cubicBezTo>
                  <a:cubicBezTo>
                    <a:pt x="1146" y="1232"/>
                    <a:pt x="1136" y="1234"/>
                    <a:pt x="1136" y="1234"/>
                  </a:cubicBezTo>
                  <a:cubicBezTo>
                    <a:pt x="1124" y="1199"/>
                    <a:pt x="1124" y="1199"/>
                    <a:pt x="1124" y="1199"/>
                  </a:cubicBezTo>
                  <a:cubicBezTo>
                    <a:pt x="1133" y="1184"/>
                    <a:pt x="1133" y="1184"/>
                    <a:pt x="1133" y="1184"/>
                  </a:cubicBezTo>
                  <a:cubicBezTo>
                    <a:pt x="1134" y="1179"/>
                    <a:pt x="1125" y="1178"/>
                    <a:pt x="1125" y="1170"/>
                  </a:cubicBezTo>
                  <a:cubicBezTo>
                    <a:pt x="1124" y="1163"/>
                    <a:pt x="1128" y="1156"/>
                    <a:pt x="1138" y="1156"/>
                  </a:cubicBezTo>
                  <a:cubicBezTo>
                    <a:pt x="1146" y="1156"/>
                    <a:pt x="1158" y="1165"/>
                    <a:pt x="1161" y="1170"/>
                  </a:cubicBezTo>
                  <a:cubicBezTo>
                    <a:pt x="1165" y="1177"/>
                    <a:pt x="1172" y="1176"/>
                    <a:pt x="1178" y="1176"/>
                  </a:cubicBezTo>
                  <a:cubicBezTo>
                    <a:pt x="1184" y="1176"/>
                    <a:pt x="1190" y="1162"/>
                    <a:pt x="1191" y="1152"/>
                  </a:cubicBezTo>
                  <a:cubicBezTo>
                    <a:pt x="1192" y="1143"/>
                    <a:pt x="1185" y="1151"/>
                    <a:pt x="1185" y="1151"/>
                  </a:cubicBezTo>
                  <a:cubicBezTo>
                    <a:pt x="1185" y="1151"/>
                    <a:pt x="1182" y="1146"/>
                    <a:pt x="1177" y="1144"/>
                  </a:cubicBezTo>
                  <a:cubicBezTo>
                    <a:pt x="1173" y="1140"/>
                    <a:pt x="1163" y="1128"/>
                    <a:pt x="1163" y="1128"/>
                  </a:cubicBezTo>
                  <a:cubicBezTo>
                    <a:pt x="1159" y="1128"/>
                    <a:pt x="1159" y="1128"/>
                    <a:pt x="1159" y="1128"/>
                  </a:cubicBezTo>
                  <a:cubicBezTo>
                    <a:pt x="1160" y="1124"/>
                    <a:pt x="1160" y="1124"/>
                    <a:pt x="1160" y="1124"/>
                  </a:cubicBezTo>
                  <a:cubicBezTo>
                    <a:pt x="1160" y="1124"/>
                    <a:pt x="1165" y="1122"/>
                    <a:pt x="1171" y="1121"/>
                  </a:cubicBezTo>
                  <a:cubicBezTo>
                    <a:pt x="1177" y="1120"/>
                    <a:pt x="1175" y="1104"/>
                    <a:pt x="1175" y="1104"/>
                  </a:cubicBezTo>
                  <a:cubicBezTo>
                    <a:pt x="1175" y="1104"/>
                    <a:pt x="1182" y="1099"/>
                    <a:pt x="1183" y="1093"/>
                  </a:cubicBezTo>
                  <a:cubicBezTo>
                    <a:pt x="1185" y="1089"/>
                    <a:pt x="1175" y="1090"/>
                    <a:pt x="1175" y="1090"/>
                  </a:cubicBezTo>
                  <a:cubicBezTo>
                    <a:pt x="1173" y="1080"/>
                    <a:pt x="1173" y="1080"/>
                    <a:pt x="1173" y="1080"/>
                  </a:cubicBezTo>
                  <a:cubicBezTo>
                    <a:pt x="1183" y="1074"/>
                    <a:pt x="1183" y="1074"/>
                    <a:pt x="1183" y="1074"/>
                  </a:cubicBezTo>
                  <a:cubicBezTo>
                    <a:pt x="1189" y="1063"/>
                    <a:pt x="1189" y="1063"/>
                    <a:pt x="1189" y="1063"/>
                  </a:cubicBezTo>
                  <a:cubicBezTo>
                    <a:pt x="1189" y="1063"/>
                    <a:pt x="1202" y="1055"/>
                    <a:pt x="1202" y="1052"/>
                  </a:cubicBezTo>
                  <a:cubicBezTo>
                    <a:pt x="1203" y="1048"/>
                    <a:pt x="1196" y="1049"/>
                    <a:pt x="1195" y="1045"/>
                  </a:cubicBezTo>
                  <a:cubicBezTo>
                    <a:pt x="1194" y="1043"/>
                    <a:pt x="1204" y="1041"/>
                    <a:pt x="1204" y="1038"/>
                  </a:cubicBezTo>
                  <a:cubicBezTo>
                    <a:pt x="1204" y="1036"/>
                    <a:pt x="1199" y="1029"/>
                    <a:pt x="1201" y="1027"/>
                  </a:cubicBezTo>
                  <a:cubicBezTo>
                    <a:pt x="1203" y="1025"/>
                    <a:pt x="1208" y="1022"/>
                    <a:pt x="1208" y="1022"/>
                  </a:cubicBezTo>
                  <a:cubicBezTo>
                    <a:pt x="1201" y="1016"/>
                    <a:pt x="1201" y="1016"/>
                    <a:pt x="1201" y="1016"/>
                  </a:cubicBezTo>
                  <a:cubicBezTo>
                    <a:pt x="1212" y="1016"/>
                    <a:pt x="1212" y="1016"/>
                    <a:pt x="1212" y="1016"/>
                  </a:cubicBezTo>
                  <a:cubicBezTo>
                    <a:pt x="1212" y="1016"/>
                    <a:pt x="1223" y="1009"/>
                    <a:pt x="1226" y="1010"/>
                  </a:cubicBezTo>
                  <a:cubicBezTo>
                    <a:pt x="1229" y="1011"/>
                    <a:pt x="1223" y="1021"/>
                    <a:pt x="1228" y="1022"/>
                  </a:cubicBezTo>
                  <a:cubicBezTo>
                    <a:pt x="1234" y="1024"/>
                    <a:pt x="1235" y="1011"/>
                    <a:pt x="1235" y="1011"/>
                  </a:cubicBezTo>
                  <a:cubicBezTo>
                    <a:pt x="1235" y="1011"/>
                    <a:pt x="1240" y="1012"/>
                    <a:pt x="1243" y="1010"/>
                  </a:cubicBezTo>
                  <a:cubicBezTo>
                    <a:pt x="1247" y="1008"/>
                    <a:pt x="1238" y="1002"/>
                    <a:pt x="1240" y="997"/>
                  </a:cubicBezTo>
                  <a:cubicBezTo>
                    <a:pt x="1242" y="993"/>
                    <a:pt x="1251" y="993"/>
                    <a:pt x="1251" y="993"/>
                  </a:cubicBezTo>
                  <a:cubicBezTo>
                    <a:pt x="1249" y="986"/>
                    <a:pt x="1249" y="986"/>
                    <a:pt x="1249" y="986"/>
                  </a:cubicBezTo>
                  <a:cubicBezTo>
                    <a:pt x="1253" y="984"/>
                    <a:pt x="1253" y="984"/>
                    <a:pt x="1253" y="984"/>
                  </a:cubicBezTo>
                  <a:cubicBezTo>
                    <a:pt x="1253" y="984"/>
                    <a:pt x="1269" y="994"/>
                    <a:pt x="1275" y="993"/>
                  </a:cubicBezTo>
                  <a:cubicBezTo>
                    <a:pt x="1281" y="993"/>
                    <a:pt x="1277" y="987"/>
                    <a:pt x="1277" y="987"/>
                  </a:cubicBezTo>
                  <a:cubicBezTo>
                    <a:pt x="1285" y="987"/>
                    <a:pt x="1285" y="987"/>
                    <a:pt x="1285" y="987"/>
                  </a:cubicBezTo>
                  <a:cubicBezTo>
                    <a:pt x="1285" y="987"/>
                    <a:pt x="1298" y="975"/>
                    <a:pt x="1306" y="974"/>
                  </a:cubicBezTo>
                  <a:cubicBezTo>
                    <a:pt x="1315" y="973"/>
                    <a:pt x="1313" y="981"/>
                    <a:pt x="1318" y="982"/>
                  </a:cubicBezTo>
                  <a:cubicBezTo>
                    <a:pt x="1322" y="984"/>
                    <a:pt x="1323" y="982"/>
                    <a:pt x="1326" y="978"/>
                  </a:cubicBezTo>
                  <a:cubicBezTo>
                    <a:pt x="1329" y="975"/>
                    <a:pt x="1334" y="976"/>
                    <a:pt x="1339" y="980"/>
                  </a:cubicBezTo>
                  <a:cubicBezTo>
                    <a:pt x="1345" y="985"/>
                    <a:pt x="1351" y="984"/>
                    <a:pt x="1356" y="984"/>
                  </a:cubicBezTo>
                  <a:cubicBezTo>
                    <a:pt x="1362" y="984"/>
                    <a:pt x="1363" y="985"/>
                    <a:pt x="1363" y="989"/>
                  </a:cubicBezTo>
                  <a:cubicBezTo>
                    <a:pt x="1363" y="992"/>
                    <a:pt x="1366" y="998"/>
                    <a:pt x="1370" y="1001"/>
                  </a:cubicBezTo>
                  <a:cubicBezTo>
                    <a:pt x="1375" y="1004"/>
                    <a:pt x="1376" y="996"/>
                    <a:pt x="1378" y="992"/>
                  </a:cubicBezTo>
                  <a:cubicBezTo>
                    <a:pt x="1379" y="988"/>
                    <a:pt x="1371" y="988"/>
                    <a:pt x="1369" y="984"/>
                  </a:cubicBezTo>
                  <a:cubicBezTo>
                    <a:pt x="1367" y="978"/>
                    <a:pt x="1362" y="979"/>
                    <a:pt x="1358" y="979"/>
                  </a:cubicBezTo>
                  <a:cubicBezTo>
                    <a:pt x="1356" y="978"/>
                    <a:pt x="1356" y="975"/>
                    <a:pt x="1358" y="971"/>
                  </a:cubicBezTo>
                  <a:cubicBezTo>
                    <a:pt x="1360" y="966"/>
                    <a:pt x="1372" y="971"/>
                    <a:pt x="1372" y="971"/>
                  </a:cubicBezTo>
                  <a:cubicBezTo>
                    <a:pt x="1372" y="971"/>
                    <a:pt x="1375" y="969"/>
                    <a:pt x="1379" y="969"/>
                  </a:cubicBezTo>
                  <a:cubicBezTo>
                    <a:pt x="1382" y="970"/>
                    <a:pt x="1382" y="973"/>
                    <a:pt x="1382" y="973"/>
                  </a:cubicBezTo>
                  <a:cubicBezTo>
                    <a:pt x="1414" y="970"/>
                    <a:pt x="1414" y="970"/>
                    <a:pt x="1414" y="970"/>
                  </a:cubicBezTo>
                  <a:cubicBezTo>
                    <a:pt x="1414" y="970"/>
                    <a:pt x="1418" y="958"/>
                    <a:pt x="1420" y="953"/>
                  </a:cubicBezTo>
                  <a:cubicBezTo>
                    <a:pt x="1422" y="946"/>
                    <a:pt x="1416" y="940"/>
                    <a:pt x="1416" y="940"/>
                  </a:cubicBezTo>
                  <a:cubicBezTo>
                    <a:pt x="1421" y="938"/>
                    <a:pt x="1421" y="938"/>
                    <a:pt x="1421" y="938"/>
                  </a:cubicBezTo>
                  <a:cubicBezTo>
                    <a:pt x="1420" y="923"/>
                    <a:pt x="1420" y="923"/>
                    <a:pt x="1420" y="923"/>
                  </a:cubicBezTo>
                  <a:cubicBezTo>
                    <a:pt x="1420" y="923"/>
                    <a:pt x="1427" y="927"/>
                    <a:pt x="1431" y="927"/>
                  </a:cubicBezTo>
                  <a:cubicBezTo>
                    <a:pt x="1435" y="926"/>
                    <a:pt x="1430" y="918"/>
                    <a:pt x="1430" y="918"/>
                  </a:cubicBezTo>
                  <a:cubicBezTo>
                    <a:pt x="1442" y="909"/>
                    <a:pt x="1442" y="909"/>
                    <a:pt x="1442" y="909"/>
                  </a:cubicBezTo>
                  <a:cubicBezTo>
                    <a:pt x="1442" y="909"/>
                    <a:pt x="1456" y="914"/>
                    <a:pt x="1461" y="912"/>
                  </a:cubicBezTo>
                  <a:cubicBezTo>
                    <a:pt x="1464" y="910"/>
                    <a:pt x="1460" y="906"/>
                    <a:pt x="1461" y="903"/>
                  </a:cubicBezTo>
                  <a:cubicBezTo>
                    <a:pt x="1462" y="902"/>
                    <a:pt x="1469" y="902"/>
                    <a:pt x="1469" y="902"/>
                  </a:cubicBezTo>
                  <a:cubicBezTo>
                    <a:pt x="1460" y="893"/>
                    <a:pt x="1460" y="893"/>
                    <a:pt x="1460" y="893"/>
                  </a:cubicBezTo>
                  <a:cubicBezTo>
                    <a:pt x="1460" y="893"/>
                    <a:pt x="1477" y="886"/>
                    <a:pt x="1479" y="884"/>
                  </a:cubicBezTo>
                  <a:cubicBezTo>
                    <a:pt x="1482" y="882"/>
                    <a:pt x="1478" y="875"/>
                    <a:pt x="1478" y="875"/>
                  </a:cubicBezTo>
                  <a:cubicBezTo>
                    <a:pt x="1478" y="875"/>
                    <a:pt x="1483" y="874"/>
                    <a:pt x="1488" y="872"/>
                  </a:cubicBezTo>
                  <a:cubicBezTo>
                    <a:pt x="1494" y="872"/>
                    <a:pt x="1494" y="878"/>
                    <a:pt x="1503" y="883"/>
                  </a:cubicBezTo>
                  <a:cubicBezTo>
                    <a:pt x="1511" y="887"/>
                    <a:pt x="1523" y="880"/>
                    <a:pt x="1532" y="876"/>
                  </a:cubicBezTo>
                  <a:cubicBezTo>
                    <a:pt x="1532" y="795"/>
                    <a:pt x="1532" y="795"/>
                    <a:pt x="1532" y="795"/>
                  </a:cubicBezTo>
                  <a:cubicBezTo>
                    <a:pt x="1522" y="796"/>
                    <a:pt x="1522" y="796"/>
                    <a:pt x="1522" y="796"/>
                  </a:cubicBezTo>
                  <a:cubicBezTo>
                    <a:pt x="1522" y="796"/>
                    <a:pt x="1526" y="792"/>
                    <a:pt x="1522" y="788"/>
                  </a:cubicBezTo>
                  <a:cubicBezTo>
                    <a:pt x="1520" y="785"/>
                    <a:pt x="1504" y="795"/>
                    <a:pt x="1504" y="795"/>
                  </a:cubicBezTo>
                  <a:cubicBezTo>
                    <a:pt x="1501" y="790"/>
                    <a:pt x="1501" y="790"/>
                    <a:pt x="1501" y="790"/>
                  </a:cubicBezTo>
                  <a:cubicBezTo>
                    <a:pt x="1509" y="767"/>
                    <a:pt x="1509" y="767"/>
                    <a:pt x="1509" y="767"/>
                  </a:cubicBezTo>
                  <a:cubicBezTo>
                    <a:pt x="1515" y="765"/>
                    <a:pt x="1515" y="765"/>
                    <a:pt x="1515" y="765"/>
                  </a:cubicBezTo>
                  <a:cubicBezTo>
                    <a:pt x="1517" y="743"/>
                    <a:pt x="1517" y="743"/>
                    <a:pt x="1517" y="743"/>
                  </a:cubicBezTo>
                  <a:cubicBezTo>
                    <a:pt x="1507" y="740"/>
                    <a:pt x="1507" y="740"/>
                    <a:pt x="1507" y="740"/>
                  </a:cubicBezTo>
                  <a:cubicBezTo>
                    <a:pt x="1502" y="742"/>
                    <a:pt x="1502" y="742"/>
                    <a:pt x="1502" y="742"/>
                  </a:cubicBezTo>
                  <a:cubicBezTo>
                    <a:pt x="1488" y="737"/>
                    <a:pt x="1488" y="737"/>
                    <a:pt x="1488" y="737"/>
                  </a:cubicBezTo>
                  <a:cubicBezTo>
                    <a:pt x="1488" y="737"/>
                    <a:pt x="1491" y="720"/>
                    <a:pt x="1491" y="718"/>
                  </a:cubicBezTo>
                  <a:cubicBezTo>
                    <a:pt x="1491" y="717"/>
                    <a:pt x="1485" y="715"/>
                    <a:pt x="1485" y="715"/>
                  </a:cubicBezTo>
                  <a:cubicBezTo>
                    <a:pt x="1496" y="707"/>
                    <a:pt x="1496" y="707"/>
                    <a:pt x="1496" y="707"/>
                  </a:cubicBezTo>
                  <a:cubicBezTo>
                    <a:pt x="1501" y="702"/>
                    <a:pt x="1501" y="702"/>
                    <a:pt x="1501" y="702"/>
                  </a:cubicBezTo>
                  <a:cubicBezTo>
                    <a:pt x="1510" y="701"/>
                    <a:pt x="1510" y="701"/>
                    <a:pt x="1510" y="701"/>
                  </a:cubicBezTo>
                  <a:cubicBezTo>
                    <a:pt x="1510" y="701"/>
                    <a:pt x="1516" y="692"/>
                    <a:pt x="1520" y="690"/>
                  </a:cubicBezTo>
                  <a:cubicBezTo>
                    <a:pt x="1524" y="688"/>
                    <a:pt x="1522" y="685"/>
                    <a:pt x="1517" y="681"/>
                  </a:cubicBezTo>
                  <a:cubicBezTo>
                    <a:pt x="1513" y="677"/>
                    <a:pt x="1511" y="683"/>
                    <a:pt x="1506" y="685"/>
                  </a:cubicBezTo>
                  <a:cubicBezTo>
                    <a:pt x="1503" y="686"/>
                    <a:pt x="1497" y="686"/>
                    <a:pt x="1497" y="686"/>
                  </a:cubicBezTo>
                  <a:cubicBezTo>
                    <a:pt x="1498" y="690"/>
                    <a:pt x="1498" y="690"/>
                    <a:pt x="1498" y="690"/>
                  </a:cubicBezTo>
                  <a:cubicBezTo>
                    <a:pt x="1482" y="695"/>
                    <a:pt x="1482" y="695"/>
                    <a:pt x="1482" y="695"/>
                  </a:cubicBezTo>
                  <a:cubicBezTo>
                    <a:pt x="1478" y="682"/>
                    <a:pt x="1478" y="682"/>
                    <a:pt x="1478" y="682"/>
                  </a:cubicBezTo>
                  <a:cubicBezTo>
                    <a:pt x="1478" y="682"/>
                    <a:pt x="1488" y="677"/>
                    <a:pt x="1483" y="674"/>
                  </a:cubicBezTo>
                  <a:cubicBezTo>
                    <a:pt x="1478" y="670"/>
                    <a:pt x="1472" y="682"/>
                    <a:pt x="1472" y="682"/>
                  </a:cubicBezTo>
                  <a:cubicBezTo>
                    <a:pt x="1466" y="681"/>
                    <a:pt x="1466" y="681"/>
                    <a:pt x="1466" y="681"/>
                  </a:cubicBezTo>
                  <a:cubicBezTo>
                    <a:pt x="1457" y="685"/>
                    <a:pt x="1457" y="685"/>
                    <a:pt x="1457" y="685"/>
                  </a:cubicBezTo>
                  <a:cubicBezTo>
                    <a:pt x="1460" y="679"/>
                    <a:pt x="1460" y="679"/>
                    <a:pt x="1460" y="679"/>
                  </a:cubicBezTo>
                  <a:cubicBezTo>
                    <a:pt x="1458" y="667"/>
                    <a:pt x="1458" y="667"/>
                    <a:pt x="1458" y="667"/>
                  </a:cubicBezTo>
                  <a:cubicBezTo>
                    <a:pt x="1446" y="669"/>
                    <a:pt x="1446" y="669"/>
                    <a:pt x="1446" y="669"/>
                  </a:cubicBezTo>
                  <a:cubicBezTo>
                    <a:pt x="1455" y="660"/>
                    <a:pt x="1455" y="660"/>
                    <a:pt x="1455" y="660"/>
                  </a:cubicBezTo>
                  <a:cubicBezTo>
                    <a:pt x="1451" y="658"/>
                    <a:pt x="1451" y="658"/>
                    <a:pt x="1451" y="658"/>
                  </a:cubicBezTo>
                  <a:cubicBezTo>
                    <a:pt x="1452" y="650"/>
                    <a:pt x="1452" y="650"/>
                    <a:pt x="1452" y="650"/>
                  </a:cubicBezTo>
                  <a:cubicBezTo>
                    <a:pt x="1465" y="650"/>
                    <a:pt x="1465" y="650"/>
                    <a:pt x="1465" y="650"/>
                  </a:cubicBezTo>
                  <a:cubicBezTo>
                    <a:pt x="1467" y="644"/>
                    <a:pt x="1467" y="644"/>
                    <a:pt x="1467" y="644"/>
                  </a:cubicBezTo>
                  <a:cubicBezTo>
                    <a:pt x="1476" y="646"/>
                    <a:pt x="1476" y="646"/>
                    <a:pt x="1476" y="646"/>
                  </a:cubicBezTo>
                  <a:cubicBezTo>
                    <a:pt x="1478" y="639"/>
                    <a:pt x="1478" y="639"/>
                    <a:pt x="1478" y="639"/>
                  </a:cubicBezTo>
                  <a:cubicBezTo>
                    <a:pt x="1486" y="627"/>
                    <a:pt x="1486" y="627"/>
                    <a:pt x="1486" y="627"/>
                  </a:cubicBezTo>
                  <a:cubicBezTo>
                    <a:pt x="1486" y="627"/>
                    <a:pt x="1489" y="636"/>
                    <a:pt x="1495" y="633"/>
                  </a:cubicBezTo>
                  <a:cubicBezTo>
                    <a:pt x="1500" y="631"/>
                    <a:pt x="1490" y="619"/>
                    <a:pt x="1490" y="619"/>
                  </a:cubicBezTo>
                  <a:cubicBezTo>
                    <a:pt x="1505" y="606"/>
                    <a:pt x="1505" y="606"/>
                    <a:pt x="1505" y="606"/>
                  </a:cubicBezTo>
                  <a:cubicBezTo>
                    <a:pt x="1501" y="599"/>
                    <a:pt x="1501" y="599"/>
                    <a:pt x="1501" y="599"/>
                  </a:cubicBezTo>
                  <a:cubicBezTo>
                    <a:pt x="1509" y="596"/>
                    <a:pt x="1509" y="596"/>
                    <a:pt x="1509" y="596"/>
                  </a:cubicBezTo>
                  <a:cubicBezTo>
                    <a:pt x="1515" y="584"/>
                    <a:pt x="1515" y="584"/>
                    <a:pt x="1515" y="584"/>
                  </a:cubicBezTo>
                  <a:cubicBezTo>
                    <a:pt x="1515" y="584"/>
                    <a:pt x="1521" y="584"/>
                    <a:pt x="1522" y="581"/>
                  </a:cubicBezTo>
                  <a:cubicBezTo>
                    <a:pt x="1524" y="578"/>
                    <a:pt x="1519" y="575"/>
                    <a:pt x="1519" y="575"/>
                  </a:cubicBezTo>
                  <a:cubicBezTo>
                    <a:pt x="1532" y="556"/>
                    <a:pt x="1532" y="556"/>
                    <a:pt x="1532" y="556"/>
                  </a:cubicBezTo>
                  <a:lnTo>
                    <a:pt x="1532" y="0"/>
                  </a:lnTo>
                  <a:close/>
                  <a:moveTo>
                    <a:pt x="375" y="778"/>
                  </a:moveTo>
                  <a:cubicBezTo>
                    <a:pt x="373" y="786"/>
                    <a:pt x="367" y="785"/>
                    <a:pt x="367" y="785"/>
                  </a:cubicBezTo>
                  <a:cubicBezTo>
                    <a:pt x="367" y="785"/>
                    <a:pt x="377" y="803"/>
                    <a:pt x="372" y="806"/>
                  </a:cubicBezTo>
                  <a:cubicBezTo>
                    <a:pt x="366" y="809"/>
                    <a:pt x="357" y="806"/>
                    <a:pt x="357" y="806"/>
                  </a:cubicBezTo>
                  <a:cubicBezTo>
                    <a:pt x="346" y="807"/>
                    <a:pt x="346" y="807"/>
                    <a:pt x="346" y="807"/>
                  </a:cubicBezTo>
                  <a:cubicBezTo>
                    <a:pt x="340" y="816"/>
                    <a:pt x="340" y="816"/>
                    <a:pt x="340" y="816"/>
                  </a:cubicBezTo>
                  <a:cubicBezTo>
                    <a:pt x="340" y="816"/>
                    <a:pt x="350" y="830"/>
                    <a:pt x="341" y="830"/>
                  </a:cubicBezTo>
                  <a:cubicBezTo>
                    <a:pt x="334" y="831"/>
                    <a:pt x="324" y="830"/>
                    <a:pt x="324" y="830"/>
                  </a:cubicBezTo>
                  <a:cubicBezTo>
                    <a:pt x="324" y="818"/>
                    <a:pt x="324" y="818"/>
                    <a:pt x="324" y="818"/>
                  </a:cubicBezTo>
                  <a:cubicBezTo>
                    <a:pt x="316" y="814"/>
                    <a:pt x="316" y="814"/>
                    <a:pt x="316" y="814"/>
                  </a:cubicBezTo>
                  <a:cubicBezTo>
                    <a:pt x="316" y="814"/>
                    <a:pt x="319" y="808"/>
                    <a:pt x="313" y="803"/>
                  </a:cubicBezTo>
                  <a:cubicBezTo>
                    <a:pt x="307" y="798"/>
                    <a:pt x="299" y="792"/>
                    <a:pt x="299" y="792"/>
                  </a:cubicBezTo>
                  <a:cubicBezTo>
                    <a:pt x="299" y="792"/>
                    <a:pt x="299" y="786"/>
                    <a:pt x="295" y="781"/>
                  </a:cubicBezTo>
                  <a:cubicBezTo>
                    <a:pt x="291" y="775"/>
                    <a:pt x="266" y="769"/>
                    <a:pt x="266" y="764"/>
                  </a:cubicBezTo>
                  <a:cubicBezTo>
                    <a:pt x="267" y="758"/>
                    <a:pt x="277" y="754"/>
                    <a:pt x="277" y="754"/>
                  </a:cubicBezTo>
                  <a:cubicBezTo>
                    <a:pt x="275" y="744"/>
                    <a:pt x="275" y="744"/>
                    <a:pt x="275" y="744"/>
                  </a:cubicBezTo>
                  <a:cubicBezTo>
                    <a:pt x="275" y="744"/>
                    <a:pt x="285" y="740"/>
                    <a:pt x="285" y="736"/>
                  </a:cubicBezTo>
                  <a:cubicBezTo>
                    <a:pt x="285" y="730"/>
                    <a:pt x="286" y="722"/>
                    <a:pt x="286" y="722"/>
                  </a:cubicBezTo>
                  <a:cubicBezTo>
                    <a:pt x="291" y="723"/>
                    <a:pt x="297" y="724"/>
                    <a:pt x="297" y="724"/>
                  </a:cubicBezTo>
                  <a:cubicBezTo>
                    <a:pt x="301" y="729"/>
                    <a:pt x="301" y="729"/>
                    <a:pt x="301" y="729"/>
                  </a:cubicBezTo>
                  <a:cubicBezTo>
                    <a:pt x="302" y="726"/>
                    <a:pt x="302" y="726"/>
                    <a:pt x="302" y="726"/>
                  </a:cubicBezTo>
                  <a:cubicBezTo>
                    <a:pt x="310" y="726"/>
                    <a:pt x="310" y="726"/>
                    <a:pt x="310" y="726"/>
                  </a:cubicBezTo>
                  <a:cubicBezTo>
                    <a:pt x="316" y="735"/>
                    <a:pt x="316" y="735"/>
                    <a:pt x="316" y="735"/>
                  </a:cubicBezTo>
                  <a:cubicBezTo>
                    <a:pt x="319" y="732"/>
                    <a:pt x="319" y="732"/>
                    <a:pt x="319" y="732"/>
                  </a:cubicBezTo>
                  <a:cubicBezTo>
                    <a:pt x="325" y="739"/>
                    <a:pt x="325" y="739"/>
                    <a:pt x="325" y="739"/>
                  </a:cubicBezTo>
                  <a:cubicBezTo>
                    <a:pt x="315" y="739"/>
                    <a:pt x="315" y="739"/>
                    <a:pt x="315" y="739"/>
                  </a:cubicBezTo>
                  <a:cubicBezTo>
                    <a:pt x="315" y="739"/>
                    <a:pt x="313" y="742"/>
                    <a:pt x="316" y="743"/>
                  </a:cubicBezTo>
                  <a:cubicBezTo>
                    <a:pt x="319" y="744"/>
                    <a:pt x="321" y="741"/>
                    <a:pt x="321" y="741"/>
                  </a:cubicBezTo>
                  <a:cubicBezTo>
                    <a:pt x="321" y="741"/>
                    <a:pt x="341" y="739"/>
                    <a:pt x="349" y="744"/>
                  </a:cubicBezTo>
                  <a:cubicBezTo>
                    <a:pt x="355" y="751"/>
                    <a:pt x="356" y="755"/>
                    <a:pt x="356" y="755"/>
                  </a:cubicBezTo>
                  <a:cubicBezTo>
                    <a:pt x="366" y="760"/>
                    <a:pt x="366" y="760"/>
                    <a:pt x="366" y="760"/>
                  </a:cubicBezTo>
                  <a:cubicBezTo>
                    <a:pt x="369" y="770"/>
                    <a:pt x="369" y="770"/>
                    <a:pt x="369" y="770"/>
                  </a:cubicBezTo>
                  <a:cubicBezTo>
                    <a:pt x="369" y="770"/>
                    <a:pt x="376" y="771"/>
                    <a:pt x="375" y="778"/>
                  </a:cubicBezTo>
                  <a:close/>
                  <a:moveTo>
                    <a:pt x="464" y="712"/>
                  </a:moveTo>
                  <a:cubicBezTo>
                    <a:pt x="462" y="717"/>
                    <a:pt x="462" y="724"/>
                    <a:pt x="462" y="724"/>
                  </a:cubicBezTo>
                  <a:cubicBezTo>
                    <a:pt x="449" y="726"/>
                    <a:pt x="449" y="726"/>
                    <a:pt x="449" y="726"/>
                  </a:cubicBezTo>
                  <a:cubicBezTo>
                    <a:pt x="449" y="726"/>
                    <a:pt x="454" y="717"/>
                    <a:pt x="446" y="708"/>
                  </a:cubicBezTo>
                  <a:cubicBezTo>
                    <a:pt x="437" y="698"/>
                    <a:pt x="425" y="697"/>
                    <a:pt x="425" y="697"/>
                  </a:cubicBezTo>
                  <a:cubicBezTo>
                    <a:pt x="408" y="694"/>
                    <a:pt x="408" y="694"/>
                    <a:pt x="408" y="694"/>
                  </a:cubicBezTo>
                  <a:cubicBezTo>
                    <a:pt x="388" y="677"/>
                    <a:pt x="388" y="677"/>
                    <a:pt x="388" y="677"/>
                  </a:cubicBezTo>
                  <a:cubicBezTo>
                    <a:pt x="398" y="683"/>
                    <a:pt x="398" y="683"/>
                    <a:pt x="398" y="683"/>
                  </a:cubicBezTo>
                  <a:cubicBezTo>
                    <a:pt x="401" y="683"/>
                    <a:pt x="401" y="683"/>
                    <a:pt x="401" y="683"/>
                  </a:cubicBezTo>
                  <a:cubicBezTo>
                    <a:pt x="401" y="674"/>
                    <a:pt x="401" y="674"/>
                    <a:pt x="401" y="674"/>
                  </a:cubicBezTo>
                  <a:cubicBezTo>
                    <a:pt x="392" y="669"/>
                    <a:pt x="392" y="669"/>
                    <a:pt x="392" y="669"/>
                  </a:cubicBezTo>
                  <a:cubicBezTo>
                    <a:pt x="389" y="667"/>
                    <a:pt x="389" y="667"/>
                    <a:pt x="389" y="667"/>
                  </a:cubicBezTo>
                  <a:cubicBezTo>
                    <a:pt x="381" y="658"/>
                    <a:pt x="381" y="658"/>
                    <a:pt x="381" y="658"/>
                  </a:cubicBezTo>
                  <a:cubicBezTo>
                    <a:pt x="373" y="650"/>
                    <a:pt x="373" y="650"/>
                    <a:pt x="373" y="650"/>
                  </a:cubicBezTo>
                  <a:cubicBezTo>
                    <a:pt x="375" y="650"/>
                    <a:pt x="375" y="650"/>
                    <a:pt x="375" y="650"/>
                  </a:cubicBezTo>
                  <a:cubicBezTo>
                    <a:pt x="384" y="656"/>
                    <a:pt x="384" y="656"/>
                    <a:pt x="384" y="656"/>
                  </a:cubicBezTo>
                  <a:cubicBezTo>
                    <a:pt x="386" y="661"/>
                    <a:pt x="386" y="661"/>
                    <a:pt x="386" y="661"/>
                  </a:cubicBezTo>
                  <a:cubicBezTo>
                    <a:pt x="401" y="669"/>
                    <a:pt x="401" y="669"/>
                    <a:pt x="401" y="669"/>
                  </a:cubicBezTo>
                  <a:cubicBezTo>
                    <a:pt x="401" y="666"/>
                    <a:pt x="401" y="666"/>
                    <a:pt x="401" y="666"/>
                  </a:cubicBezTo>
                  <a:cubicBezTo>
                    <a:pt x="395" y="658"/>
                    <a:pt x="395" y="658"/>
                    <a:pt x="395" y="658"/>
                  </a:cubicBezTo>
                  <a:cubicBezTo>
                    <a:pt x="399" y="658"/>
                    <a:pt x="399" y="658"/>
                    <a:pt x="399" y="658"/>
                  </a:cubicBezTo>
                  <a:cubicBezTo>
                    <a:pt x="385" y="646"/>
                    <a:pt x="385" y="646"/>
                    <a:pt x="385" y="646"/>
                  </a:cubicBezTo>
                  <a:cubicBezTo>
                    <a:pt x="398" y="653"/>
                    <a:pt x="398" y="653"/>
                    <a:pt x="398" y="653"/>
                  </a:cubicBezTo>
                  <a:cubicBezTo>
                    <a:pt x="385" y="638"/>
                    <a:pt x="385" y="638"/>
                    <a:pt x="385" y="638"/>
                  </a:cubicBezTo>
                  <a:cubicBezTo>
                    <a:pt x="385" y="638"/>
                    <a:pt x="401" y="649"/>
                    <a:pt x="402" y="653"/>
                  </a:cubicBezTo>
                  <a:cubicBezTo>
                    <a:pt x="404" y="656"/>
                    <a:pt x="411" y="662"/>
                    <a:pt x="413" y="663"/>
                  </a:cubicBezTo>
                  <a:cubicBezTo>
                    <a:pt x="414" y="663"/>
                    <a:pt x="414" y="660"/>
                    <a:pt x="414" y="660"/>
                  </a:cubicBezTo>
                  <a:cubicBezTo>
                    <a:pt x="414" y="660"/>
                    <a:pt x="407" y="656"/>
                    <a:pt x="408" y="654"/>
                  </a:cubicBezTo>
                  <a:cubicBezTo>
                    <a:pt x="409" y="651"/>
                    <a:pt x="422" y="660"/>
                    <a:pt x="422" y="650"/>
                  </a:cubicBezTo>
                  <a:cubicBezTo>
                    <a:pt x="423" y="641"/>
                    <a:pt x="411" y="632"/>
                    <a:pt x="411" y="632"/>
                  </a:cubicBezTo>
                  <a:cubicBezTo>
                    <a:pt x="405" y="632"/>
                    <a:pt x="405" y="632"/>
                    <a:pt x="405" y="632"/>
                  </a:cubicBezTo>
                  <a:cubicBezTo>
                    <a:pt x="397" y="629"/>
                    <a:pt x="397" y="629"/>
                    <a:pt x="397" y="629"/>
                  </a:cubicBezTo>
                  <a:cubicBezTo>
                    <a:pt x="393" y="629"/>
                    <a:pt x="393" y="629"/>
                    <a:pt x="393" y="629"/>
                  </a:cubicBezTo>
                  <a:cubicBezTo>
                    <a:pt x="404" y="643"/>
                    <a:pt x="404" y="643"/>
                    <a:pt x="404" y="643"/>
                  </a:cubicBezTo>
                  <a:cubicBezTo>
                    <a:pt x="404" y="643"/>
                    <a:pt x="374" y="620"/>
                    <a:pt x="376" y="618"/>
                  </a:cubicBezTo>
                  <a:cubicBezTo>
                    <a:pt x="379" y="615"/>
                    <a:pt x="385" y="620"/>
                    <a:pt x="385" y="620"/>
                  </a:cubicBezTo>
                  <a:cubicBezTo>
                    <a:pt x="385" y="620"/>
                    <a:pt x="390" y="618"/>
                    <a:pt x="393" y="619"/>
                  </a:cubicBezTo>
                  <a:cubicBezTo>
                    <a:pt x="397" y="619"/>
                    <a:pt x="407" y="625"/>
                    <a:pt x="407" y="625"/>
                  </a:cubicBezTo>
                  <a:cubicBezTo>
                    <a:pt x="407" y="625"/>
                    <a:pt x="421" y="622"/>
                    <a:pt x="426" y="632"/>
                  </a:cubicBezTo>
                  <a:cubicBezTo>
                    <a:pt x="433" y="642"/>
                    <a:pt x="424" y="654"/>
                    <a:pt x="429" y="657"/>
                  </a:cubicBezTo>
                  <a:cubicBezTo>
                    <a:pt x="433" y="660"/>
                    <a:pt x="440" y="670"/>
                    <a:pt x="440" y="670"/>
                  </a:cubicBezTo>
                  <a:cubicBezTo>
                    <a:pt x="447" y="670"/>
                    <a:pt x="447" y="670"/>
                    <a:pt x="447" y="670"/>
                  </a:cubicBezTo>
                  <a:cubicBezTo>
                    <a:pt x="448" y="677"/>
                    <a:pt x="448" y="677"/>
                    <a:pt x="448" y="677"/>
                  </a:cubicBezTo>
                  <a:cubicBezTo>
                    <a:pt x="448" y="677"/>
                    <a:pt x="466" y="682"/>
                    <a:pt x="468" y="692"/>
                  </a:cubicBezTo>
                  <a:cubicBezTo>
                    <a:pt x="470" y="702"/>
                    <a:pt x="467" y="707"/>
                    <a:pt x="464" y="712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65" name="Freeform 49"/>
            <p:cNvSpPr>
              <a:spLocks/>
            </p:cNvSpPr>
            <p:nvPr/>
          </p:nvSpPr>
          <p:spPr bwMode="auto">
            <a:xfrm>
              <a:off x="5309" y="3277"/>
              <a:ext cx="452" cy="108"/>
            </a:xfrm>
            <a:custGeom>
              <a:avLst/>
              <a:gdLst/>
              <a:ahLst/>
              <a:cxnLst>
                <a:cxn ang="0">
                  <a:pos x="333" y="80"/>
                </a:cxn>
                <a:cxn ang="0">
                  <a:pos x="333" y="30"/>
                </a:cxn>
                <a:cxn ang="0">
                  <a:pos x="319" y="13"/>
                </a:cxn>
                <a:cxn ang="0">
                  <a:pos x="224" y="11"/>
                </a:cxn>
                <a:cxn ang="0">
                  <a:pos x="122" y="0"/>
                </a:cxn>
                <a:cxn ang="0">
                  <a:pos x="78" y="7"/>
                </a:cxn>
                <a:cxn ang="0">
                  <a:pos x="66" y="29"/>
                </a:cxn>
                <a:cxn ang="0">
                  <a:pos x="15" y="68"/>
                </a:cxn>
                <a:cxn ang="0">
                  <a:pos x="0" y="80"/>
                </a:cxn>
                <a:cxn ang="0">
                  <a:pos x="333" y="80"/>
                </a:cxn>
              </a:cxnLst>
              <a:rect l="0" t="0" r="r" b="b"/>
              <a:pathLst>
                <a:path w="333" h="80">
                  <a:moveTo>
                    <a:pt x="333" y="80"/>
                  </a:moveTo>
                  <a:cubicBezTo>
                    <a:pt x="333" y="30"/>
                    <a:pt x="333" y="30"/>
                    <a:pt x="333" y="30"/>
                  </a:cubicBezTo>
                  <a:cubicBezTo>
                    <a:pt x="319" y="13"/>
                    <a:pt x="319" y="13"/>
                    <a:pt x="319" y="13"/>
                  </a:cubicBezTo>
                  <a:cubicBezTo>
                    <a:pt x="319" y="13"/>
                    <a:pt x="251" y="13"/>
                    <a:pt x="224" y="11"/>
                  </a:cubicBezTo>
                  <a:cubicBezTo>
                    <a:pt x="197" y="11"/>
                    <a:pt x="135" y="0"/>
                    <a:pt x="122" y="0"/>
                  </a:cubicBezTo>
                  <a:cubicBezTo>
                    <a:pt x="108" y="0"/>
                    <a:pt x="78" y="7"/>
                    <a:pt x="78" y="7"/>
                  </a:cubicBezTo>
                  <a:cubicBezTo>
                    <a:pt x="66" y="29"/>
                    <a:pt x="66" y="29"/>
                    <a:pt x="66" y="29"/>
                  </a:cubicBezTo>
                  <a:cubicBezTo>
                    <a:pt x="66" y="29"/>
                    <a:pt x="25" y="61"/>
                    <a:pt x="15" y="68"/>
                  </a:cubicBezTo>
                  <a:cubicBezTo>
                    <a:pt x="11" y="70"/>
                    <a:pt x="6" y="74"/>
                    <a:pt x="0" y="80"/>
                  </a:cubicBezTo>
                  <a:lnTo>
                    <a:pt x="333" y="8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66" name="Freeform 50"/>
            <p:cNvSpPr>
              <a:spLocks/>
            </p:cNvSpPr>
            <p:nvPr/>
          </p:nvSpPr>
          <p:spPr bwMode="auto">
            <a:xfrm>
              <a:off x="5123" y="3203"/>
              <a:ext cx="292" cy="182"/>
            </a:xfrm>
            <a:custGeom>
              <a:avLst/>
              <a:gdLst/>
              <a:ahLst/>
              <a:cxnLst>
                <a:cxn ang="0">
                  <a:pos x="5" y="128"/>
                </a:cxn>
                <a:cxn ang="0">
                  <a:pos x="7" y="134"/>
                </a:cxn>
                <a:cxn ang="0">
                  <a:pos x="137" y="134"/>
                </a:cxn>
                <a:cxn ang="0">
                  <a:pos x="152" y="122"/>
                </a:cxn>
                <a:cxn ang="0">
                  <a:pos x="203" y="83"/>
                </a:cxn>
                <a:cxn ang="0">
                  <a:pos x="215" y="61"/>
                </a:cxn>
                <a:cxn ang="0">
                  <a:pos x="158" y="0"/>
                </a:cxn>
                <a:cxn ang="0">
                  <a:pos x="76" y="109"/>
                </a:cxn>
                <a:cxn ang="0">
                  <a:pos x="49" y="110"/>
                </a:cxn>
                <a:cxn ang="0">
                  <a:pos x="42" y="105"/>
                </a:cxn>
                <a:cxn ang="0">
                  <a:pos x="34" y="109"/>
                </a:cxn>
                <a:cxn ang="0">
                  <a:pos x="30" y="109"/>
                </a:cxn>
                <a:cxn ang="0">
                  <a:pos x="18" y="99"/>
                </a:cxn>
                <a:cxn ang="0">
                  <a:pos x="5" y="107"/>
                </a:cxn>
                <a:cxn ang="0">
                  <a:pos x="0" y="110"/>
                </a:cxn>
                <a:cxn ang="0">
                  <a:pos x="3" y="120"/>
                </a:cxn>
                <a:cxn ang="0">
                  <a:pos x="5" y="128"/>
                </a:cxn>
              </a:cxnLst>
              <a:rect l="0" t="0" r="r" b="b"/>
              <a:pathLst>
                <a:path w="215" h="134">
                  <a:moveTo>
                    <a:pt x="5" y="128"/>
                  </a:moveTo>
                  <a:cubicBezTo>
                    <a:pt x="7" y="134"/>
                    <a:pt x="7" y="134"/>
                    <a:pt x="7" y="134"/>
                  </a:cubicBezTo>
                  <a:cubicBezTo>
                    <a:pt x="137" y="134"/>
                    <a:pt x="137" y="134"/>
                    <a:pt x="137" y="134"/>
                  </a:cubicBezTo>
                  <a:cubicBezTo>
                    <a:pt x="143" y="128"/>
                    <a:pt x="148" y="124"/>
                    <a:pt x="152" y="122"/>
                  </a:cubicBezTo>
                  <a:cubicBezTo>
                    <a:pt x="162" y="115"/>
                    <a:pt x="203" y="83"/>
                    <a:pt x="203" y="83"/>
                  </a:cubicBezTo>
                  <a:cubicBezTo>
                    <a:pt x="215" y="61"/>
                    <a:pt x="215" y="61"/>
                    <a:pt x="215" y="61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49" y="110"/>
                    <a:pt x="49" y="110"/>
                    <a:pt x="49" y="110"/>
                  </a:cubicBezTo>
                  <a:cubicBezTo>
                    <a:pt x="49" y="110"/>
                    <a:pt x="48" y="106"/>
                    <a:pt x="42" y="105"/>
                  </a:cubicBezTo>
                  <a:cubicBezTo>
                    <a:pt x="35" y="105"/>
                    <a:pt x="34" y="109"/>
                    <a:pt x="34" y="109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09"/>
                    <a:pt x="26" y="100"/>
                    <a:pt x="18" y="99"/>
                  </a:cubicBezTo>
                  <a:cubicBezTo>
                    <a:pt x="10" y="99"/>
                    <a:pt x="5" y="107"/>
                    <a:pt x="5" y="107"/>
                  </a:cubicBezTo>
                  <a:cubicBezTo>
                    <a:pt x="0" y="110"/>
                    <a:pt x="0" y="110"/>
                    <a:pt x="0" y="110"/>
                  </a:cubicBezTo>
                  <a:cubicBezTo>
                    <a:pt x="0" y="110"/>
                    <a:pt x="0" y="118"/>
                    <a:pt x="3" y="120"/>
                  </a:cubicBezTo>
                  <a:cubicBezTo>
                    <a:pt x="7" y="123"/>
                    <a:pt x="5" y="128"/>
                    <a:pt x="5" y="128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67" name="Freeform 51"/>
            <p:cNvSpPr>
              <a:spLocks/>
            </p:cNvSpPr>
            <p:nvPr/>
          </p:nvSpPr>
          <p:spPr bwMode="auto">
            <a:xfrm>
              <a:off x="5072" y="3298"/>
              <a:ext cx="60" cy="87"/>
            </a:xfrm>
            <a:custGeom>
              <a:avLst/>
              <a:gdLst/>
              <a:ahLst/>
              <a:cxnLst>
                <a:cxn ang="0">
                  <a:pos x="4" y="64"/>
                </a:cxn>
                <a:cxn ang="0">
                  <a:pos x="14" y="64"/>
                </a:cxn>
                <a:cxn ang="0">
                  <a:pos x="27" y="53"/>
                </a:cxn>
                <a:cxn ang="0">
                  <a:pos x="35" y="58"/>
                </a:cxn>
                <a:cxn ang="0">
                  <a:pos x="43" y="58"/>
                </a:cxn>
                <a:cxn ang="0">
                  <a:pos x="41" y="50"/>
                </a:cxn>
                <a:cxn ang="0">
                  <a:pos x="38" y="40"/>
                </a:cxn>
                <a:cxn ang="0">
                  <a:pos x="43" y="37"/>
                </a:cxn>
                <a:cxn ang="0">
                  <a:pos x="33" y="19"/>
                </a:cxn>
                <a:cxn ang="0">
                  <a:pos x="33" y="2"/>
                </a:cxn>
                <a:cxn ang="0">
                  <a:pos x="28" y="0"/>
                </a:cxn>
                <a:cxn ang="0">
                  <a:pos x="21" y="0"/>
                </a:cxn>
                <a:cxn ang="0">
                  <a:pos x="21" y="6"/>
                </a:cxn>
                <a:cxn ang="0">
                  <a:pos x="21" y="16"/>
                </a:cxn>
                <a:cxn ang="0">
                  <a:pos x="14" y="15"/>
                </a:cxn>
                <a:cxn ang="0">
                  <a:pos x="10" y="19"/>
                </a:cxn>
                <a:cxn ang="0">
                  <a:pos x="4" y="20"/>
                </a:cxn>
                <a:cxn ang="0">
                  <a:pos x="0" y="22"/>
                </a:cxn>
                <a:cxn ang="0">
                  <a:pos x="1" y="32"/>
                </a:cxn>
                <a:cxn ang="0">
                  <a:pos x="6" y="38"/>
                </a:cxn>
                <a:cxn ang="0">
                  <a:pos x="0" y="40"/>
                </a:cxn>
                <a:cxn ang="0">
                  <a:pos x="0" y="46"/>
                </a:cxn>
                <a:cxn ang="0">
                  <a:pos x="4" y="47"/>
                </a:cxn>
                <a:cxn ang="0">
                  <a:pos x="4" y="64"/>
                </a:cxn>
              </a:cxnLst>
              <a:rect l="0" t="0" r="r" b="b"/>
              <a:pathLst>
                <a:path w="45" h="64">
                  <a:moveTo>
                    <a:pt x="4" y="64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6" y="58"/>
                    <a:pt x="20" y="53"/>
                    <a:pt x="27" y="53"/>
                  </a:cubicBezTo>
                  <a:cubicBezTo>
                    <a:pt x="34" y="53"/>
                    <a:pt x="35" y="58"/>
                    <a:pt x="35" y="58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8"/>
                    <a:pt x="45" y="53"/>
                    <a:pt x="41" y="50"/>
                  </a:cubicBezTo>
                  <a:cubicBezTo>
                    <a:pt x="38" y="48"/>
                    <a:pt x="38" y="40"/>
                    <a:pt x="38" y="40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3" y="2"/>
                    <a:pt x="33" y="2"/>
                    <a:pt x="33" y="2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6"/>
                    <a:pt x="27" y="9"/>
                    <a:pt x="21" y="16"/>
                  </a:cubicBezTo>
                  <a:cubicBezTo>
                    <a:pt x="17" y="23"/>
                    <a:pt x="14" y="15"/>
                    <a:pt x="14" y="15"/>
                  </a:cubicBezTo>
                  <a:cubicBezTo>
                    <a:pt x="14" y="15"/>
                    <a:pt x="12" y="17"/>
                    <a:pt x="10" y="19"/>
                  </a:cubicBezTo>
                  <a:cubicBezTo>
                    <a:pt x="7" y="20"/>
                    <a:pt x="4" y="20"/>
                    <a:pt x="4" y="2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8" y="36"/>
                    <a:pt x="6" y="38"/>
                  </a:cubicBezTo>
                  <a:cubicBezTo>
                    <a:pt x="4" y="41"/>
                    <a:pt x="0" y="40"/>
                    <a:pt x="0" y="40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4" y="47"/>
                    <a:pt x="4" y="47"/>
                    <a:pt x="4" y="47"/>
                  </a:cubicBezTo>
                  <a:lnTo>
                    <a:pt x="4" y="6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68" name="Freeform 52"/>
            <p:cNvSpPr>
              <a:spLocks/>
            </p:cNvSpPr>
            <p:nvPr/>
          </p:nvSpPr>
          <p:spPr bwMode="auto">
            <a:xfrm>
              <a:off x="3380" y="1668"/>
              <a:ext cx="585" cy="483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solidFill>
              <a:srgbClr val="B6C5E5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69" name="Freeform 53"/>
            <p:cNvSpPr>
              <a:spLocks/>
            </p:cNvSpPr>
            <p:nvPr/>
          </p:nvSpPr>
          <p:spPr bwMode="auto">
            <a:xfrm>
              <a:off x="3725" y="1482"/>
              <a:ext cx="301" cy="228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70" name="Freeform 54"/>
            <p:cNvSpPr>
              <a:spLocks noEditPoints="1"/>
            </p:cNvSpPr>
            <p:nvPr/>
          </p:nvSpPr>
          <p:spPr bwMode="auto">
            <a:xfrm>
              <a:off x="1888" y="2519"/>
              <a:ext cx="856" cy="707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solidFill>
              <a:srgbClr val="B6C5E5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71" name="Freeform 55"/>
            <p:cNvSpPr>
              <a:spLocks noEditPoints="1"/>
            </p:cNvSpPr>
            <p:nvPr/>
          </p:nvSpPr>
          <p:spPr bwMode="auto">
            <a:xfrm>
              <a:off x="2931" y="2363"/>
              <a:ext cx="800" cy="919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solidFill>
              <a:srgbClr val="B6C5E5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72" name="Freeform 56"/>
            <p:cNvSpPr>
              <a:spLocks/>
            </p:cNvSpPr>
            <p:nvPr/>
          </p:nvSpPr>
          <p:spPr bwMode="auto">
            <a:xfrm>
              <a:off x="3299" y="2641"/>
              <a:ext cx="15" cy="14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7" y="8"/>
                </a:cxn>
                <a:cxn ang="0">
                  <a:pos x="9" y="2"/>
                </a:cxn>
                <a:cxn ang="0">
                  <a:pos x="7" y="1"/>
                </a:cxn>
                <a:cxn ang="0">
                  <a:pos x="4" y="4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2" y="10"/>
                </a:cxn>
              </a:cxnLst>
              <a:rect l="0" t="0" r="r" b="b"/>
              <a:pathLst>
                <a:path w="10" h="11">
                  <a:moveTo>
                    <a:pt x="2" y="10"/>
                  </a:moveTo>
                  <a:cubicBezTo>
                    <a:pt x="3" y="11"/>
                    <a:pt x="7" y="8"/>
                    <a:pt x="7" y="8"/>
                  </a:cubicBezTo>
                  <a:cubicBezTo>
                    <a:pt x="7" y="8"/>
                    <a:pt x="8" y="3"/>
                    <a:pt x="9" y="2"/>
                  </a:cubicBezTo>
                  <a:cubicBezTo>
                    <a:pt x="9" y="1"/>
                    <a:pt x="10" y="0"/>
                    <a:pt x="7" y="1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2" y="1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73" name="Freeform 57"/>
            <p:cNvSpPr>
              <a:spLocks/>
            </p:cNvSpPr>
            <p:nvPr/>
          </p:nvSpPr>
          <p:spPr bwMode="auto">
            <a:xfrm>
              <a:off x="2571" y="2722"/>
              <a:ext cx="27" cy="23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sp>
          <p:nvSpPr>
            <p:cNvPr id="174" name="Freeform 58"/>
            <p:cNvSpPr>
              <a:spLocks noEditPoints="1"/>
            </p:cNvSpPr>
            <p:nvPr/>
          </p:nvSpPr>
          <p:spPr bwMode="auto">
            <a:xfrm>
              <a:off x="2923" y="1652"/>
              <a:ext cx="517" cy="698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solidFill>
              <a:srgbClr val="B6C5E5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hangingPunct="0">
                <a:defRPr/>
              </a:pPr>
              <a:endParaRPr lang="de-DE">
                <a:ea typeface="ＭＳ Ｐゴシック" pitchFamily="-65" charset="-128"/>
                <a:cs typeface="+mn-cs"/>
              </a:endParaRPr>
            </a:p>
          </p:txBody>
        </p:sp>
        <p:grpSp>
          <p:nvGrpSpPr>
            <p:cNvPr id="3" name="Group 78"/>
            <p:cNvGrpSpPr>
              <a:grpSpLocks/>
            </p:cNvGrpSpPr>
            <p:nvPr/>
          </p:nvGrpSpPr>
          <p:grpSpPr bwMode="auto">
            <a:xfrm>
              <a:off x="3707" y="2417"/>
              <a:ext cx="297" cy="384"/>
              <a:chOff x="530" y="1638"/>
              <a:chExt cx="978" cy="1267"/>
            </a:xfrm>
            <a:grpFill/>
          </p:grpSpPr>
          <p:sp>
            <p:nvSpPr>
              <p:cNvPr id="176" name="Freeform 79"/>
              <p:cNvSpPr>
                <a:spLocks/>
              </p:cNvSpPr>
              <p:nvPr/>
            </p:nvSpPr>
            <p:spPr bwMode="auto">
              <a:xfrm>
                <a:off x="535" y="2413"/>
                <a:ext cx="392" cy="492"/>
              </a:xfrm>
              <a:custGeom>
                <a:avLst/>
                <a:gdLst/>
                <a:ahLst/>
                <a:cxnLst>
                  <a:cxn ang="0">
                    <a:pos x="60" y="0"/>
                  </a:cxn>
                  <a:cxn ang="0">
                    <a:pos x="59" y="9"/>
                  </a:cxn>
                  <a:cxn ang="0">
                    <a:pos x="44" y="9"/>
                  </a:cxn>
                  <a:cxn ang="0">
                    <a:pos x="34" y="2"/>
                  </a:cxn>
                  <a:cxn ang="0">
                    <a:pos x="32" y="13"/>
                  </a:cxn>
                  <a:cxn ang="0">
                    <a:pos x="49" y="36"/>
                  </a:cxn>
                  <a:cxn ang="0">
                    <a:pos x="30" y="32"/>
                  </a:cxn>
                  <a:cxn ang="0">
                    <a:pos x="13" y="43"/>
                  </a:cxn>
                  <a:cxn ang="0">
                    <a:pos x="15" y="70"/>
                  </a:cxn>
                  <a:cxn ang="0">
                    <a:pos x="2" y="78"/>
                  </a:cxn>
                  <a:cxn ang="0">
                    <a:pos x="3" y="108"/>
                  </a:cxn>
                  <a:cxn ang="0">
                    <a:pos x="9" y="108"/>
                  </a:cxn>
                  <a:cxn ang="0">
                    <a:pos x="9" y="127"/>
                  </a:cxn>
                  <a:cxn ang="0">
                    <a:pos x="0" y="133"/>
                  </a:cxn>
                  <a:cxn ang="0">
                    <a:pos x="0" y="144"/>
                  </a:cxn>
                  <a:cxn ang="0">
                    <a:pos x="7" y="148"/>
                  </a:cxn>
                  <a:cxn ang="0">
                    <a:pos x="19" y="136"/>
                  </a:cxn>
                  <a:cxn ang="0">
                    <a:pos x="28" y="138"/>
                  </a:cxn>
                  <a:cxn ang="0">
                    <a:pos x="25" y="159"/>
                  </a:cxn>
                  <a:cxn ang="0">
                    <a:pos x="34" y="165"/>
                  </a:cxn>
                  <a:cxn ang="0">
                    <a:pos x="47" y="163"/>
                  </a:cxn>
                  <a:cxn ang="0">
                    <a:pos x="49" y="170"/>
                  </a:cxn>
                  <a:cxn ang="0">
                    <a:pos x="72" y="189"/>
                  </a:cxn>
                  <a:cxn ang="0">
                    <a:pos x="72" y="199"/>
                  </a:cxn>
                  <a:cxn ang="0">
                    <a:pos x="82" y="205"/>
                  </a:cxn>
                  <a:cxn ang="0">
                    <a:pos x="93" y="208"/>
                  </a:cxn>
                  <a:cxn ang="0">
                    <a:pos x="91" y="193"/>
                  </a:cxn>
                  <a:cxn ang="0">
                    <a:pos x="87" y="174"/>
                  </a:cxn>
                  <a:cxn ang="0">
                    <a:pos x="82" y="172"/>
                  </a:cxn>
                  <a:cxn ang="0">
                    <a:pos x="116" y="106"/>
                  </a:cxn>
                  <a:cxn ang="0">
                    <a:pos x="121" y="108"/>
                  </a:cxn>
                  <a:cxn ang="0">
                    <a:pos x="121" y="121"/>
                  </a:cxn>
                  <a:cxn ang="0">
                    <a:pos x="135" y="129"/>
                  </a:cxn>
                  <a:cxn ang="0">
                    <a:pos x="145" y="122"/>
                  </a:cxn>
                  <a:cxn ang="0">
                    <a:pos x="140" y="116"/>
                  </a:cxn>
                  <a:cxn ang="0">
                    <a:pos x="130" y="96"/>
                  </a:cxn>
                  <a:cxn ang="0">
                    <a:pos x="138" y="90"/>
                  </a:cxn>
                  <a:cxn ang="0">
                    <a:pos x="146" y="90"/>
                  </a:cxn>
                  <a:cxn ang="0">
                    <a:pos x="153" y="92"/>
                  </a:cxn>
                  <a:cxn ang="0">
                    <a:pos x="158" y="83"/>
                  </a:cxn>
                  <a:cxn ang="0">
                    <a:pos x="164" y="78"/>
                  </a:cxn>
                  <a:cxn ang="0">
                    <a:pos x="166" y="66"/>
                  </a:cxn>
                  <a:cxn ang="0">
                    <a:pos x="153" y="63"/>
                  </a:cxn>
                  <a:cxn ang="0">
                    <a:pos x="120" y="47"/>
                  </a:cxn>
                  <a:cxn ang="0">
                    <a:pos x="109" y="43"/>
                  </a:cxn>
                  <a:cxn ang="0">
                    <a:pos x="94" y="30"/>
                  </a:cxn>
                  <a:cxn ang="0">
                    <a:pos x="78" y="19"/>
                  </a:cxn>
                  <a:cxn ang="0">
                    <a:pos x="66" y="10"/>
                  </a:cxn>
                  <a:cxn ang="0">
                    <a:pos x="60" y="0"/>
                  </a:cxn>
                </a:cxnLst>
                <a:rect l="0" t="0" r="r" b="b"/>
                <a:pathLst>
                  <a:path w="166" h="208">
                    <a:moveTo>
                      <a:pt x="60" y="0"/>
                    </a:moveTo>
                    <a:cubicBezTo>
                      <a:pt x="59" y="9"/>
                      <a:pt x="59" y="9"/>
                      <a:pt x="59" y="9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53" y="30"/>
                      <a:pt x="49" y="36"/>
                    </a:cubicBezTo>
                    <a:cubicBezTo>
                      <a:pt x="44" y="42"/>
                      <a:pt x="36" y="32"/>
                      <a:pt x="30" y="32"/>
                    </a:cubicBezTo>
                    <a:cubicBezTo>
                      <a:pt x="21" y="32"/>
                      <a:pt x="15" y="40"/>
                      <a:pt x="13" y="43"/>
                    </a:cubicBezTo>
                    <a:cubicBezTo>
                      <a:pt x="9" y="49"/>
                      <a:pt x="19" y="66"/>
                      <a:pt x="15" y="70"/>
                    </a:cubicBezTo>
                    <a:cubicBezTo>
                      <a:pt x="11" y="72"/>
                      <a:pt x="6" y="72"/>
                      <a:pt x="2" y="78"/>
                    </a:cubicBezTo>
                    <a:cubicBezTo>
                      <a:pt x="0" y="83"/>
                      <a:pt x="3" y="108"/>
                      <a:pt x="3" y="108"/>
                    </a:cubicBezTo>
                    <a:cubicBezTo>
                      <a:pt x="9" y="108"/>
                      <a:pt x="9" y="108"/>
                      <a:pt x="9" y="108"/>
                    </a:cubicBezTo>
                    <a:cubicBezTo>
                      <a:pt x="9" y="127"/>
                      <a:pt x="9" y="127"/>
                      <a:pt x="9" y="127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8"/>
                      <a:pt x="7" y="148"/>
                      <a:pt x="7" y="148"/>
                    </a:cubicBezTo>
                    <a:cubicBezTo>
                      <a:pt x="19" y="136"/>
                      <a:pt x="19" y="136"/>
                      <a:pt x="19" y="136"/>
                    </a:cubicBezTo>
                    <a:cubicBezTo>
                      <a:pt x="28" y="138"/>
                      <a:pt x="28" y="138"/>
                      <a:pt x="28" y="138"/>
                    </a:cubicBezTo>
                    <a:cubicBezTo>
                      <a:pt x="25" y="159"/>
                      <a:pt x="25" y="159"/>
                      <a:pt x="25" y="159"/>
                    </a:cubicBezTo>
                    <a:cubicBezTo>
                      <a:pt x="34" y="165"/>
                      <a:pt x="34" y="165"/>
                      <a:pt x="34" y="165"/>
                    </a:cubicBezTo>
                    <a:cubicBezTo>
                      <a:pt x="47" y="163"/>
                      <a:pt x="47" y="163"/>
                      <a:pt x="47" y="163"/>
                    </a:cubicBezTo>
                    <a:cubicBezTo>
                      <a:pt x="49" y="170"/>
                      <a:pt x="49" y="170"/>
                      <a:pt x="49" y="170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2" y="199"/>
                      <a:pt x="72" y="199"/>
                      <a:pt x="72" y="199"/>
                    </a:cubicBezTo>
                    <a:cubicBezTo>
                      <a:pt x="82" y="205"/>
                      <a:pt x="82" y="205"/>
                      <a:pt x="82" y="205"/>
                    </a:cubicBezTo>
                    <a:cubicBezTo>
                      <a:pt x="93" y="208"/>
                      <a:pt x="93" y="208"/>
                      <a:pt x="93" y="208"/>
                    </a:cubicBezTo>
                    <a:cubicBezTo>
                      <a:pt x="91" y="193"/>
                      <a:pt x="91" y="193"/>
                      <a:pt x="91" y="193"/>
                    </a:cubicBezTo>
                    <a:cubicBezTo>
                      <a:pt x="87" y="174"/>
                      <a:pt x="87" y="174"/>
                      <a:pt x="87" y="174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116" y="106"/>
                      <a:pt x="116" y="106"/>
                      <a:pt x="116" y="106"/>
                    </a:cubicBezTo>
                    <a:cubicBezTo>
                      <a:pt x="121" y="108"/>
                      <a:pt x="121" y="108"/>
                      <a:pt x="121" y="108"/>
                    </a:cubicBezTo>
                    <a:cubicBezTo>
                      <a:pt x="121" y="121"/>
                      <a:pt x="121" y="121"/>
                      <a:pt x="121" y="121"/>
                    </a:cubicBezTo>
                    <a:cubicBezTo>
                      <a:pt x="135" y="129"/>
                      <a:pt x="135" y="129"/>
                      <a:pt x="135" y="129"/>
                    </a:cubicBezTo>
                    <a:cubicBezTo>
                      <a:pt x="145" y="122"/>
                      <a:pt x="145" y="122"/>
                      <a:pt x="145" y="122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30" y="96"/>
                      <a:pt x="130" y="96"/>
                      <a:pt x="130" y="96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6" y="90"/>
                      <a:pt x="146" y="90"/>
                      <a:pt x="146" y="90"/>
                    </a:cubicBezTo>
                    <a:cubicBezTo>
                      <a:pt x="153" y="92"/>
                      <a:pt x="153" y="92"/>
                      <a:pt x="153" y="92"/>
                    </a:cubicBezTo>
                    <a:cubicBezTo>
                      <a:pt x="158" y="83"/>
                      <a:pt x="158" y="83"/>
                      <a:pt x="158" y="83"/>
                    </a:cubicBezTo>
                    <a:cubicBezTo>
                      <a:pt x="164" y="78"/>
                      <a:pt x="164" y="78"/>
                      <a:pt x="164" y="78"/>
                    </a:cubicBezTo>
                    <a:cubicBezTo>
                      <a:pt x="166" y="66"/>
                      <a:pt x="166" y="66"/>
                      <a:pt x="166" y="66"/>
                    </a:cubicBezTo>
                    <a:cubicBezTo>
                      <a:pt x="153" y="63"/>
                      <a:pt x="153" y="63"/>
                      <a:pt x="153" y="63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09" y="43"/>
                      <a:pt x="109" y="43"/>
                      <a:pt x="109" y="43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66" y="10"/>
                      <a:pt x="66" y="10"/>
                      <a:pt x="66" y="10"/>
                    </a:cubicBezTo>
                    <a:lnTo>
                      <a:pt x="60" y="0"/>
                    </a:lnTo>
                    <a:close/>
                  </a:path>
                </a:pathLst>
              </a:custGeom>
              <a:grpFill/>
              <a:ln w="3175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-65" charset="-128"/>
                  <a:cs typeface="+mn-cs"/>
                </a:endParaRPr>
              </a:p>
            </p:txBody>
          </p:sp>
          <p:sp>
            <p:nvSpPr>
              <p:cNvPr id="177" name="Freeform 80"/>
              <p:cNvSpPr>
                <a:spLocks/>
              </p:cNvSpPr>
              <p:nvPr/>
            </p:nvSpPr>
            <p:spPr bwMode="auto">
              <a:xfrm>
                <a:off x="530" y="1638"/>
                <a:ext cx="978" cy="1262"/>
              </a:xfrm>
              <a:custGeom>
                <a:avLst/>
                <a:gdLst/>
                <a:ahLst/>
                <a:cxnLst>
                  <a:cxn ang="0">
                    <a:pos x="68" y="338"/>
                  </a:cxn>
                  <a:cxn ang="0">
                    <a:pos x="96" y="358"/>
                  </a:cxn>
                  <a:cxn ang="0">
                    <a:pos x="122" y="375"/>
                  </a:cxn>
                  <a:cxn ang="0">
                    <a:pos x="168" y="394"/>
                  </a:cxn>
                  <a:cxn ang="0">
                    <a:pos x="160" y="411"/>
                  </a:cxn>
                  <a:cxn ang="0">
                    <a:pos x="148" y="418"/>
                  </a:cxn>
                  <a:cxn ang="0">
                    <a:pos x="132" y="424"/>
                  </a:cxn>
                  <a:cxn ang="0">
                    <a:pos x="147" y="450"/>
                  </a:cxn>
                  <a:cxn ang="0">
                    <a:pos x="165" y="451"/>
                  </a:cxn>
                  <a:cxn ang="0">
                    <a:pos x="200" y="479"/>
                  </a:cxn>
                  <a:cxn ang="0">
                    <a:pos x="209" y="534"/>
                  </a:cxn>
                  <a:cxn ang="0">
                    <a:pos x="224" y="497"/>
                  </a:cxn>
                  <a:cxn ang="0">
                    <a:pos x="253" y="476"/>
                  </a:cxn>
                  <a:cxn ang="0">
                    <a:pos x="285" y="464"/>
                  </a:cxn>
                  <a:cxn ang="0">
                    <a:pos x="327" y="451"/>
                  </a:cxn>
                  <a:cxn ang="0">
                    <a:pos x="359" y="442"/>
                  </a:cxn>
                  <a:cxn ang="0">
                    <a:pos x="382" y="426"/>
                  </a:cxn>
                  <a:cxn ang="0">
                    <a:pos x="374" y="394"/>
                  </a:cxn>
                  <a:cxn ang="0">
                    <a:pos x="372" y="377"/>
                  </a:cxn>
                  <a:cxn ang="0">
                    <a:pos x="397" y="364"/>
                  </a:cxn>
                  <a:cxn ang="0">
                    <a:pos x="393" y="313"/>
                  </a:cxn>
                  <a:cxn ang="0">
                    <a:pos x="357" y="284"/>
                  </a:cxn>
                  <a:cxn ang="0">
                    <a:pos x="346" y="239"/>
                  </a:cxn>
                  <a:cxn ang="0">
                    <a:pos x="357" y="218"/>
                  </a:cxn>
                  <a:cxn ang="0">
                    <a:pos x="350" y="203"/>
                  </a:cxn>
                  <a:cxn ang="0">
                    <a:pos x="350" y="180"/>
                  </a:cxn>
                  <a:cxn ang="0">
                    <a:pos x="361" y="173"/>
                  </a:cxn>
                  <a:cxn ang="0">
                    <a:pos x="334" y="152"/>
                  </a:cxn>
                  <a:cxn ang="0">
                    <a:pos x="296" y="167"/>
                  </a:cxn>
                  <a:cxn ang="0">
                    <a:pos x="258" y="157"/>
                  </a:cxn>
                  <a:cxn ang="0">
                    <a:pos x="251" y="146"/>
                  </a:cxn>
                  <a:cxn ang="0">
                    <a:pos x="236" y="135"/>
                  </a:cxn>
                  <a:cxn ang="0">
                    <a:pos x="220" y="102"/>
                  </a:cxn>
                  <a:cxn ang="0">
                    <a:pos x="201" y="99"/>
                  </a:cxn>
                  <a:cxn ang="0">
                    <a:pos x="179" y="69"/>
                  </a:cxn>
                  <a:cxn ang="0">
                    <a:pos x="175" y="42"/>
                  </a:cxn>
                  <a:cxn ang="0">
                    <a:pos x="148" y="27"/>
                  </a:cxn>
                  <a:cxn ang="0">
                    <a:pos x="139" y="21"/>
                  </a:cxn>
                  <a:cxn ang="0">
                    <a:pos x="116" y="2"/>
                  </a:cxn>
                  <a:cxn ang="0">
                    <a:pos x="80" y="12"/>
                  </a:cxn>
                  <a:cxn ang="0">
                    <a:pos x="49" y="21"/>
                  </a:cxn>
                  <a:cxn ang="0">
                    <a:pos x="17" y="33"/>
                  </a:cxn>
                  <a:cxn ang="0">
                    <a:pos x="0" y="50"/>
                  </a:cxn>
                  <a:cxn ang="0">
                    <a:pos x="5" y="87"/>
                  </a:cxn>
                  <a:cxn ang="0">
                    <a:pos x="15" y="101"/>
                  </a:cxn>
                  <a:cxn ang="0">
                    <a:pos x="36" y="125"/>
                  </a:cxn>
                  <a:cxn ang="0">
                    <a:pos x="57" y="131"/>
                  </a:cxn>
                  <a:cxn ang="0">
                    <a:pos x="27" y="140"/>
                  </a:cxn>
                  <a:cxn ang="0">
                    <a:pos x="61" y="167"/>
                  </a:cxn>
                  <a:cxn ang="0">
                    <a:pos x="49" y="197"/>
                  </a:cxn>
                  <a:cxn ang="0">
                    <a:pos x="40" y="224"/>
                  </a:cxn>
                  <a:cxn ang="0">
                    <a:pos x="61" y="241"/>
                  </a:cxn>
                  <a:cxn ang="0">
                    <a:pos x="80" y="279"/>
                  </a:cxn>
                  <a:cxn ang="0">
                    <a:pos x="70" y="298"/>
                  </a:cxn>
                  <a:cxn ang="0">
                    <a:pos x="63" y="326"/>
                  </a:cxn>
                </a:cxnLst>
                <a:rect l="0" t="0" r="r" b="b"/>
                <a:pathLst>
                  <a:path w="414" h="534">
                    <a:moveTo>
                      <a:pt x="62" y="328"/>
                    </a:moveTo>
                    <a:cubicBezTo>
                      <a:pt x="68" y="338"/>
                      <a:pt x="68" y="338"/>
                      <a:pt x="68" y="338"/>
                    </a:cubicBezTo>
                    <a:cubicBezTo>
                      <a:pt x="80" y="347"/>
                      <a:pt x="80" y="347"/>
                      <a:pt x="80" y="347"/>
                    </a:cubicBezTo>
                    <a:cubicBezTo>
                      <a:pt x="96" y="358"/>
                      <a:pt x="96" y="358"/>
                      <a:pt x="96" y="358"/>
                    </a:cubicBezTo>
                    <a:cubicBezTo>
                      <a:pt x="111" y="371"/>
                      <a:pt x="111" y="371"/>
                      <a:pt x="111" y="371"/>
                    </a:cubicBezTo>
                    <a:cubicBezTo>
                      <a:pt x="122" y="375"/>
                      <a:pt x="122" y="375"/>
                      <a:pt x="122" y="375"/>
                    </a:cubicBezTo>
                    <a:cubicBezTo>
                      <a:pt x="155" y="391"/>
                      <a:pt x="155" y="391"/>
                      <a:pt x="155" y="391"/>
                    </a:cubicBezTo>
                    <a:cubicBezTo>
                      <a:pt x="168" y="394"/>
                      <a:pt x="168" y="394"/>
                      <a:pt x="168" y="394"/>
                    </a:cubicBezTo>
                    <a:cubicBezTo>
                      <a:pt x="166" y="406"/>
                      <a:pt x="166" y="406"/>
                      <a:pt x="166" y="406"/>
                    </a:cubicBezTo>
                    <a:cubicBezTo>
                      <a:pt x="160" y="411"/>
                      <a:pt x="160" y="411"/>
                      <a:pt x="160" y="411"/>
                    </a:cubicBezTo>
                    <a:cubicBezTo>
                      <a:pt x="155" y="420"/>
                      <a:pt x="155" y="420"/>
                      <a:pt x="155" y="420"/>
                    </a:cubicBezTo>
                    <a:cubicBezTo>
                      <a:pt x="148" y="418"/>
                      <a:pt x="148" y="418"/>
                      <a:pt x="148" y="418"/>
                    </a:cubicBezTo>
                    <a:cubicBezTo>
                      <a:pt x="140" y="418"/>
                      <a:pt x="140" y="418"/>
                      <a:pt x="140" y="418"/>
                    </a:cubicBezTo>
                    <a:cubicBezTo>
                      <a:pt x="132" y="424"/>
                      <a:pt x="132" y="424"/>
                      <a:pt x="132" y="424"/>
                    </a:cubicBezTo>
                    <a:cubicBezTo>
                      <a:pt x="142" y="444"/>
                      <a:pt x="142" y="444"/>
                      <a:pt x="142" y="444"/>
                    </a:cubicBezTo>
                    <a:cubicBezTo>
                      <a:pt x="147" y="450"/>
                      <a:pt x="147" y="450"/>
                      <a:pt x="147" y="450"/>
                    </a:cubicBezTo>
                    <a:cubicBezTo>
                      <a:pt x="156" y="443"/>
                      <a:pt x="156" y="443"/>
                      <a:pt x="156" y="443"/>
                    </a:cubicBezTo>
                    <a:cubicBezTo>
                      <a:pt x="156" y="443"/>
                      <a:pt x="161" y="447"/>
                      <a:pt x="165" y="451"/>
                    </a:cubicBezTo>
                    <a:cubicBezTo>
                      <a:pt x="169" y="457"/>
                      <a:pt x="171" y="470"/>
                      <a:pt x="171" y="470"/>
                    </a:cubicBezTo>
                    <a:cubicBezTo>
                      <a:pt x="171" y="470"/>
                      <a:pt x="192" y="472"/>
                      <a:pt x="200" y="479"/>
                    </a:cubicBezTo>
                    <a:cubicBezTo>
                      <a:pt x="207" y="489"/>
                      <a:pt x="213" y="508"/>
                      <a:pt x="213" y="508"/>
                    </a:cubicBezTo>
                    <a:cubicBezTo>
                      <a:pt x="209" y="534"/>
                      <a:pt x="209" y="534"/>
                      <a:pt x="209" y="534"/>
                    </a:cubicBezTo>
                    <a:cubicBezTo>
                      <a:pt x="228" y="523"/>
                      <a:pt x="228" y="523"/>
                      <a:pt x="228" y="523"/>
                    </a:cubicBezTo>
                    <a:cubicBezTo>
                      <a:pt x="228" y="523"/>
                      <a:pt x="220" y="504"/>
                      <a:pt x="224" y="497"/>
                    </a:cubicBezTo>
                    <a:cubicBezTo>
                      <a:pt x="230" y="487"/>
                      <a:pt x="243" y="487"/>
                      <a:pt x="243" y="487"/>
                    </a:cubicBezTo>
                    <a:cubicBezTo>
                      <a:pt x="253" y="476"/>
                      <a:pt x="253" y="476"/>
                      <a:pt x="253" y="476"/>
                    </a:cubicBezTo>
                    <a:cubicBezTo>
                      <a:pt x="270" y="493"/>
                      <a:pt x="270" y="493"/>
                      <a:pt x="270" y="493"/>
                    </a:cubicBezTo>
                    <a:cubicBezTo>
                      <a:pt x="285" y="464"/>
                      <a:pt x="285" y="464"/>
                      <a:pt x="285" y="464"/>
                    </a:cubicBezTo>
                    <a:cubicBezTo>
                      <a:pt x="285" y="464"/>
                      <a:pt x="296" y="466"/>
                      <a:pt x="304" y="464"/>
                    </a:cubicBezTo>
                    <a:cubicBezTo>
                      <a:pt x="314" y="464"/>
                      <a:pt x="327" y="451"/>
                      <a:pt x="327" y="451"/>
                    </a:cubicBezTo>
                    <a:cubicBezTo>
                      <a:pt x="346" y="455"/>
                      <a:pt x="346" y="455"/>
                      <a:pt x="346" y="455"/>
                    </a:cubicBezTo>
                    <a:cubicBezTo>
                      <a:pt x="359" y="442"/>
                      <a:pt x="359" y="442"/>
                      <a:pt x="359" y="442"/>
                    </a:cubicBezTo>
                    <a:cubicBezTo>
                      <a:pt x="367" y="447"/>
                      <a:pt x="367" y="447"/>
                      <a:pt x="367" y="447"/>
                    </a:cubicBezTo>
                    <a:cubicBezTo>
                      <a:pt x="382" y="426"/>
                      <a:pt x="382" y="426"/>
                      <a:pt x="382" y="426"/>
                    </a:cubicBezTo>
                    <a:cubicBezTo>
                      <a:pt x="367" y="411"/>
                      <a:pt x="367" y="411"/>
                      <a:pt x="367" y="411"/>
                    </a:cubicBezTo>
                    <a:cubicBezTo>
                      <a:pt x="374" y="394"/>
                      <a:pt x="374" y="394"/>
                      <a:pt x="374" y="394"/>
                    </a:cubicBezTo>
                    <a:cubicBezTo>
                      <a:pt x="363" y="390"/>
                      <a:pt x="363" y="390"/>
                      <a:pt x="363" y="390"/>
                    </a:cubicBezTo>
                    <a:cubicBezTo>
                      <a:pt x="363" y="390"/>
                      <a:pt x="363" y="383"/>
                      <a:pt x="372" y="377"/>
                    </a:cubicBezTo>
                    <a:cubicBezTo>
                      <a:pt x="378" y="371"/>
                      <a:pt x="386" y="375"/>
                      <a:pt x="392" y="373"/>
                    </a:cubicBezTo>
                    <a:cubicBezTo>
                      <a:pt x="395" y="371"/>
                      <a:pt x="397" y="364"/>
                      <a:pt x="397" y="364"/>
                    </a:cubicBezTo>
                    <a:cubicBezTo>
                      <a:pt x="414" y="336"/>
                      <a:pt x="414" y="336"/>
                      <a:pt x="414" y="336"/>
                    </a:cubicBezTo>
                    <a:cubicBezTo>
                      <a:pt x="414" y="336"/>
                      <a:pt x="405" y="319"/>
                      <a:pt x="393" y="313"/>
                    </a:cubicBezTo>
                    <a:cubicBezTo>
                      <a:pt x="386" y="307"/>
                      <a:pt x="363" y="301"/>
                      <a:pt x="363" y="301"/>
                    </a:cubicBezTo>
                    <a:cubicBezTo>
                      <a:pt x="357" y="284"/>
                      <a:pt x="357" y="284"/>
                      <a:pt x="357" y="284"/>
                    </a:cubicBezTo>
                    <a:cubicBezTo>
                      <a:pt x="342" y="267"/>
                      <a:pt x="342" y="267"/>
                      <a:pt x="342" y="267"/>
                    </a:cubicBezTo>
                    <a:cubicBezTo>
                      <a:pt x="346" y="239"/>
                      <a:pt x="346" y="239"/>
                      <a:pt x="346" y="239"/>
                    </a:cubicBezTo>
                    <a:cubicBezTo>
                      <a:pt x="346" y="239"/>
                      <a:pt x="352" y="237"/>
                      <a:pt x="355" y="233"/>
                    </a:cubicBezTo>
                    <a:cubicBezTo>
                      <a:pt x="359" y="228"/>
                      <a:pt x="357" y="218"/>
                      <a:pt x="357" y="218"/>
                    </a:cubicBezTo>
                    <a:cubicBezTo>
                      <a:pt x="357" y="218"/>
                      <a:pt x="365" y="209"/>
                      <a:pt x="363" y="203"/>
                    </a:cubicBezTo>
                    <a:cubicBezTo>
                      <a:pt x="361" y="195"/>
                      <a:pt x="350" y="203"/>
                      <a:pt x="350" y="203"/>
                    </a:cubicBezTo>
                    <a:cubicBezTo>
                      <a:pt x="344" y="180"/>
                      <a:pt x="344" y="180"/>
                      <a:pt x="344" y="180"/>
                    </a:cubicBezTo>
                    <a:cubicBezTo>
                      <a:pt x="350" y="180"/>
                      <a:pt x="350" y="180"/>
                      <a:pt x="350" y="180"/>
                    </a:cubicBezTo>
                    <a:cubicBezTo>
                      <a:pt x="353" y="169"/>
                      <a:pt x="353" y="169"/>
                      <a:pt x="353" y="169"/>
                    </a:cubicBezTo>
                    <a:cubicBezTo>
                      <a:pt x="361" y="173"/>
                      <a:pt x="361" y="173"/>
                      <a:pt x="361" y="173"/>
                    </a:cubicBezTo>
                    <a:cubicBezTo>
                      <a:pt x="363" y="165"/>
                      <a:pt x="363" y="165"/>
                      <a:pt x="363" y="165"/>
                    </a:cubicBezTo>
                    <a:cubicBezTo>
                      <a:pt x="363" y="165"/>
                      <a:pt x="352" y="156"/>
                      <a:pt x="334" y="152"/>
                    </a:cubicBezTo>
                    <a:cubicBezTo>
                      <a:pt x="321" y="152"/>
                      <a:pt x="319" y="186"/>
                      <a:pt x="312" y="186"/>
                    </a:cubicBezTo>
                    <a:cubicBezTo>
                      <a:pt x="304" y="188"/>
                      <a:pt x="304" y="171"/>
                      <a:pt x="296" y="167"/>
                    </a:cubicBezTo>
                    <a:cubicBezTo>
                      <a:pt x="291" y="161"/>
                      <a:pt x="283" y="175"/>
                      <a:pt x="274" y="171"/>
                    </a:cubicBezTo>
                    <a:cubicBezTo>
                      <a:pt x="266" y="169"/>
                      <a:pt x="262" y="159"/>
                      <a:pt x="258" y="157"/>
                    </a:cubicBezTo>
                    <a:cubicBezTo>
                      <a:pt x="253" y="156"/>
                      <a:pt x="236" y="152"/>
                      <a:pt x="236" y="152"/>
                    </a:cubicBezTo>
                    <a:cubicBezTo>
                      <a:pt x="251" y="146"/>
                      <a:pt x="251" y="146"/>
                      <a:pt x="251" y="146"/>
                    </a:cubicBezTo>
                    <a:cubicBezTo>
                      <a:pt x="253" y="138"/>
                      <a:pt x="253" y="138"/>
                      <a:pt x="253" y="138"/>
                    </a:cubicBezTo>
                    <a:cubicBezTo>
                      <a:pt x="236" y="135"/>
                      <a:pt x="236" y="135"/>
                      <a:pt x="236" y="135"/>
                    </a:cubicBezTo>
                    <a:cubicBezTo>
                      <a:pt x="236" y="135"/>
                      <a:pt x="245" y="121"/>
                      <a:pt x="245" y="106"/>
                    </a:cubicBezTo>
                    <a:cubicBezTo>
                      <a:pt x="243" y="91"/>
                      <a:pt x="220" y="102"/>
                      <a:pt x="220" y="102"/>
                    </a:cubicBezTo>
                    <a:cubicBezTo>
                      <a:pt x="211" y="95"/>
                      <a:pt x="211" y="95"/>
                      <a:pt x="211" y="95"/>
                    </a:cubicBezTo>
                    <a:cubicBezTo>
                      <a:pt x="201" y="99"/>
                      <a:pt x="201" y="99"/>
                      <a:pt x="201" y="99"/>
                    </a:cubicBezTo>
                    <a:cubicBezTo>
                      <a:pt x="173" y="78"/>
                      <a:pt x="173" y="78"/>
                      <a:pt x="173" y="78"/>
                    </a:cubicBezTo>
                    <a:cubicBezTo>
                      <a:pt x="179" y="69"/>
                      <a:pt x="179" y="69"/>
                      <a:pt x="179" y="69"/>
                    </a:cubicBezTo>
                    <a:cubicBezTo>
                      <a:pt x="169" y="63"/>
                      <a:pt x="169" y="63"/>
                      <a:pt x="169" y="63"/>
                    </a:cubicBezTo>
                    <a:cubicBezTo>
                      <a:pt x="175" y="42"/>
                      <a:pt x="175" y="42"/>
                      <a:pt x="175" y="42"/>
                    </a:cubicBezTo>
                    <a:cubicBezTo>
                      <a:pt x="175" y="42"/>
                      <a:pt x="163" y="48"/>
                      <a:pt x="158" y="48"/>
                    </a:cubicBezTo>
                    <a:cubicBezTo>
                      <a:pt x="150" y="48"/>
                      <a:pt x="148" y="27"/>
                      <a:pt x="148" y="27"/>
                    </a:cubicBezTo>
                    <a:cubicBezTo>
                      <a:pt x="144" y="27"/>
                      <a:pt x="144" y="27"/>
                      <a:pt x="144" y="27"/>
                    </a:cubicBezTo>
                    <a:cubicBezTo>
                      <a:pt x="139" y="21"/>
                      <a:pt x="139" y="21"/>
                      <a:pt x="139" y="21"/>
                    </a:cubicBezTo>
                    <a:cubicBezTo>
                      <a:pt x="129" y="23"/>
                      <a:pt x="129" y="23"/>
                      <a:pt x="129" y="23"/>
                    </a:cubicBezTo>
                    <a:cubicBezTo>
                      <a:pt x="116" y="2"/>
                      <a:pt x="116" y="2"/>
                      <a:pt x="116" y="2"/>
                    </a:cubicBezTo>
                    <a:cubicBezTo>
                      <a:pt x="101" y="2"/>
                      <a:pt x="101" y="2"/>
                      <a:pt x="101" y="2"/>
                    </a:cubicBezTo>
                    <a:cubicBezTo>
                      <a:pt x="84" y="0"/>
                      <a:pt x="80" y="12"/>
                      <a:pt x="80" y="12"/>
                    </a:cubicBezTo>
                    <a:cubicBezTo>
                      <a:pt x="80" y="12"/>
                      <a:pt x="72" y="6"/>
                      <a:pt x="66" y="6"/>
                    </a:cubicBezTo>
                    <a:cubicBezTo>
                      <a:pt x="63" y="6"/>
                      <a:pt x="53" y="15"/>
                      <a:pt x="49" y="21"/>
                    </a:cubicBezTo>
                    <a:cubicBezTo>
                      <a:pt x="44" y="27"/>
                      <a:pt x="27" y="36"/>
                      <a:pt x="27" y="36"/>
                    </a:cubicBezTo>
                    <a:cubicBezTo>
                      <a:pt x="17" y="33"/>
                      <a:pt x="17" y="33"/>
                      <a:pt x="17" y="33"/>
                    </a:cubicBezTo>
                    <a:cubicBezTo>
                      <a:pt x="15" y="40"/>
                      <a:pt x="15" y="40"/>
                      <a:pt x="15" y="40"/>
                    </a:cubicBezTo>
                    <a:cubicBezTo>
                      <a:pt x="0" y="50"/>
                      <a:pt x="0" y="50"/>
                      <a:pt x="0" y="50"/>
                    </a:cubicBezTo>
                    <a:cubicBezTo>
                      <a:pt x="5" y="55"/>
                      <a:pt x="9" y="61"/>
                      <a:pt x="9" y="63"/>
                    </a:cubicBezTo>
                    <a:cubicBezTo>
                      <a:pt x="9" y="72"/>
                      <a:pt x="0" y="82"/>
                      <a:pt x="5" y="87"/>
                    </a:cubicBezTo>
                    <a:cubicBezTo>
                      <a:pt x="11" y="97"/>
                      <a:pt x="11" y="87"/>
                      <a:pt x="19" y="85"/>
                    </a:cubicBezTo>
                    <a:cubicBezTo>
                      <a:pt x="30" y="85"/>
                      <a:pt x="27" y="97"/>
                      <a:pt x="15" y="101"/>
                    </a:cubicBezTo>
                    <a:cubicBezTo>
                      <a:pt x="5" y="105"/>
                      <a:pt x="15" y="112"/>
                      <a:pt x="15" y="112"/>
                    </a:cubicBezTo>
                    <a:cubicBezTo>
                      <a:pt x="36" y="125"/>
                      <a:pt x="36" y="125"/>
                      <a:pt x="36" y="125"/>
                    </a:cubicBezTo>
                    <a:cubicBezTo>
                      <a:pt x="57" y="125"/>
                      <a:pt x="57" y="125"/>
                      <a:pt x="57" y="125"/>
                    </a:cubicBezTo>
                    <a:cubicBezTo>
                      <a:pt x="57" y="131"/>
                      <a:pt x="57" y="131"/>
                      <a:pt x="57" y="131"/>
                    </a:cubicBezTo>
                    <a:cubicBezTo>
                      <a:pt x="36" y="131"/>
                      <a:pt x="36" y="131"/>
                      <a:pt x="36" y="131"/>
                    </a:cubicBezTo>
                    <a:cubicBezTo>
                      <a:pt x="27" y="140"/>
                      <a:pt x="27" y="140"/>
                      <a:pt x="27" y="140"/>
                    </a:cubicBezTo>
                    <a:cubicBezTo>
                      <a:pt x="32" y="163"/>
                      <a:pt x="32" y="163"/>
                      <a:pt x="32" y="163"/>
                    </a:cubicBezTo>
                    <a:cubicBezTo>
                      <a:pt x="61" y="167"/>
                      <a:pt x="61" y="167"/>
                      <a:pt x="61" y="167"/>
                    </a:cubicBezTo>
                    <a:cubicBezTo>
                      <a:pt x="55" y="173"/>
                      <a:pt x="55" y="173"/>
                      <a:pt x="55" y="173"/>
                    </a:cubicBezTo>
                    <a:cubicBezTo>
                      <a:pt x="55" y="173"/>
                      <a:pt x="53" y="190"/>
                      <a:pt x="49" y="197"/>
                    </a:cubicBezTo>
                    <a:cubicBezTo>
                      <a:pt x="46" y="205"/>
                      <a:pt x="38" y="216"/>
                      <a:pt x="38" y="216"/>
                    </a:cubicBezTo>
                    <a:cubicBezTo>
                      <a:pt x="40" y="224"/>
                      <a:pt x="40" y="224"/>
                      <a:pt x="40" y="224"/>
                    </a:cubicBezTo>
                    <a:cubicBezTo>
                      <a:pt x="40" y="224"/>
                      <a:pt x="32" y="237"/>
                      <a:pt x="38" y="239"/>
                    </a:cubicBezTo>
                    <a:cubicBezTo>
                      <a:pt x="46" y="241"/>
                      <a:pt x="61" y="241"/>
                      <a:pt x="61" y="241"/>
                    </a:cubicBezTo>
                    <a:cubicBezTo>
                      <a:pt x="89" y="264"/>
                      <a:pt x="89" y="264"/>
                      <a:pt x="89" y="264"/>
                    </a:cubicBezTo>
                    <a:cubicBezTo>
                      <a:pt x="89" y="264"/>
                      <a:pt x="89" y="279"/>
                      <a:pt x="80" y="279"/>
                    </a:cubicBezTo>
                    <a:cubicBezTo>
                      <a:pt x="70" y="279"/>
                      <a:pt x="55" y="277"/>
                      <a:pt x="55" y="277"/>
                    </a:cubicBezTo>
                    <a:cubicBezTo>
                      <a:pt x="70" y="298"/>
                      <a:pt x="70" y="298"/>
                      <a:pt x="70" y="298"/>
                    </a:cubicBezTo>
                    <a:cubicBezTo>
                      <a:pt x="70" y="298"/>
                      <a:pt x="95" y="320"/>
                      <a:pt x="82" y="326"/>
                    </a:cubicBezTo>
                    <a:cubicBezTo>
                      <a:pt x="72" y="336"/>
                      <a:pt x="63" y="326"/>
                      <a:pt x="63" y="326"/>
                    </a:cubicBezTo>
                    <a:lnTo>
                      <a:pt x="62" y="328"/>
                    </a:lnTo>
                    <a:close/>
                  </a:path>
                </a:pathLst>
              </a:custGeom>
              <a:grpFill/>
              <a:ln w="3175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-65" charset="-128"/>
                  <a:cs typeface="+mn-cs"/>
                </a:endParaRPr>
              </a:p>
            </p:txBody>
          </p:sp>
        </p:grpSp>
      </p:grpSp>
      <p:sp>
        <p:nvSpPr>
          <p:cNvPr id="31746" name="Rechteck 103"/>
          <p:cNvSpPr>
            <a:spLocks noChangeArrowheads="1"/>
          </p:cNvSpPr>
          <p:nvPr/>
        </p:nvSpPr>
        <p:spPr bwMode="auto">
          <a:xfrm>
            <a:off x="6142038" y="1741488"/>
            <a:ext cx="2481262" cy="4572000"/>
          </a:xfrm>
          <a:prstGeom prst="rect">
            <a:avLst/>
          </a:prstGeom>
          <a:solidFill>
            <a:schemeClr val="bg1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 eaLnBrk="0" hangingPunct="0"/>
            <a:endParaRPr lang="de-DE"/>
          </a:p>
        </p:txBody>
      </p:sp>
      <p:sp>
        <p:nvSpPr>
          <p:cNvPr id="31747" name="Text Box 151"/>
          <p:cNvSpPr txBox="1">
            <a:spLocks noChangeArrowheads="1"/>
          </p:cNvSpPr>
          <p:nvPr/>
        </p:nvSpPr>
        <p:spPr bwMode="auto">
          <a:xfrm>
            <a:off x="623888" y="2951163"/>
            <a:ext cx="1966912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17550" eaLnBrk="0" hangingPunct="0">
              <a:tabLst>
                <a:tab pos="361950" algn="l"/>
              </a:tabLst>
            </a:pPr>
            <a:r>
              <a:rPr lang="de-DE" sz="1200" b="1">
                <a:solidFill>
                  <a:srgbClr val="003E90"/>
                </a:solidFill>
                <a:latin typeface="Calibri" pitchFamily="34" charset="0"/>
              </a:rPr>
              <a:t>	France:</a:t>
            </a: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	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3 windfarms, </a:t>
            </a:r>
            <a:r>
              <a:rPr lang="de-DE" sz="1200" b="1">
                <a:solidFill>
                  <a:schemeClr val="bg2"/>
                </a:solidFill>
                <a:latin typeface="Calibri" pitchFamily="34" charset="0"/>
              </a:rPr>
              <a:t>39.5 MW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2 windfarms under construction, </a:t>
            </a:r>
            <a:r>
              <a:rPr lang="de-DE" sz="1200" b="1">
                <a:solidFill>
                  <a:schemeClr val="bg2"/>
                </a:solidFill>
                <a:latin typeface="Calibri" pitchFamily="34" charset="0"/>
              </a:rPr>
              <a:t>20 MW</a:t>
            </a:r>
          </a:p>
        </p:txBody>
      </p:sp>
      <p:sp>
        <p:nvSpPr>
          <p:cNvPr id="3174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b="1" dirty="0" smtClean="0">
                <a:latin typeface="Calibri" pitchFamily="34" charset="0"/>
                <a:cs typeface="Calibri" pitchFamily="34" charset="0"/>
              </a:rPr>
              <a:t>Operational wpd onshore projects Europe</a:t>
            </a:r>
          </a:p>
        </p:txBody>
      </p:sp>
      <p:sp>
        <p:nvSpPr>
          <p:cNvPr id="31749" name="Datumsplatzhalt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48615025-11B1-4513-BE90-4A7FD23A8C51}" type="datetime1">
              <a:rPr lang="de-DE" smtClean="0">
                <a:ea typeface="ＭＳ Ｐゴシック"/>
                <a:cs typeface="ＭＳ Ｐゴシック"/>
              </a:rPr>
              <a:pPr/>
              <a:t>12.10.2009</a:t>
            </a:fld>
            <a:endParaRPr lang="de-DE" smtClean="0">
              <a:ea typeface="ＭＳ Ｐゴシック"/>
              <a:cs typeface="ＭＳ Ｐゴシック"/>
            </a:endParaRPr>
          </a:p>
        </p:txBody>
      </p:sp>
      <p:sp>
        <p:nvSpPr>
          <p:cNvPr id="31750" name="Foliennummernplatzhalt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84D97BD1-3E03-44BB-A367-148B95DAE861}" type="slidenum">
              <a:rPr lang="de-DE" smtClean="0">
                <a:ea typeface="ＭＳ Ｐゴシック"/>
                <a:cs typeface="ＭＳ Ｐゴシック"/>
              </a:rPr>
              <a:pPr/>
              <a:t>3</a:t>
            </a:fld>
            <a:endParaRPr lang="de-DE" smtClean="0">
              <a:ea typeface="ＭＳ Ｐゴシック"/>
              <a:cs typeface="ＭＳ Ｐゴシック"/>
            </a:endParaRPr>
          </a:p>
        </p:txBody>
      </p:sp>
      <p:sp>
        <p:nvSpPr>
          <p:cNvPr id="31751" name="Oval 13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11438" y="5240338"/>
            <a:ext cx="46037" cy="46037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sp>
        <p:nvSpPr>
          <p:cNvPr id="31752" name="Text Box 151"/>
          <p:cNvSpPr txBox="1">
            <a:spLocks noChangeArrowheads="1"/>
          </p:cNvSpPr>
          <p:nvPr/>
        </p:nvSpPr>
        <p:spPr bwMode="auto">
          <a:xfrm>
            <a:off x="606425" y="5311775"/>
            <a:ext cx="1746250" cy="4572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17550" eaLnBrk="0" hangingPunct="0">
              <a:tabLst>
                <a:tab pos="271463" algn="l"/>
              </a:tabLst>
            </a:pPr>
            <a:r>
              <a:rPr lang="de-DE" sz="1200" b="1">
                <a:solidFill>
                  <a:srgbClr val="003E90"/>
                </a:solidFill>
                <a:latin typeface="Calibri" pitchFamily="34" charset="0"/>
              </a:rPr>
              <a:t>	Portugal:</a:t>
            </a: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	</a:t>
            </a:r>
          </a:p>
          <a:p>
            <a:pPr defTabSz="717550" eaLnBrk="0" hangingPunct="0">
              <a:tabLst>
                <a:tab pos="271463" algn="l"/>
              </a:tabLst>
            </a:pP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1 solarfarm, </a:t>
            </a:r>
            <a:r>
              <a:rPr lang="de-DE" sz="1200" b="1">
                <a:solidFill>
                  <a:schemeClr val="bg2"/>
                </a:solidFill>
                <a:latin typeface="Calibri" pitchFamily="34" charset="0"/>
              </a:rPr>
              <a:t>9 MWp</a:t>
            </a:r>
          </a:p>
        </p:txBody>
      </p:sp>
      <p:grpSp>
        <p:nvGrpSpPr>
          <p:cNvPr id="4" name="Gruppieren 209"/>
          <p:cNvGrpSpPr>
            <a:grpSpLocks/>
          </p:cNvGrpSpPr>
          <p:nvPr/>
        </p:nvGrpSpPr>
        <p:grpSpPr bwMode="auto">
          <a:xfrm>
            <a:off x="635000" y="4165600"/>
            <a:ext cx="1746250" cy="457200"/>
            <a:chOff x="37207" y="4165080"/>
            <a:chExt cx="1746012" cy="458481"/>
          </a:xfrm>
        </p:grpSpPr>
        <p:sp>
          <p:nvSpPr>
            <p:cNvPr id="31785" name="Text Box 151"/>
            <p:cNvSpPr txBox="1">
              <a:spLocks noChangeArrowheads="1"/>
            </p:cNvSpPr>
            <p:nvPr/>
          </p:nvSpPr>
          <p:spPr bwMode="auto">
            <a:xfrm>
              <a:off x="37207" y="4165080"/>
              <a:ext cx="1746012" cy="458481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defTabSz="717550" eaLnBrk="0" hangingPunct="0">
                <a:tabLst>
                  <a:tab pos="361950" algn="l"/>
                </a:tabLst>
              </a:pPr>
              <a:r>
                <a:rPr lang="de-DE" sz="1200" b="1">
                  <a:solidFill>
                    <a:srgbClr val="003E90"/>
                  </a:solidFill>
                  <a:latin typeface="Calibri" pitchFamily="34" charset="0"/>
                </a:rPr>
                <a:t>	Spain:</a:t>
              </a:r>
              <a:r>
                <a:rPr lang="de-DE" sz="1200">
                  <a:solidFill>
                    <a:schemeClr val="bg2"/>
                  </a:solidFill>
                  <a:latin typeface="Calibri" pitchFamily="34" charset="0"/>
                </a:rPr>
                <a:t>	</a:t>
              </a:r>
            </a:p>
            <a:p>
              <a:pPr defTabSz="717550" eaLnBrk="0" hangingPunct="0">
                <a:tabLst>
                  <a:tab pos="361950" algn="l"/>
                </a:tabLst>
              </a:pPr>
              <a:r>
                <a:rPr lang="de-DE" sz="1200">
                  <a:solidFill>
                    <a:schemeClr val="bg2"/>
                  </a:solidFill>
                  <a:latin typeface="Calibri" pitchFamily="34" charset="0"/>
                </a:rPr>
                <a:t>2 windfarms, </a:t>
              </a:r>
              <a:r>
                <a:rPr lang="de-DE" sz="1200" b="1">
                  <a:solidFill>
                    <a:schemeClr val="bg2"/>
                  </a:solidFill>
                  <a:latin typeface="Calibri" pitchFamily="34" charset="0"/>
                </a:rPr>
                <a:t>64.5 MW</a:t>
              </a:r>
            </a:p>
          </p:txBody>
        </p:sp>
        <p:pic>
          <p:nvPicPr>
            <p:cNvPr id="31786" name="Picture 119" descr="spanien"/>
            <p:cNvPicPr>
              <a:picLocks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32288" y="4216237"/>
              <a:ext cx="222164" cy="1309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31754" name="Gerade Verbindung 184"/>
          <p:cNvCxnSpPr>
            <a:cxnSpLocks noChangeShapeType="1"/>
          </p:cNvCxnSpPr>
          <p:nvPr/>
        </p:nvCxnSpPr>
        <p:spPr bwMode="auto">
          <a:xfrm rot="10800000" flipV="1">
            <a:off x="715963" y="5264150"/>
            <a:ext cx="1881187" cy="9525"/>
          </a:xfrm>
          <a:prstGeom prst="line">
            <a:avLst/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  <p:cxnSp>
        <p:nvCxnSpPr>
          <p:cNvPr id="31755" name="Gerade Verbindung 196"/>
          <p:cNvCxnSpPr>
            <a:cxnSpLocks noChangeShapeType="1"/>
          </p:cNvCxnSpPr>
          <p:nvPr/>
        </p:nvCxnSpPr>
        <p:spPr bwMode="auto">
          <a:xfrm>
            <a:off x="742950" y="4657725"/>
            <a:ext cx="2330450" cy="438150"/>
          </a:xfrm>
          <a:prstGeom prst="bentConnector3">
            <a:avLst>
              <a:gd name="adj1" fmla="val 93426"/>
            </a:avLst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  <p:sp>
        <p:nvSpPr>
          <p:cNvPr id="31756" name="Oval 13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082925" y="5072063"/>
            <a:ext cx="46038" cy="46037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pic>
        <p:nvPicPr>
          <p:cNvPr id="31757" name="Picture 120" descr="frankreich"/>
          <p:cNvPicPr>
            <a:picLocks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38188" y="2994025"/>
            <a:ext cx="220662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1758" name="Gerade Verbindung 196"/>
          <p:cNvCxnSpPr>
            <a:cxnSpLocks noChangeShapeType="1"/>
            <a:stCxn id="31747" idx="2"/>
            <a:endCxn id="31759" idx="0"/>
          </p:cNvCxnSpPr>
          <p:nvPr/>
        </p:nvCxnSpPr>
        <p:spPr bwMode="auto">
          <a:xfrm rot="16200000" flipH="1">
            <a:off x="2142332" y="3239294"/>
            <a:ext cx="855662" cy="1924050"/>
          </a:xfrm>
          <a:prstGeom prst="bentConnector3">
            <a:avLst>
              <a:gd name="adj1" fmla="val 49907"/>
            </a:avLst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  <p:sp>
        <p:nvSpPr>
          <p:cNvPr id="31759" name="Oval 13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08375" y="4629150"/>
            <a:ext cx="46038" cy="46038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sp>
        <p:nvSpPr>
          <p:cNvPr id="31764" name="Text Box 151"/>
          <p:cNvSpPr txBox="1">
            <a:spLocks noChangeArrowheads="1"/>
          </p:cNvSpPr>
          <p:nvPr/>
        </p:nvSpPr>
        <p:spPr bwMode="auto">
          <a:xfrm>
            <a:off x="3621088" y="5894388"/>
            <a:ext cx="1746250" cy="45720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17550" eaLnBrk="0" hangingPunct="0">
              <a:tabLst>
                <a:tab pos="361950" algn="l"/>
              </a:tabLst>
            </a:pPr>
            <a:r>
              <a:rPr lang="de-DE" sz="1200" b="1">
                <a:solidFill>
                  <a:srgbClr val="003E90"/>
                </a:solidFill>
                <a:latin typeface="Calibri" pitchFamily="34" charset="0"/>
              </a:rPr>
              <a:t>	Italy:</a:t>
            </a: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	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3 solarfarm, </a:t>
            </a:r>
            <a:r>
              <a:rPr lang="de-DE" sz="1200" b="1">
                <a:solidFill>
                  <a:schemeClr val="bg2"/>
                </a:solidFill>
                <a:latin typeface="Calibri" pitchFamily="34" charset="0"/>
              </a:rPr>
              <a:t>2.892 MWp</a:t>
            </a:r>
          </a:p>
        </p:txBody>
      </p:sp>
      <p:sp>
        <p:nvSpPr>
          <p:cNvPr id="31765" name="Text Box 151"/>
          <p:cNvSpPr txBox="1">
            <a:spLocks noChangeArrowheads="1"/>
          </p:cNvSpPr>
          <p:nvPr/>
        </p:nvSpPr>
        <p:spPr bwMode="auto">
          <a:xfrm>
            <a:off x="6597650" y="1671638"/>
            <a:ext cx="2012950" cy="6397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17550" eaLnBrk="0" hangingPunct="0">
              <a:tabLst>
                <a:tab pos="361950" algn="l"/>
              </a:tabLst>
            </a:pPr>
            <a:r>
              <a:rPr lang="de-DE" sz="1200" b="1">
                <a:solidFill>
                  <a:srgbClr val="003E90"/>
                </a:solidFill>
                <a:latin typeface="Calibri" pitchFamily="34" charset="0"/>
              </a:rPr>
              <a:t>	Sweden:</a:t>
            </a:r>
            <a:r>
              <a:rPr lang="de-DE" sz="1200" b="1">
                <a:solidFill>
                  <a:schemeClr val="bg2"/>
                </a:solidFill>
                <a:latin typeface="Calibri" pitchFamily="34" charset="0"/>
              </a:rPr>
              <a:t/>
            </a:r>
            <a:br>
              <a:rPr lang="de-DE" sz="1200" b="1">
                <a:solidFill>
                  <a:schemeClr val="bg2"/>
                </a:solidFill>
                <a:latin typeface="Calibri" pitchFamily="34" charset="0"/>
              </a:rPr>
            </a:b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1 windfarm under construction, </a:t>
            </a:r>
            <a:r>
              <a:rPr lang="de-DE" sz="1200" b="1">
                <a:solidFill>
                  <a:schemeClr val="bg2"/>
                </a:solidFill>
                <a:latin typeface="Calibri" pitchFamily="34" charset="0"/>
              </a:rPr>
              <a:t>4 MW</a:t>
            </a:r>
          </a:p>
        </p:txBody>
      </p:sp>
      <p:sp>
        <p:nvSpPr>
          <p:cNvPr id="31766" name="Text Box 151"/>
          <p:cNvSpPr txBox="1">
            <a:spLocks noChangeArrowheads="1"/>
          </p:cNvSpPr>
          <p:nvPr/>
        </p:nvSpPr>
        <p:spPr bwMode="auto">
          <a:xfrm>
            <a:off x="6418263" y="2647950"/>
            <a:ext cx="1595437" cy="6397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17550" eaLnBrk="0" hangingPunct="0">
              <a:tabLst>
                <a:tab pos="361950" algn="l"/>
              </a:tabLst>
            </a:pPr>
            <a:r>
              <a:rPr lang="de-DE" sz="1200" b="1">
                <a:solidFill>
                  <a:srgbClr val="003E90"/>
                </a:solidFill>
                <a:latin typeface="Calibri" pitchFamily="34" charset="0"/>
              </a:rPr>
              <a:t>	Belgium:</a:t>
            </a:r>
            <a:endParaRPr lang="de-DE" sz="1200">
              <a:solidFill>
                <a:schemeClr val="bg2"/>
              </a:solidFill>
              <a:latin typeface="Calibri" pitchFamily="34" charset="0"/>
            </a:endParaRPr>
          </a:p>
          <a:p>
            <a:pPr defTabSz="717550" eaLnBrk="0" hangingPunct="0">
              <a:tabLst>
                <a:tab pos="361950" algn="l"/>
              </a:tabLst>
            </a:pP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1 windfarm in operation, </a:t>
            </a:r>
            <a:r>
              <a:rPr lang="de-DE" sz="1200" b="1">
                <a:solidFill>
                  <a:schemeClr val="bg2"/>
                </a:solidFill>
                <a:latin typeface="Calibri" pitchFamily="34" charset="0"/>
              </a:rPr>
              <a:t>9 MW</a:t>
            </a:r>
            <a:endParaRPr lang="de-DE" sz="1200">
              <a:solidFill>
                <a:schemeClr val="bg2"/>
              </a:solidFill>
              <a:latin typeface="Calibri" pitchFamily="34" charset="0"/>
            </a:endParaRPr>
          </a:p>
        </p:txBody>
      </p:sp>
      <p:sp>
        <p:nvSpPr>
          <p:cNvPr id="31767" name="Text Box 151"/>
          <p:cNvSpPr txBox="1">
            <a:spLocks noChangeArrowheads="1"/>
          </p:cNvSpPr>
          <p:nvPr/>
        </p:nvSpPr>
        <p:spPr bwMode="auto">
          <a:xfrm>
            <a:off x="6418263" y="4948238"/>
            <a:ext cx="2209800" cy="822325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17550" eaLnBrk="0" hangingPunct="0">
              <a:tabLst>
                <a:tab pos="361950" algn="l"/>
              </a:tabLst>
            </a:pPr>
            <a:r>
              <a:rPr lang="de-DE" sz="1200" b="1">
                <a:solidFill>
                  <a:srgbClr val="003E90"/>
                </a:solidFill>
                <a:latin typeface="Calibri" pitchFamily="34" charset="0"/>
              </a:rPr>
              <a:t>	Croatia:</a:t>
            </a:r>
            <a:endParaRPr lang="de-DE" sz="1200">
              <a:solidFill>
                <a:schemeClr val="bg2"/>
              </a:solidFill>
              <a:latin typeface="Calibri" pitchFamily="34" charset="0"/>
            </a:endParaRPr>
          </a:p>
          <a:p>
            <a:pPr defTabSz="717550" eaLnBrk="0" hangingPunct="0">
              <a:tabLst>
                <a:tab pos="361950" algn="l"/>
              </a:tabLst>
            </a:pP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1 windfarm i.o., </a:t>
            </a:r>
            <a:r>
              <a:rPr lang="de-DE" sz="1200" b="1">
                <a:solidFill>
                  <a:schemeClr val="bg2"/>
                </a:solidFill>
                <a:latin typeface="Calibri" pitchFamily="34" charset="0"/>
              </a:rPr>
              <a:t>11.9 MW</a:t>
            </a:r>
            <a:br>
              <a:rPr lang="de-DE" sz="1200" b="1">
                <a:solidFill>
                  <a:schemeClr val="bg2"/>
                </a:solidFill>
                <a:latin typeface="Calibri" pitchFamily="34" charset="0"/>
              </a:rPr>
            </a:b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1 windfarm u.c., </a:t>
            </a:r>
            <a:r>
              <a:rPr lang="de-DE" sz="1200" b="1">
                <a:solidFill>
                  <a:schemeClr val="bg2"/>
                </a:solidFill>
                <a:latin typeface="Calibri" pitchFamily="34" charset="0"/>
              </a:rPr>
              <a:t>9.6 MW</a:t>
            </a:r>
          </a:p>
          <a:p>
            <a:pPr defTabSz="717550" eaLnBrk="0" hangingPunct="0">
              <a:tabLst>
                <a:tab pos="361950" algn="l"/>
              </a:tabLst>
            </a:pPr>
            <a:endParaRPr lang="de-DE" sz="1200">
              <a:solidFill>
                <a:schemeClr val="bg2"/>
              </a:solidFill>
              <a:latin typeface="Calibri" pitchFamily="34" charset="0"/>
            </a:endParaRPr>
          </a:p>
        </p:txBody>
      </p:sp>
      <p:sp>
        <p:nvSpPr>
          <p:cNvPr id="31768" name="Text Box 151"/>
          <p:cNvSpPr txBox="1">
            <a:spLocks noChangeArrowheads="1"/>
          </p:cNvSpPr>
          <p:nvPr/>
        </p:nvSpPr>
        <p:spPr bwMode="auto">
          <a:xfrm>
            <a:off x="6408738" y="3594100"/>
            <a:ext cx="2967037" cy="11874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17550" eaLnBrk="0" hangingPunct="0">
              <a:tabLst>
                <a:tab pos="361950" algn="l"/>
              </a:tabLst>
            </a:pPr>
            <a:r>
              <a:rPr lang="de-DE" sz="1200" b="1">
                <a:solidFill>
                  <a:srgbClr val="003E90"/>
                </a:solidFill>
                <a:latin typeface="Calibri" pitchFamily="34" charset="0"/>
              </a:rPr>
              <a:t>	Germany:</a:t>
            </a:r>
            <a:endParaRPr lang="de-DE" sz="1200">
              <a:solidFill>
                <a:schemeClr val="bg2"/>
              </a:solidFill>
              <a:latin typeface="Calibri" pitchFamily="34" charset="0"/>
            </a:endParaRPr>
          </a:p>
          <a:p>
            <a:pPr defTabSz="717550" eaLnBrk="0" hangingPunct="0">
              <a:tabLst>
                <a:tab pos="361950" algn="l"/>
              </a:tabLst>
            </a:pP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164 windfarms i.o.,  </a:t>
            </a:r>
            <a:r>
              <a:rPr lang="de-DE" sz="1200" b="1">
                <a:solidFill>
                  <a:schemeClr val="bg2"/>
                </a:solidFill>
                <a:latin typeface="Calibri" pitchFamily="34" charset="0"/>
              </a:rPr>
              <a:t>1,437.27 MW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17   windfarms u.c., </a:t>
            </a:r>
            <a:r>
              <a:rPr lang="de-DE" sz="1200" b="1">
                <a:solidFill>
                  <a:schemeClr val="bg2"/>
                </a:solidFill>
                <a:latin typeface="Calibri" pitchFamily="34" charset="0"/>
              </a:rPr>
              <a:t>118.9 MW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9     solarfamrs,  </a:t>
            </a:r>
            <a:r>
              <a:rPr lang="de-DE" sz="1200" b="1">
                <a:solidFill>
                  <a:schemeClr val="bg2"/>
                </a:solidFill>
                <a:latin typeface="Calibri" pitchFamily="34" charset="0"/>
              </a:rPr>
              <a:t>7.37 MWp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11   biogas,  </a:t>
            </a:r>
            <a:r>
              <a:rPr lang="de-DE" sz="1200" b="1">
                <a:solidFill>
                  <a:schemeClr val="bg2"/>
                </a:solidFill>
                <a:latin typeface="Calibri" pitchFamily="34" charset="0"/>
              </a:rPr>
              <a:t>8 MW</a:t>
            </a:r>
          </a:p>
          <a:p>
            <a:pPr defTabSz="717550" eaLnBrk="0" hangingPunct="0">
              <a:tabLst>
                <a:tab pos="361950" algn="l"/>
              </a:tabLst>
            </a:pPr>
            <a:endParaRPr lang="de-DE" sz="1200">
              <a:solidFill>
                <a:schemeClr val="bg2"/>
              </a:solidFill>
              <a:latin typeface="Calibri" pitchFamily="34" charset="0"/>
            </a:endParaRPr>
          </a:p>
        </p:txBody>
      </p:sp>
      <p:cxnSp>
        <p:nvCxnSpPr>
          <p:cNvPr id="31769" name="Gerade Verbindung 251"/>
          <p:cNvCxnSpPr>
            <a:cxnSpLocks noChangeShapeType="1"/>
          </p:cNvCxnSpPr>
          <p:nvPr/>
        </p:nvCxnSpPr>
        <p:spPr bwMode="auto">
          <a:xfrm rot="10800000">
            <a:off x="4583113" y="4835525"/>
            <a:ext cx="1858962" cy="600075"/>
          </a:xfrm>
          <a:prstGeom prst="bentConnector3">
            <a:avLst>
              <a:gd name="adj1" fmla="val 50000"/>
            </a:avLst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  <p:cxnSp>
        <p:nvCxnSpPr>
          <p:cNvPr id="31770" name="Gerade Verbindung 259"/>
          <p:cNvCxnSpPr>
            <a:cxnSpLocks noChangeShapeType="1"/>
          </p:cNvCxnSpPr>
          <p:nvPr/>
        </p:nvCxnSpPr>
        <p:spPr bwMode="auto">
          <a:xfrm rot="5400000">
            <a:off x="3833019" y="5425281"/>
            <a:ext cx="871538" cy="3175"/>
          </a:xfrm>
          <a:prstGeom prst="line">
            <a:avLst/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  <p:cxnSp>
        <p:nvCxnSpPr>
          <p:cNvPr id="31771" name="Gewinkelte Verbindung 279"/>
          <p:cNvCxnSpPr>
            <a:cxnSpLocks noChangeShapeType="1"/>
            <a:endCxn id="31766" idx="1"/>
          </p:cNvCxnSpPr>
          <p:nvPr/>
        </p:nvCxnSpPr>
        <p:spPr bwMode="auto">
          <a:xfrm flipV="1">
            <a:off x="3814763" y="2968625"/>
            <a:ext cx="2603500" cy="1136650"/>
          </a:xfrm>
          <a:prstGeom prst="bentConnector3">
            <a:avLst>
              <a:gd name="adj1" fmla="val -301"/>
            </a:avLst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  <p:cxnSp>
        <p:nvCxnSpPr>
          <p:cNvPr id="31772" name="Gerade Verbindung 292"/>
          <p:cNvCxnSpPr>
            <a:cxnSpLocks noChangeShapeType="1"/>
          </p:cNvCxnSpPr>
          <p:nvPr/>
        </p:nvCxnSpPr>
        <p:spPr bwMode="auto">
          <a:xfrm flipV="1">
            <a:off x="4187825" y="4154488"/>
            <a:ext cx="2217738" cy="3175"/>
          </a:xfrm>
          <a:prstGeom prst="line">
            <a:avLst/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  <p:cxnSp>
        <p:nvCxnSpPr>
          <p:cNvPr id="31773" name="Gerade Verbindung 296"/>
          <p:cNvCxnSpPr>
            <a:cxnSpLocks noChangeShapeType="1"/>
          </p:cNvCxnSpPr>
          <p:nvPr/>
        </p:nvCxnSpPr>
        <p:spPr bwMode="auto">
          <a:xfrm flipV="1">
            <a:off x="4500562" y="2285992"/>
            <a:ext cx="3130550" cy="520700"/>
          </a:xfrm>
          <a:prstGeom prst="bentConnector3">
            <a:avLst>
              <a:gd name="adj1" fmla="val -245"/>
            </a:avLst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  <p:sp>
        <p:nvSpPr>
          <p:cNvPr id="31774" name="Oval 13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86188" y="4130675"/>
            <a:ext cx="46037" cy="46038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sp>
        <p:nvSpPr>
          <p:cNvPr id="31775" name="Oval 13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29088" y="4135438"/>
            <a:ext cx="46037" cy="46037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sp>
        <p:nvSpPr>
          <p:cNvPr id="31776" name="Oval 13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246563" y="4927600"/>
            <a:ext cx="47625" cy="46038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sp>
        <p:nvSpPr>
          <p:cNvPr id="31777" name="Oval 13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532313" y="4813300"/>
            <a:ext cx="47625" cy="46038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sp>
        <p:nvSpPr>
          <p:cNvPr id="31778" name="Oval 13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500562" y="2786058"/>
            <a:ext cx="46038" cy="46038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pic>
        <p:nvPicPr>
          <p:cNvPr id="31779" name="Picture 118" descr="deutschland"/>
          <p:cNvPicPr>
            <a:picLocks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510338" y="3657600"/>
            <a:ext cx="220662" cy="130175"/>
          </a:xfrm>
          <a:prstGeom prst="rect">
            <a:avLst/>
          </a:prstGeom>
          <a:solidFill>
            <a:srgbClr val="DDDDDD"/>
          </a:solidFill>
          <a:ln w="9525">
            <a:noFill/>
            <a:miter lim="800000"/>
            <a:headEnd/>
            <a:tailEnd/>
          </a:ln>
        </p:spPr>
      </p:pic>
      <p:pic>
        <p:nvPicPr>
          <p:cNvPr id="31780" name="Picture 241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722688" y="5949950"/>
            <a:ext cx="222250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81" name="Picture 127" descr="schweden"/>
          <p:cNvPicPr>
            <a:picLocks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711950" y="1770063"/>
            <a:ext cx="212725" cy="12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82" name="Picture 83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532563" y="5002213"/>
            <a:ext cx="195262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83" name="Picture 135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529388" y="2722563"/>
            <a:ext cx="203200" cy="128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784" name="Grafik 318" descr="PORTUGALflag.gif"/>
          <p:cNvPicPr>
            <a:picLocks noChangeAspect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14375" y="5368925"/>
            <a:ext cx="217488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b="1" dirty="0" smtClean="0">
                <a:latin typeface="Calibri" pitchFamily="34" charset="0"/>
                <a:cs typeface="Calibri" pitchFamily="34" charset="0"/>
              </a:rPr>
              <a:t>wpd onshore projects worldwide</a:t>
            </a:r>
          </a:p>
        </p:txBody>
      </p:sp>
      <p:sp>
        <p:nvSpPr>
          <p:cNvPr id="32770" name="Datumsplatzhalter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fld id="{3E8677A4-4130-46FA-81F7-E25A519FD343}" type="datetime1">
              <a:rPr lang="de-DE" smtClean="0">
                <a:ea typeface="ＭＳ Ｐゴシック"/>
                <a:cs typeface="ＭＳ Ｐゴシック"/>
              </a:rPr>
              <a:pPr/>
              <a:t>12.10.2009</a:t>
            </a:fld>
            <a:endParaRPr lang="de-DE" dirty="0" smtClean="0">
              <a:ea typeface="ＭＳ Ｐゴシック"/>
              <a:cs typeface="ＭＳ Ｐゴシック"/>
            </a:endParaRPr>
          </a:p>
        </p:txBody>
      </p:sp>
      <p:sp>
        <p:nvSpPr>
          <p:cNvPr id="32771" name="Foliennummernplatzhalter 4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6D5BA08C-0903-4296-9321-1F2625D9379B}" type="slidenum">
              <a:rPr lang="de-DE" smtClean="0">
                <a:ea typeface="ＭＳ Ｐゴシック"/>
                <a:cs typeface="ＭＳ Ｐゴシック"/>
              </a:rPr>
              <a:pPr/>
              <a:t>4</a:t>
            </a:fld>
            <a:endParaRPr lang="de-DE" smtClean="0">
              <a:ea typeface="ＭＳ Ｐゴシック"/>
              <a:cs typeface="ＭＳ Ｐゴシック"/>
            </a:endParaRPr>
          </a:p>
        </p:txBody>
      </p:sp>
      <p:grpSp>
        <p:nvGrpSpPr>
          <p:cNvPr id="2" name="Group 246"/>
          <p:cNvGrpSpPr>
            <a:grpSpLocks/>
          </p:cNvGrpSpPr>
          <p:nvPr/>
        </p:nvGrpSpPr>
        <p:grpSpPr bwMode="auto">
          <a:xfrm>
            <a:off x="1441450" y="3908425"/>
            <a:ext cx="93663" cy="66675"/>
            <a:chOff x="170" y="2211"/>
            <a:chExt cx="76" cy="54"/>
          </a:xfrm>
        </p:grpSpPr>
        <p:sp>
          <p:nvSpPr>
            <p:cNvPr id="33045" name="Freeform 247"/>
            <p:cNvSpPr>
              <a:spLocks/>
            </p:cNvSpPr>
            <p:nvPr/>
          </p:nvSpPr>
          <p:spPr bwMode="gray">
            <a:xfrm>
              <a:off x="214" y="2232"/>
              <a:ext cx="12" cy="9"/>
            </a:xfrm>
            <a:custGeom>
              <a:avLst/>
              <a:gdLst>
                <a:gd name="T0" fmla="*/ 12 w 12"/>
                <a:gd name="T1" fmla="*/ 5 h 10"/>
                <a:gd name="T2" fmla="*/ 10 w 12"/>
                <a:gd name="T3" fmla="*/ 2 h 10"/>
                <a:gd name="T4" fmla="*/ 4 w 12"/>
                <a:gd name="T5" fmla="*/ 0 h 10"/>
                <a:gd name="T6" fmla="*/ 0 w 12"/>
                <a:gd name="T7" fmla="*/ 4 h 10"/>
                <a:gd name="T8" fmla="*/ 4 w 12"/>
                <a:gd name="T9" fmla="*/ 5 h 10"/>
                <a:gd name="T10" fmla="*/ 10 w 12"/>
                <a:gd name="T11" fmla="*/ 5 h 10"/>
                <a:gd name="T12" fmla="*/ 12 w 12"/>
                <a:gd name="T13" fmla="*/ 5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0"/>
                <a:gd name="T23" fmla="*/ 12 w 12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0">
                  <a:moveTo>
                    <a:pt x="12" y="6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10" y="10"/>
                  </a:lnTo>
                  <a:lnTo>
                    <a:pt x="12" y="6"/>
                  </a:lnTo>
                  <a:close/>
                </a:path>
              </a:pathLst>
            </a:custGeom>
            <a:solidFill>
              <a:srgbClr val="9DC4DE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46" name="Freeform 248"/>
            <p:cNvSpPr>
              <a:spLocks/>
            </p:cNvSpPr>
            <p:nvPr/>
          </p:nvSpPr>
          <p:spPr bwMode="gray">
            <a:xfrm>
              <a:off x="231" y="2244"/>
              <a:ext cx="15" cy="21"/>
            </a:xfrm>
            <a:custGeom>
              <a:avLst/>
              <a:gdLst>
                <a:gd name="T0" fmla="*/ 11 w 16"/>
                <a:gd name="T1" fmla="*/ 19 h 20"/>
                <a:gd name="T2" fmla="*/ 8 w 16"/>
                <a:gd name="T3" fmla="*/ 21 h 20"/>
                <a:gd name="T4" fmla="*/ 4 w 16"/>
                <a:gd name="T5" fmla="*/ 25 h 20"/>
                <a:gd name="T6" fmla="*/ 0 w 16"/>
                <a:gd name="T7" fmla="*/ 17 h 20"/>
                <a:gd name="T8" fmla="*/ 0 w 16"/>
                <a:gd name="T9" fmla="*/ 6 h 20"/>
                <a:gd name="T10" fmla="*/ 4 w 16"/>
                <a:gd name="T11" fmla="*/ 0 h 20"/>
                <a:gd name="T12" fmla="*/ 8 w 16"/>
                <a:gd name="T13" fmla="*/ 2 h 20"/>
                <a:gd name="T14" fmla="*/ 9 w 16"/>
                <a:gd name="T15" fmla="*/ 6 h 20"/>
                <a:gd name="T16" fmla="*/ 11 w 16"/>
                <a:gd name="T17" fmla="*/ 19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"/>
                <a:gd name="T28" fmla="*/ 0 h 20"/>
                <a:gd name="T29" fmla="*/ 16 w 16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" h="20">
                  <a:moveTo>
                    <a:pt x="16" y="14"/>
                  </a:moveTo>
                  <a:lnTo>
                    <a:pt x="8" y="16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0"/>
                  </a:lnTo>
                  <a:lnTo>
                    <a:pt x="8" y="2"/>
                  </a:lnTo>
                  <a:lnTo>
                    <a:pt x="14" y="6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9DC4DE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47" name="Freeform 249"/>
            <p:cNvSpPr>
              <a:spLocks/>
            </p:cNvSpPr>
            <p:nvPr/>
          </p:nvSpPr>
          <p:spPr bwMode="gray">
            <a:xfrm>
              <a:off x="194" y="2219"/>
              <a:ext cx="5" cy="8"/>
            </a:xfrm>
            <a:custGeom>
              <a:avLst/>
              <a:gdLst>
                <a:gd name="T0" fmla="*/ 3 w 6"/>
                <a:gd name="T1" fmla="*/ 6 h 8"/>
                <a:gd name="T2" fmla="*/ 3 w 6"/>
                <a:gd name="T3" fmla="*/ 0 h 8"/>
                <a:gd name="T4" fmla="*/ 0 w 6"/>
                <a:gd name="T5" fmla="*/ 0 h 8"/>
                <a:gd name="T6" fmla="*/ 0 w 6"/>
                <a:gd name="T7" fmla="*/ 4 h 8"/>
                <a:gd name="T8" fmla="*/ 2 w 6"/>
                <a:gd name="T9" fmla="*/ 8 h 8"/>
                <a:gd name="T10" fmla="*/ 3 w 6"/>
                <a:gd name="T11" fmla="*/ 6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6" y="6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9DC4DE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48" name="Freeform 250"/>
            <p:cNvSpPr>
              <a:spLocks/>
            </p:cNvSpPr>
            <p:nvPr/>
          </p:nvSpPr>
          <p:spPr bwMode="gray">
            <a:xfrm>
              <a:off x="194" y="2219"/>
              <a:ext cx="5" cy="8"/>
            </a:xfrm>
            <a:custGeom>
              <a:avLst/>
              <a:gdLst>
                <a:gd name="T0" fmla="*/ 3 w 6"/>
                <a:gd name="T1" fmla="*/ 6 h 8"/>
                <a:gd name="T2" fmla="*/ 3 w 6"/>
                <a:gd name="T3" fmla="*/ 0 h 8"/>
                <a:gd name="T4" fmla="*/ 0 w 6"/>
                <a:gd name="T5" fmla="*/ 0 h 8"/>
                <a:gd name="T6" fmla="*/ 0 w 6"/>
                <a:gd name="T7" fmla="*/ 4 h 8"/>
                <a:gd name="T8" fmla="*/ 2 w 6"/>
                <a:gd name="T9" fmla="*/ 8 h 8"/>
                <a:gd name="T10" fmla="*/ 3 w 6"/>
                <a:gd name="T11" fmla="*/ 6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6"/>
                <a:gd name="T19" fmla="*/ 0 h 8"/>
                <a:gd name="T20" fmla="*/ 6 w 6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6" h="8">
                  <a:moveTo>
                    <a:pt x="6" y="6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6"/>
                  </a:lnTo>
                  <a:close/>
                </a:path>
              </a:pathLst>
            </a:custGeom>
            <a:solidFill>
              <a:srgbClr val="9DC4DE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49" name="Freeform 251"/>
            <p:cNvSpPr>
              <a:spLocks/>
            </p:cNvSpPr>
            <p:nvPr/>
          </p:nvSpPr>
          <p:spPr bwMode="gray">
            <a:xfrm>
              <a:off x="170" y="2211"/>
              <a:ext cx="6" cy="4"/>
            </a:xfrm>
            <a:custGeom>
              <a:avLst/>
              <a:gdLst>
                <a:gd name="T0" fmla="*/ 4 w 6"/>
                <a:gd name="T1" fmla="*/ 0 h 4"/>
                <a:gd name="T2" fmla="*/ 0 w 6"/>
                <a:gd name="T3" fmla="*/ 0 h 4"/>
                <a:gd name="T4" fmla="*/ 2 w 6"/>
                <a:gd name="T5" fmla="*/ 4 h 4"/>
                <a:gd name="T6" fmla="*/ 6 w 6"/>
                <a:gd name="T7" fmla="*/ 4 h 4"/>
                <a:gd name="T8" fmla="*/ 4 w 6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4" y="0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6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DC4DE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50" name="Freeform 252"/>
            <p:cNvSpPr>
              <a:spLocks/>
            </p:cNvSpPr>
            <p:nvPr/>
          </p:nvSpPr>
          <p:spPr bwMode="gray">
            <a:xfrm>
              <a:off x="170" y="2211"/>
              <a:ext cx="6" cy="4"/>
            </a:xfrm>
            <a:custGeom>
              <a:avLst/>
              <a:gdLst>
                <a:gd name="T0" fmla="*/ 4 w 6"/>
                <a:gd name="T1" fmla="*/ 0 h 4"/>
                <a:gd name="T2" fmla="*/ 0 w 6"/>
                <a:gd name="T3" fmla="*/ 0 h 4"/>
                <a:gd name="T4" fmla="*/ 2 w 6"/>
                <a:gd name="T5" fmla="*/ 4 h 4"/>
                <a:gd name="T6" fmla="*/ 6 w 6"/>
                <a:gd name="T7" fmla="*/ 4 h 4"/>
                <a:gd name="T8" fmla="*/ 4 w 6"/>
                <a:gd name="T9" fmla="*/ 0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4"/>
                <a:gd name="T17" fmla="*/ 6 w 6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4">
                  <a:moveTo>
                    <a:pt x="4" y="0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6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9DC4DE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</p:grpSp>
      <p:grpSp>
        <p:nvGrpSpPr>
          <p:cNvPr id="3" name="Gruppieren 295"/>
          <p:cNvGrpSpPr>
            <a:grpSpLocks/>
          </p:cNvGrpSpPr>
          <p:nvPr/>
        </p:nvGrpSpPr>
        <p:grpSpPr bwMode="auto">
          <a:xfrm>
            <a:off x="1627188" y="2951163"/>
            <a:ext cx="5688012" cy="2882900"/>
            <a:chOff x="1287464" y="2038350"/>
            <a:chExt cx="6724649" cy="3330575"/>
          </a:xfrm>
        </p:grpSpPr>
        <p:sp>
          <p:nvSpPr>
            <p:cNvPr id="32798" name="Freeform 14"/>
            <p:cNvSpPr>
              <a:spLocks/>
            </p:cNvSpPr>
            <p:nvPr/>
          </p:nvSpPr>
          <p:spPr bwMode="gray">
            <a:xfrm>
              <a:off x="2751138" y="3946525"/>
              <a:ext cx="39687" cy="26988"/>
            </a:xfrm>
            <a:custGeom>
              <a:avLst/>
              <a:gdLst>
                <a:gd name="T0" fmla="*/ 0 w 34"/>
                <a:gd name="T1" fmla="*/ 2147483647 h 22"/>
                <a:gd name="T2" fmla="*/ 2147483647 w 34"/>
                <a:gd name="T3" fmla="*/ 0 h 22"/>
                <a:gd name="T4" fmla="*/ 2147483647 w 34"/>
                <a:gd name="T5" fmla="*/ 2147483647 h 22"/>
                <a:gd name="T6" fmla="*/ 2147483647 w 34"/>
                <a:gd name="T7" fmla="*/ 2147483647 h 22"/>
                <a:gd name="T8" fmla="*/ 2147483647 w 34"/>
                <a:gd name="T9" fmla="*/ 2147483647 h 22"/>
                <a:gd name="T10" fmla="*/ 2147483647 w 34"/>
                <a:gd name="T11" fmla="*/ 2147483647 h 22"/>
                <a:gd name="T12" fmla="*/ 2147483647 w 34"/>
                <a:gd name="T13" fmla="*/ 2147483647 h 22"/>
                <a:gd name="T14" fmla="*/ 2147483647 w 34"/>
                <a:gd name="T15" fmla="*/ 2147483647 h 22"/>
                <a:gd name="T16" fmla="*/ 2147483647 w 34"/>
                <a:gd name="T17" fmla="*/ 2147483647 h 22"/>
                <a:gd name="T18" fmla="*/ 2147483647 w 34"/>
                <a:gd name="T19" fmla="*/ 2147483647 h 22"/>
                <a:gd name="T20" fmla="*/ 0 w 34"/>
                <a:gd name="T21" fmla="*/ 2147483647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"/>
                <a:gd name="T34" fmla="*/ 0 h 22"/>
                <a:gd name="T35" fmla="*/ 34 w 34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" h="22">
                  <a:moveTo>
                    <a:pt x="0" y="10"/>
                  </a:moveTo>
                  <a:lnTo>
                    <a:pt x="12" y="0"/>
                  </a:lnTo>
                  <a:lnTo>
                    <a:pt x="18" y="4"/>
                  </a:lnTo>
                  <a:lnTo>
                    <a:pt x="24" y="8"/>
                  </a:lnTo>
                  <a:lnTo>
                    <a:pt x="32" y="10"/>
                  </a:lnTo>
                  <a:lnTo>
                    <a:pt x="34" y="14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16" y="18"/>
                  </a:lnTo>
                  <a:lnTo>
                    <a:pt x="8" y="14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799" name="Freeform 15"/>
            <p:cNvSpPr>
              <a:spLocks/>
            </p:cNvSpPr>
            <p:nvPr/>
          </p:nvSpPr>
          <p:spPr bwMode="gray">
            <a:xfrm>
              <a:off x="2744788" y="3948113"/>
              <a:ext cx="39687" cy="25400"/>
            </a:xfrm>
            <a:custGeom>
              <a:avLst/>
              <a:gdLst>
                <a:gd name="T0" fmla="*/ 0 w 34"/>
                <a:gd name="T1" fmla="*/ 2147483647 h 22"/>
                <a:gd name="T2" fmla="*/ 2147483647 w 34"/>
                <a:gd name="T3" fmla="*/ 0 h 22"/>
                <a:gd name="T4" fmla="*/ 2147483647 w 34"/>
                <a:gd name="T5" fmla="*/ 2147483647 h 22"/>
                <a:gd name="T6" fmla="*/ 2147483647 w 34"/>
                <a:gd name="T7" fmla="*/ 2147483647 h 22"/>
                <a:gd name="T8" fmla="*/ 2147483647 w 34"/>
                <a:gd name="T9" fmla="*/ 2147483647 h 22"/>
                <a:gd name="T10" fmla="*/ 2147483647 w 34"/>
                <a:gd name="T11" fmla="*/ 2147483647 h 22"/>
                <a:gd name="T12" fmla="*/ 2147483647 w 34"/>
                <a:gd name="T13" fmla="*/ 2147483647 h 22"/>
                <a:gd name="T14" fmla="*/ 2147483647 w 34"/>
                <a:gd name="T15" fmla="*/ 2147483647 h 22"/>
                <a:gd name="T16" fmla="*/ 2147483647 w 34"/>
                <a:gd name="T17" fmla="*/ 2147483647 h 22"/>
                <a:gd name="T18" fmla="*/ 2147483647 w 34"/>
                <a:gd name="T19" fmla="*/ 2147483647 h 22"/>
                <a:gd name="T20" fmla="*/ 0 w 34"/>
                <a:gd name="T21" fmla="*/ 2147483647 h 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"/>
                <a:gd name="T34" fmla="*/ 0 h 22"/>
                <a:gd name="T35" fmla="*/ 34 w 34"/>
                <a:gd name="T36" fmla="*/ 22 h 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" h="22">
                  <a:moveTo>
                    <a:pt x="0" y="10"/>
                  </a:moveTo>
                  <a:lnTo>
                    <a:pt x="12" y="0"/>
                  </a:lnTo>
                  <a:lnTo>
                    <a:pt x="18" y="4"/>
                  </a:lnTo>
                  <a:lnTo>
                    <a:pt x="24" y="8"/>
                  </a:lnTo>
                  <a:lnTo>
                    <a:pt x="32" y="10"/>
                  </a:lnTo>
                  <a:lnTo>
                    <a:pt x="34" y="14"/>
                  </a:lnTo>
                  <a:lnTo>
                    <a:pt x="30" y="20"/>
                  </a:lnTo>
                  <a:lnTo>
                    <a:pt x="26" y="22"/>
                  </a:lnTo>
                  <a:lnTo>
                    <a:pt x="16" y="18"/>
                  </a:lnTo>
                  <a:lnTo>
                    <a:pt x="8" y="14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00" name="Freeform 16"/>
            <p:cNvSpPr>
              <a:spLocks/>
            </p:cNvSpPr>
            <p:nvPr/>
          </p:nvSpPr>
          <p:spPr bwMode="gray">
            <a:xfrm>
              <a:off x="3979863" y="2708275"/>
              <a:ext cx="196850" cy="98425"/>
            </a:xfrm>
            <a:custGeom>
              <a:avLst/>
              <a:gdLst>
                <a:gd name="T0" fmla="*/ 2147483647 w 166"/>
                <a:gd name="T1" fmla="*/ 2147483647 h 82"/>
                <a:gd name="T2" fmla="*/ 0 w 166"/>
                <a:gd name="T3" fmla="*/ 2147483647 h 82"/>
                <a:gd name="T4" fmla="*/ 2147483647 w 166"/>
                <a:gd name="T5" fmla="*/ 2147483647 h 82"/>
                <a:gd name="T6" fmla="*/ 2147483647 w 166"/>
                <a:gd name="T7" fmla="*/ 2147483647 h 82"/>
                <a:gd name="T8" fmla="*/ 2147483647 w 166"/>
                <a:gd name="T9" fmla="*/ 2147483647 h 82"/>
                <a:gd name="T10" fmla="*/ 2147483647 w 166"/>
                <a:gd name="T11" fmla="*/ 2147483647 h 82"/>
                <a:gd name="T12" fmla="*/ 2147483647 w 166"/>
                <a:gd name="T13" fmla="*/ 2147483647 h 82"/>
                <a:gd name="T14" fmla="*/ 2147483647 w 166"/>
                <a:gd name="T15" fmla="*/ 2147483647 h 82"/>
                <a:gd name="T16" fmla="*/ 2147483647 w 166"/>
                <a:gd name="T17" fmla="*/ 2147483647 h 82"/>
                <a:gd name="T18" fmla="*/ 2147483647 w 166"/>
                <a:gd name="T19" fmla="*/ 2147483647 h 82"/>
                <a:gd name="T20" fmla="*/ 2147483647 w 166"/>
                <a:gd name="T21" fmla="*/ 2147483647 h 82"/>
                <a:gd name="T22" fmla="*/ 2147483647 w 166"/>
                <a:gd name="T23" fmla="*/ 2147483647 h 82"/>
                <a:gd name="T24" fmla="*/ 2147483647 w 166"/>
                <a:gd name="T25" fmla="*/ 2147483647 h 82"/>
                <a:gd name="T26" fmla="*/ 2147483647 w 166"/>
                <a:gd name="T27" fmla="*/ 2147483647 h 82"/>
                <a:gd name="T28" fmla="*/ 2147483647 w 166"/>
                <a:gd name="T29" fmla="*/ 2147483647 h 82"/>
                <a:gd name="T30" fmla="*/ 2147483647 w 166"/>
                <a:gd name="T31" fmla="*/ 2147483647 h 82"/>
                <a:gd name="T32" fmla="*/ 2147483647 w 166"/>
                <a:gd name="T33" fmla="*/ 2147483647 h 82"/>
                <a:gd name="T34" fmla="*/ 2147483647 w 166"/>
                <a:gd name="T35" fmla="*/ 2147483647 h 82"/>
                <a:gd name="T36" fmla="*/ 2147483647 w 166"/>
                <a:gd name="T37" fmla="*/ 2147483647 h 82"/>
                <a:gd name="T38" fmla="*/ 2147483647 w 166"/>
                <a:gd name="T39" fmla="*/ 0 h 82"/>
                <a:gd name="T40" fmla="*/ 2147483647 w 166"/>
                <a:gd name="T41" fmla="*/ 2147483647 h 82"/>
                <a:gd name="T42" fmla="*/ 2147483647 w 166"/>
                <a:gd name="T43" fmla="*/ 2147483647 h 82"/>
                <a:gd name="T44" fmla="*/ 2147483647 w 166"/>
                <a:gd name="T45" fmla="*/ 2147483647 h 82"/>
                <a:gd name="T46" fmla="*/ 2147483647 w 166"/>
                <a:gd name="T47" fmla="*/ 2147483647 h 82"/>
                <a:gd name="T48" fmla="*/ 2147483647 w 166"/>
                <a:gd name="T49" fmla="*/ 2147483647 h 82"/>
                <a:gd name="T50" fmla="*/ 2147483647 w 166"/>
                <a:gd name="T51" fmla="*/ 2147483647 h 82"/>
                <a:gd name="T52" fmla="*/ 2147483647 w 166"/>
                <a:gd name="T53" fmla="*/ 2147483647 h 82"/>
                <a:gd name="T54" fmla="*/ 2147483647 w 166"/>
                <a:gd name="T55" fmla="*/ 2147483647 h 82"/>
                <a:gd name="T56" fmla="*/ 2147483647 w 166"/>
                <a:gd name="T57" fmla="*/ 2147483647 h 82"/>
                <a:gd name="T58" fmla="*/ 2147483647 w 166"/>
                <a:gd name="T59" fmla="*/ 2147483647 h 82"/>
                <a:gd name="T60" fmla="*/ 2147483647 w 166"/>
                <a:gd name="T61" fmla="*/ 2147483647 h 82"/>
                <a:gd name="T62" fmla="*/ 2147483647 w 166"/>
                <a:gd name="T63" fmla="*/ 2147483647 h 82"/>
                <a:gd name="T64" fmla="*/ 2147483647 w 166"/>
                <a:gd name="T65" fmla="*/ 2147483647 h 82"/>
                <a:gd name="T66" fmla="*/ 2147483647 w 166"/>
                <a:gd name="T67" fmla="*/ 2147483647 h 82"/>
                <a:gd name="T68" fmla="*/ 2147483647 w 166"/>
                <a:gd name="T69" fmla="*/ 2147483647 h 82"/>
                <a:gd name="T70" fmla="*/ 2147483647 w 166"/>
                <a:gd name="T71" fmla="*/ 2147483647 h 82"/>
                <a:gd name="T72" fmla="*/ 2147483647 w 166"/>
                <a:gd name="T73" fmla="*/ 2147483647 h 82"/>
                <a:gd name="T74" fmla="*/ 2147483647 w 166"/>
                <a:gd name="T75" fmla="*/ 2147483647 h 82"/>
                <a:gd name="T76" fmla="*/ 2147483647 w 166"/>
                <a:gd name="T77" fmla="*/ 2147483647 h 82"/>
                <a:gd name="T78" fmla="*/ 2147483647 w 166"/>
                <a:gd name="T79" fmla="*/ 2147483647 h 82"/>
                <a:gd name="T80" fmla="*/ 2147483647 w 166"/>
                <a:gd name="T81" fmla="*/ 2147483647 h 82"/>
                <a:gd name="T82" fmla="*/ 2147483647 w 166"/>
                <a:gd name="T83" fmla="*/ 2147483647 h 82"/>
                <a:gd name="T84" fmla="*/ 2147483647 w 166"/>
                <a:gd name="T85" fmla="*/ 2147483647 h 8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66"/>
                <a:gd name="T130" fmla="*/ 0 h 82"/>
                <a:gd name="T131" fmla="*/ 166 w 166"/>
                <a:gd name="T132" fmla="*/ 82 h 8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66" h="82">
                  <a:moveTo>
                    <a:pt x="14" y="28"/>
                  </a:moveTo>
                  <a:lnTo>
                    <a:pt x="0" y="28"/>
                  </a:lnTo>
                  <a:lnTo>
                    <a:pt x="6" y="18"/>
                  </a:lnTo>
                  <a:lnTo>
                    <a:pt x="10" y="10"/>
                  </a:lnTo>
                  <a:lnTo>
                    <a:pt x="20" y="2"/>
                  </a:lnTo>
                  <a:lnTo>
                    <a:pt x="30" y="6"/>
                  </a:lnTo>
                  <a:lnTo>
                    <a:pt x="42" y="1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54" y="24"/>
                  </a:lnTo>
                  <a:lnTo>
                    <a:pt x="58" y="18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2" y="22"/>
                  </a:lnTo>
                  <a:lnTo>
                    <a:pt x="80" y="14"/>
                  </a:lnTo>
                  <a:lnTo>
                    <a:pt x="86" y="8"/>
                  </a:lnTo>
                  <a:lnTo>
                    <a:pt x="92" y="12"/>
                  </a:lnTo>
                  <a:lnTo>
                    <a:pt x="104" y="14"/>
                  </a:lnTo>
                  <a:lnTo>
                    <a:pt x="118" y="8"/>
                  </a:lnTo>
                  <a:lnTo>
                    <a:pt x="128" y="0"/>
                  </a:lnTo>
                  <a:lnTo>
                    <a:pt x="140" y="12"/>
                  </a:lnTo>
                  <a:lnTo>
                    <a:pt x="150" y="16"/>
                  </a:lnTo>
                  <a:lnTo>
                    <a:pt x="158" y="24"/>
                  </a:lnTo>
                  <a:lnTo>
                    <a:pt x="166" y="34"/>
                  </a:lnTo>
                  <a:lnTo>
                    <a:pt x="166" y="42"/>
                  </a:lnTo>
                  <a:lnTo>
                    <a:pt x="156" y="50"/>
                  </a:lnTo>
                  <a:lnTo>
                    <a:pt x="140" y="60"/>
                  </a:lnTo>
                  <a:lnTo>
                    <a:pt x="120" y="68"/>
                  </a:lnTo>
                  <a:lnTo>
                    <a:pt x="102" y="74"/>
                  </a:lnTo>
                  <a:lnTo>
                    <a:pt x="88" y="82"/>
                  </a:lnTo>
                  <a:lnTo>
                    <a:pt x="74" y="82"/>
                  </a:lnTo>
                  <a:lnTo>
                    <a:pt x="58" y="76"/>
                  </a:lnTo>
                  <a:lnTo>
                    <a:pt x="48" y="70"/>
                  </a:lnTo>
                  <a:lnTo>
                    <a:pt x="18" y="70"/>
                  </a:lnTo>
                  <a:lnTo>
                    <a:pt x="32" y="62"/>
                  </a:lnTo>
                  <a:lnTo>
                    <a:pt x="34" y="52"/>
                  </a:lnTo>
                  <a:lnTo>
                    <a:pt x="26" y="48"/>
                  </a:lnTo>
                  <a:lnTo>
                    <a:pt x="14" y="46"/>
                  </a:lnTo>
                  <a:lnTo>
                    <a:pt x="2" y="44"/>
                  </a:lnTo>
                  <a:lnTo>
                    <a:pt x="18" y="38"/>
                  </a:lnTo>
                  <a:lnTo>
                    <a:pt x="30" y="32"/>
                  </a:lnTo>
                  <a:lnTo>
                    <a:pt x="24" y="28"/>
                  </a:lnTo>
                  <a:lnTo>
                    <a:pt x="14" y="2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01" name="Freeform 17"/>
            <p:cNvSpPr>
              <a:spLocks/>
            </p:cNvSpPr>
            <p:nvPr/>
          </p:nvSpPr>
          <p:spPr bwMode="gray">
            <a:xfrm>
              <a:off x="3062288" y="2038350"/>
              <a:ext cx="1141412" cy="866775"/>
            </a:xfrm>
            <a:custGeom>
              <a:avLst/>
              <a:gdLst>
                <a:gd name="T0" fmla="*/ 2147483647 w 962"/>
                <a:gd name="T1" fmla="*/ 2147483647 h 716"/>
                <a:gd name="T2" fmla="*/ 2147483647 w 962"/>
                <a:gd name="T3" fmla="*/ 2147483647 h 716"/>
                <a:gd name="T4" fmla="*/ 2147483647 w 962"/>
                <a:gd name="T5" fmla="*/ 2147483647 h 716"/>
                <a:gd name="T6" fmla="*/ 2147483647 w 962"/>
                <a:gd name="T7" fmla="*/ 2147483647 h 716"/>
                <a:gd name="T8" fmla="*/ 2147483647 w 962"/>
                <a:gd name="T9" fmla="*/ 2147483647 h 716"/>
                <a:gd name="T10" fmla="*/ 2147483647 w 962"/>
                <a:gd name="T11" fmla="*/ 2147483647 h 716"/>
                <a:gd name="T12" fmla="*/ 2147483647 w 962"/>
                <a:gd name="T13" fmla="*/ 2147483647 h 716"/>
                <a:gd name="T14" fmla="*/ 2147483647 w 962"/>
                <a:gd name="T15" fmla="*/ 2147483647 h 716"/>
                <a:gd name="T16" fmla="*/ 2147483647 w 962"/>
                <a:gd name="T17" fmla="*/ 2147483647 h 716"/>
                <a:gd name="T18" fmla="*/ 2147483647 w 962"/>
                <a:gd name="T19" fmla="*/ 2147483647 h 716"/>
                <a:gd name="T20" fmla="*/ 2147483647 w 962"/>
                <a:gd name="T21" fmla="*/ 2147483647 h 716"/>
                <a:gd name="T22" fmla="*/ 2147483647 w 962"/>
                <a:gd name="T23" fmla="*/ 2147483647 h 716"/>
                <a:gd name="T24" fmla="*/ 2147483647 w 962"/>
                <a:gd name="T25" fmla="*/ 2147483647 h 716"/>
                <a:gd name="T26" fmla="*/ 2147483647 w 962"/>
                <a:gd name="T27" fmla="*/ 2147483647 h 716"/>
                <a:gd name="T28" fmla="*/ 2147483647 w 962"/>
                <a:gd name="T29" fmla="*/ 2147483647 h 716"/>
                <a:gd name="T30" fmla="*/ 2147483647 w 962"/>
                <a:gd name="T31" fmla="*/ 2147483647 h 716"/>
                <a:gd name="T32" fmla="*/ 2147483647 w 962"/>
                <a:gd name="T33" fmla="*/ 2147483647 h 716"/>
                <a:gd name="T34" fmla="*/ 2147483647 w 962"/>
                <a:gd name="T35" fmla="*/ 2147483647 h 716"/>
                <a:gd name="T36" fmla="*/ 2147483647 w 962"/>
                <a:gd name="T37" fmla="*/ 2147483647 h 716"/>
                <a:gd name="T38" fmla="*/ 2147483647 w 962"/>
                <a:gd name="T39" fmla="*/ 2147483647 h 716"/>
                <a:gd name="T40" fmla="*/ 2147483647 w 962"/>
                <a:gd name="T41" fmla="*/ 2147483647 h 716"/>
                <a:gd name="T42" fmla="*/ 2147483647 w 962"/>
                <a:gd name="T43" fmla="*/ 2147483647 h 716"/>
                <a:gd name="T44" fmla="*/ 2147483647 w 962"/>
                <a:gd name="T45" fmla="*/ 2147483647 h 716"/>
                <a:gd name="T46" fmla="*/ 2147483647 w 962"/>
                <a:gd name="T47" fmla="*/ 2147483647 h 716"/>
                <a:gd name="T48" fmla="*/ 2147483647 w 962"/>
                <a:gd name="T49" fmla="*/ 2147483647 h 716"/>
                <a:gd name="T50" fmla="*/ 2147483647 w 962"/>
                <a:gd name="T51" fmla="*/ 2147483647 h 716"/>
                <a:gd name="T52" fmla="*/ 2147483647 w 962"/>
                <a:gd name="T53" fmla="*/ 2147483647 h 716"/>
                <a:gd name="T54" fmla="*/ 2147483647 w 962"/>
                <a:gd name="T55" fmla="*/ 2147483647 h 716"/>
                <a:gd name="T56" fmla="*/ 2147483647 w 962"/>
                <a:gd name="T57" fmla="*/ 2147483647 h 716"/>
                <a:gd name="T58" fmla="*/ 2147483647 w 962"/>
                <a:gd name="T59" fmla="*/ 2147483647 h 716"/>
                <a:gd name="T60" fmla="*/ 2147483647 w 962"/>
                <a:gd name="T61" fmla="*/ 2147483647 h 716"/>
                <a:gd name="T62" fmla="*/ 2147483647 w 962"/>
                <a:gd name="T63" fmla="*/ 2147483647 h 716"/>
                <a:gd name="T64" fmla="*/ 2147483647 w 962"/>
                <a:gd name="T65" fmla="*/ 2147483647 h 716"/>
                <a:gd name="T66" fmla="*/ 2147483647 w 962"/>
                <a:gd name="T67" fmla="*/ 2147483647 h 716"/>
                <a:gd name="T68" fmla="*/ 2147483647 w 962"/>
                <a:gd name="T69" fmla="*/ 0 h 716"/>
                <a:gd name="T70" fmla="*/ 2147483647 w 962"/>
                <a:gd name="T71" fmla="*/ 2147483647 h 716"/>
                <a:gd name="T72" fmla="*/ 2147483647 w 962"/>
                <a:gd name="T73" fmla="*/ 2147483647 h 716"/>
                <a:gd name="T74" fmla="*/ 2147483647 w 962"/>
                <a:gd name="T75" fmla="*/ 2147483647 h 716"/>
                <a:gd name="T76" fmla="*/ 2147483647 w 962"/>
                <a:gd name="T77" fmla="*/ 2147483647 h 716"/>
                <a:gd name="T78" fmla="*/ 2147483647 w 962"/>
                <a:gd name="T79" fmla="*/ 2147483647 h 716"/>
                <a:gd name="T80" fmla="*/ 2147483647 w 962"/>
                <a:gd name="T81" fmla="*/ 2147483647 h 716"/>
                <a:gd name="T82" fmla="*/ 2147483647 w 962"/>
                <a:gd name="T83" fmla="*/ 2147483647 h 716"/>
                <a:gd name="T84" fmla="*/ 2147483647 w 962"/>
                <a:gd name="T85" fmla="*/ 2147483647 h 716"/>
                <a:gd name="T86" fmla="*/ 2147483647 w 962"/>
                <a:gd name="T87" fmla="*/ 2147483647 h 716"/>
                <a:gd name="T88" fmla="*/ 2147483647 w 962"/>
                <a:gd name="T89" fmla="*/ 2147483647 h 716"/>
                <a:gd name="T90" fmla="*/ 2147483647 w 962"/>
                <a:gd name="T91" fmla="*/ 2147483647 h 716"/>
                <a:gd name="T92" fmla="*/ 2147483647 w 962"/>
                <a:gd name="T93" fmla="*/ 2147483647 h 716"/>
                <a:gd name="T94" fmla="*/ 2147483647 w 962"/>
                <a:gd name="T95" fmla="*/ 2147483647 h 716"/>
                <a:gd name="T96" fmla="*/ 2147483647 w 962"/>
                <a:gd name="T97" fmla="*/ 2147483647 h 716"/>
                <a:gd name="T98" fmla="*/ 2147483647 w 962"/>
                <a:gd name="T99" fmla="*/ 2147483647 h 716"/>
                <a:gd name="T100" fmla="*/ 2147483647 w 962"/>
                <a:gd name="T101" fmla="*/ 2147483647 h 716"/>
                <a:gd name="T102" fmla="*/ 2147483647 w 962"/>
                <a:gd name="T103" fmla="*/ 2147483647 h 716"/>
                <a:gd name="T104" fmla="*/ 2147483647 w 962"/>
                <a:gd name="T105" fmla="*/ 2147483647 h 716"/>
                <a:gd name="T106" fmla="*/ 2147483647 w 962"/>
                <a:gd name="T107" fmla="*/ 2147483647 h 716"/>
                <a:gd name="T108" fmla="*/ 2147483647 w 962"/>
                <a:gd name="T109" fmla="*/ 2147483647 h 716"/>
                <a:gd name="T110" fmla="*/ 2147483647 w 962"/>
                <a:gd name="T111" fmla="*/ 2147483647 h 716"/>
                <a:gd name="T112" fmla="*/ 2147483647 w 962"/>
                <a:gd name="T113" fmla="*/ 2147483647 h 716"/>
                <a:gd name="T114" fmla="*/ 2147483647 w 962"/>
                <a:gd name="T115" fmla="*/ 2147483647 h 716"/>
                <a:gd name="T116" fmla="*/ 2147483647 w 962"/>
                <a:gd name="T117" fmla="*/ 2147483647 h 71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62"/>
                <a:gd name="T178" fmla="*/ 0 h 716"/>
                <a:gd name="T179" fmla="*/ 962 w 962"/>
                <a:gd name="T180" fmla="*/ 716 h 71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62" h="716">
                  <a:moveTo>
                    <a:pt x="790" y="462"/>
                  </a:moveTo>
                  <a:lnTo>
                    <a:pt x="752" y="484"/>
                  </a:lnTo>
                  <a:lnTo>
                    <a:pt x="736" y="496"/>
                  </a:lnTo>
                  <a:lnTo>
                    <a:pt x="676" y="508"/>
                  </a:lnTo>
                  <a:lnTo>
                    <a:pt x="658" y="512"/>
                  </a:lnTo>
                  <a:lnTo>
                    <a:pt x="646" y="506"/>
                  </a:lnTo>
                  <a:lnTo>
                    <a:pt x="642" y="514"/>
                  </a:lnTo>
                  <a:lnTo>
                    <a:pt x="628" y="526"/>
                  </a:lnTo>
                  <a:lnTo>
                    <a:pt x="608" y="552"/>
                  </a:lnTo>
                  <a:lnTo>
                    <a:pt x="582" y="564"/>
                  </a:lnTo>
                  <a:lnTo>
                    <a:pt x="560" y="572"/>
                  </a:lnTo>
                  <a:lnTo>
                    <a:pt x="546" y="572"/>
                  </a:lnTo>
                  <a:lnTo>
                    <a:pt x="524" y="576"/>
                  </a:lnTo>
                  <a:lnTo>
                    <a:pt x="518" y="582"/>
                  </a:lnTo>
                  <a:lnTo>
                    <a:pt x="518" y="588"/>
                  </a:lnTo>
                  <a:lnTo>
                    <a:pt x="510" y="592"/>
                  </a:lnTo>
                  <a:lnTo>
                    <a:pt x="512" y="606"/>
                  </a:lnTo>
                  <a:lnTo>
                    <a:pt x="504" y="612"/>
                  </a:lnTo>
                  <a:lnTo>
                    <a:pt x="508" y="620"/>
                  </a:lnTo>
                  <a:lnTo>
                    <a:pt x="502" y="636"/>
                  </a:lnTo>
                  <a:lnTo>
                    <a:pt x="486" y="648"/>
                  </a:lnTo>
                  <a:lnTo>
                    <a:pt x="474" y="650"/>
                  </a:lnTo>
                  <a:lnTo>
                    <a:pt x="480" y="658"/>
                  </a:lnTo>
                  <a:lnTo>
                    <a:pt x="482" y="664"/>
                  </a:lnTo>
                  <a:lnTo>
                    <a:pt x="476" y="686"/>
                  </a:lnTo>
                  <a:lnTo>
                    <a:pt x="462" y="716"/>
                  </a:lnTo>
                  <a:lnTo>
                    <a:pt x="444" y="714"/>
                  </a:lnTo>
                  <a:lnTo>
                    <a:pt x="428" y="702"/>
                  </a:lnTo>
                  <a:lnTo>
                    <a:pt x="426" y="690"/>
                  </a:lnTo>
                  <a:lnTo>
                    <a:pt x="416" y="694"/>
                  </a:lnTo>
                  <a:lnTo>
                    <a:pt x="406" y="694"/>
                  </a:lnTo>
                  <a:lnTo>
                    <a:pt x="390" y="700"/>
                  </a:lnTo>
                  <a:lnTo>
                    <a:pt x="374" y="672"/>
                  </a:lnTo>
                  <a:lnTo>
                    <a:pt x="356" y="654"/>
                  </a:lnTo>
                  <a:lnTo>
                    <a:pt x="362" y="644"/>
                  </a:lnTo>
                  <a:lnTo>
                    <a:pt x="348" y="634"/>
                  </a:lnTo>
                  <a:lnTo>
                    <a:pt x="348" y="618"/>
                  </a:lnTo>
                  <a:lnTo>
                    <a:pt x="360" y="604"/>
                  </a:lnTo>
                  <a:lnTo>
                    <a:pt x="354" y="594"/>
                  </a:lnTo>
                  <a:lnTo>
                    <a:pt x="340" y="600"/>
                  </a:lnTo>
                  <a:lnTo>
                    <a:pt x="324" y="588"/>
                  </a:lnTo>
                  <a:lnTo>
                    <a:pt x="312" y="572"/>
                  </a:lnTo>
                  <a:lnTo>
                    <a:pt x="304" y="560"/>
                  </a:lnTo>
                  <a:lnTo>
                    <a:pt x="312" y="546"/>
                  </a:lnTo>
                  <a:lnTo>
                    <a:pt x="316" y="540"/>
                  </a:lnTo>
                  <a:lnTo>
                    <a:pt x="304" y="540"/>
                  </a:lnTo>
                  <a:lnTo>
                    <a:pt x="302" y="528"/>
                  </a:lnTo>
                  <a:lnTo>
                    <a:pt x="312" y="516"/>
                  </a:lnTo>
                  <a:lnTo>
                    <a:pt x="318" y="516"/>
                  </a:lnTo>
                  <a:lnTo>
                    <a:pt x="336" y="520"/>
                  </a:lnTo>
                  <a:lnTo>
                    <a:pt x="342" y="522"/>
                  </a:lnTo>
                  <a:lnTo>
                    <a:pt x="346" y="522"/>
                  </a:lnTo>
                  <a:lnTo>
                    <a:pt x="348" y="520"/>
                  </a:lnTo>
                  <a:lnTo>
                    <a:pt x="344" y="500"/>
                  </a:lnTo>
                  <a:lnTo>
                    <a:pt x="344" y="478"/>
                  </a:lnTo>
                  <a:lnTo>
                    <a:pt x="356" y="466"/>
                  </a:lnTo>
                  <a:lnTo>
                    <a:pt x="352" y="456"/>
                  </a:lnTo>
                  <a:lnTo>
                    <a:pt x="330" y="456"/>
                  </a:lnTo>
                  <a:lnTo>
                    <a:pt x="310" y="444"/>
                  </a:lnTo>
                  <a:lnTo>
                    <a:pt x="296" y="436"/>
                  </a:lnTo>
                  <a:lnTo>
                    <a:pt x="318" y="434"/>
                  </a:lnTo>
                  <a:lnTo>
                    <a:pt x="342" y="442"/>
                  </a:lnTo>
                  <a:lnTo>
                    <a:pt x="344" y="430"/>
                  </a:lnTo>
                  <a:lnTo>
                    <a:pt x="330" y="414"/>
                  </a:lnTo>
                  <a:lnTo>
                    <a:pt x="320" y="410"/>
                  </a:lnTo>
                  <a:lnTo>
                    <a:pt x="304" y="400"/>
                  </a:lnTo>
                  <a:lnTo>
                    <a:pt x="296" y="412"/>
                  </a:lnTo>
                  <a:lnTo>
                    <a:pt x="274" y="414"/>
                  </a:lnTo>
                  <a:lnTo>
                    <a:pt x="274" y="398"/>
                  </a:lnTo>
                  <a:lnTo>
                    <a:pt x="288" y="378"/>
                  </a:lnTo>
                  <a:lnTo>
                    <a:pt x="264" y="332"/>
                  </a:lnTo>
                  <a:lnTo>
                    <a:pt x="238" y="306"/>
                  </a:lnTo>
                  <a:lnTo>
                    <a:pt x="228" y="294"/>
                  </a:lnTo>
                  <a:lnTo>
                    <a:pt x="226" y="284"/>
                  </a:lnTo>
                  <a:lnTo>
                    <a:pt x="196" y="274"/>
                  </a:lnTo>
                  <a:lnTo>
                    <a:pt x="148" y="262"/>
                  </a:lnTo>
                  <a:lnTo>
                    <a:pt x="138" y="266"/>
                  </a:lnTo>
                  <a:lnTo>
                    <a:pt x="118" y="274"/>
                  </a:lnTo>
                  <a:lnTo>
                    <a:pt x="106" y="264"/>
                  </a:lnTo>
                  <a:lnTo>
                    <a:pt x="100" y="272"/>
                  </a:lnTo>
                  <a:lnTo>
                    <a:pt x="94" y="276"/>
                  </a:lnTo>
                  <a:lnTo>
                    <a:pt x="76" y="272"/>
                  </a:lnTo>
                  <a:lnTo>
                    <a:pt x="52" y="262"/>
                  </a:lnTo>
                  <a:lnTo>
                    <a:pt x="68" y="256"/>
                  </a:lnTo>
                  <a:lnTo>
                    <a:pt x="76" y="252"/>
                  </a:lnTo>
                  <a:lnTo>
                    <a:pt x="62" y="250"/>
                  </a:lnTo>
                  <a:lnTo>
                    <a:pt x="42" y="250"/>
                  </a:lnTo>
                  <a:lnTo>
                    <a:pt x="24" y="240"/>
                  </a:lnTo>
                  <a:lnTo>
                    <a:pt x="30" y="234"/>
                  </a:lnTo>
                  <a:lnTo>
                    <a:pt x="60" y="234"/>
                  </a:lnTo>
                  <a:lnTo>
                    <a:pt x="100" y="230"/>
                  </a:lnTo>
                  <a:lnTo>
                    <a:pt x="102" y="222"/>
                  </a:lnTo>
                  <a:lnTo>
                    <a:pt x="84" y="222"/>
                  </a:lnTo>
                  <a:lnTo>
                    <a:pt x="62" y="224"/>
                  </a:lnTo>
                  <a:lnTo>
                    <a:pt x="40" y="220"/>
                  </a:lnTo>
                  <a:lnTo>
                    <a:pt x="8" y="206"/>
                  </a:lnTo>
                  <a:lnTo>
                    <a:pt x="0" y="196"/>
                  </a:lnTo>
                  <a:lnTo>
                    <a:pt x="8" y="188"/>
                  </a:lnTo>
                  <a:lnTo>
                    <a:pt x="32" y="184"/>
                  </a:lnTo>
                  <a:lnTo>
                    <a:pt x="58" y="180"/>
                  </a:lnTo>
                  <a:lnTo>
                    <a:pt x="76" y="170"/>
                  </a:lnTo>
                  <a:lnTo>
                    <a:pt x="106" y="170"/>
                  </a:lnTo>
                  <a:lnTo>
                    <a:pt x="122" y="156"/>
                  </a:lnTo>
                  <a:lnTo>
                    <a:pt x="124" y="134"/>
                  </a:lnTo>
                  <a:lnTo>
                    <a:pt x="112" y="140"/>
                  </a:lnTo>
                  <a:lnTo>
                    <a:pt x="82" y="128"/>
                  </a:lnTo>
                  <a:lnTo>
                    <a:pt x="102" y="114"/>
                  </a:lnTo>
                  <a:lnTo>
                    <a:pt x="128" y="102"/>
                  </a:lnTo>
                  <a:lnTo>
                    <a:pt x="160" y="92"/>
                  </a:lnTo>
                  <a:lnTo>
                    <a:pt x="184" y="100"/>
                  </a:lnTo>
                  <a:lnTo>
                    <a:pt x="190" y="80"/>
                  </a:lnTo>
                  <a:lnTo>
                    <a:pt x="182" y="70"/>
                  </a:lnTo>
                  <a:lnTo>
                    <a:pt x="212" y="66"/>
                  </a:lnTo>
                  <a:lnTo>
                    <a:pt x="222" y="76"/>
                  </a:lnTo>
                  <a:lnTo>
                    <a:pt x="238" y="80"/>
                  </a:lnTo>
                  <a:lnTo>
                    <a:pt x="230" y="68"/>
                  </a:lnTo>
                  <a:lnTo>
                    <a:pt x="226" y="62"/>
                  </a:lnTo>
                  <a:lnTo>
                    <a:pt x="224" y="60"/>
                  </a:lnTo>
                  <a:lnTo>
                    <a:pt x="224" y="58"/>
                  </a:lnTo>
                  <a:lnTo>
                    <a:pt x="296" y="50"/>
                  </a:lnTo>
                  <a:lnTo>
                    <a:pt x="304" y="70"/>
                  </a:lnTo>
                  <a:lnTo>
                    <a:pt x="316" y="66"/>
                  </a:lnTo>
                  <a:lnTo>
                    <a:pt x="312" y="48"/>
                  </a:lnTo>
                  <a:lnTo>
                    <a:pt x="344" y="66"/>
                  </a:lnTo>
                  <a:lnTo>
                    <a:pt x="366" y="66"/>
                  </a:lnTo>
                  <a:lnTo>
                    <a:pt x="350" y="56"/>
                  </a:lnTo>
                  <a:lnTo>
                    <a:pt x="358" y="44"/>
                  </a:lnTo>
                  <a:lnTo>
                    <a:pt x="374" y="44"/>
                  </a:lnTo>
                  <a:lnTo>
                    <a:pt x="404" y="56"/>
                  </a:lnTo>
                  <a:lnTo>
                    <a:pt x="442" y="74"/>
                  </a:lnTo>
                  <a:lnTo>
                    <a:pt x="450" y="68"/>
                  </a:lnTo>
                  <a:lnTo>
                    <a:pt x="400" y="40"/>
                  </a:lnTo>
                  <a:lnTo>
                    <a:pt x="422" y="34"/>
                  </a:lnTo>
                  <a:lnTo>
                    <a:pt x="424" y="24"/>
                  </a:lnTo>
                  <a:lnTo>
                    <a:pt x="450" y="16"/>
                  </a:lnTo>
                  <a:lnTo>
                    <a:pt x="478" y="14"/>
                  </a:lnTo>
                  <a:lnTo>
                    <a:pt x="510" y="18"/>
                  </a:lnTo>
                  <a:lnTo>
                    <a:pt x="534" y="16"/>
                  </a:lnTo>
                  <a:lnTo>
                    <a:pt x="562" y="4"/>
                  </a:lnTo>
                  <a:lnTo>
                    <a:pt x="618" y="0"/>
                  </a:lnTo>
                  <a:lnTo>
                    <a:pt x="680" y="0"/>
                  </a:lnTo>
                  <a:lnTo>
                    <a:pt x="716" y="4"/>
                  </a:lnTo>
                  <a:lnTo>
                    <a:pt x="746" y="12"/>
                  </a:lnTo>
                  <a:lnTo>
                    <a:pt x="756" y="18"/>
                  </a:lnTo>
                  <a:lnTo>
                    <a:pt x="760" y="24"/>
                  </a:lnTo>
                  <a:lnTo>
                    <a:pt x="814" y="38"/>
                  </a:lnTo>
                  <a:lnTo>
                    <a:pt x="800" y="48"/>
                  </a:lnTo>
                  <a:lnTo>
                    <a:pt x="738" y="56"/>
                  </a:lnTo>
                  <a:lnTo>
                    <a:pt x="676" y="58"/>
                  </a:lnTo>
                  <a:lnTo>
                    <a:pt x="668" y="70"/>
                  </a:lnTo>
                  <a:lnTo>
                    <a:pt x="694" y="64"/>
                  </a:lnTo>
                  <a:lnTo>
                    <a:pt x="754" y="66"/>
                  </a:lnTo>
                  <a:lnTo>
                    <a:pt x="740" y="76"/>
                  </a:lnTo>
                  <a:lnTo>
                    <a:pt x="726" y="80"/>
                  </a:lnTo>
                  <a:lnTo>
                    <a:pt x="734" y="82"/>
                  </a:lnTo>
                  <a:lnTo>
                    <a:pt x="760" y="76"/>
                  </a:lnTo>
                  <a:lnTo>
                    <a:pt x="774" y="68"/>
                  </a:lnTo>
                  <a:lnTo>
                    <a:pt x="782" y="58"/>
                  </a:lnTo>
                  <a:lnTo>
                    <a:pt x="800" y="58"/>
                  </a:lnTo>
                  <a:lnTo>
                    <a:pt x="806" y="66"/>
                  </a:lnTo>
                  <a:lnTo>
                    <a:pt x="806" y="82"/>
                  </a:lnTo>
                  <a:lnTo>
                    <a:pt x="774" y="104"/>
                  </a:lnTo>
                  <a:lnTo>
                    <a:pt x="770" y="114"/>
                  </a:lnTo>
                  <a:lnTo>
                    <a:pt x="792" y="102"/>
                  </a:lnTo>
                  <a:lnTo>
                    <a:pt x="820" y="86"/>
                  </a:lnTo>
                  <a:lnTo>
                    <a:pt x="836" y="74"/>
                  </a:lnTo>
                  <a:lnTo>
                    <a:pt x="868" y="84"/>
                  </a:lnTo>
                  <a:lnTo>
                    <a:pt x="884" y="68"/>
                  </a:lnTo>
                  <a:lnTo>
                    <a:pt x="914" y="66"/>
                  </a:lnTo>
                  <a:lnTo>
                    <a:pt x="946" y="70"/>
                  </a:lnTo>
                  <a:lnTo>
                    <a:pt x="962" y="80"/>
                  </a:lnTo>
                  <a:lnTo>
                    <a:pt x="948" y="90"/>
                  </a:lnTo>
                  <a:lnTo>
                    <a:pt x="922" y="98"/>
                  </a:lnTo>
                  <a:lnTo>
                    <a:pt x="916" y="106"/>
                  </a:lnTo>
                  <a:lnTo>
                    <a:pt x="906" y="110"/>
                  </a:lnTo>
                  <a:lnTo>
                    <a:pt x="872" y="110"/>
                  </a:lnTo>
                  <a:lnTo>
                    <a:pt x="852" y="116"/>
                  </a:lnTo>
                  <a:lnTo>
                    <a:pt x="870" y="120"/>
                  </a:lnTo>
                  <a:lnTo>
                    <a:pt x="896" y="122"/>
                  </a:lnTo>
                  <a:lnTo>
                    <a:pt x="888" y="130"/>
                  </a:lnTo>
                  <a:lnTo>
                    <a:pt x="850" y="128"/>
                  </a:lnTo>
                  <a:lnTo>
                    <a:pt x="832" y="132"/>
                  </a:lnTo>
                  <a:lnTo>
                    <a:pt x="840" y="140"/>
                  </a:lnTo>
                  <a:lnTo>
                    <a:pt x="866" y="138"/>
                  </a:lnTo>
                  <a:lnTo>
                    <a:pt x="876" y="138"/>
                  </a:lnTo>
                  <a:lnTo>
                    <a:pt x="868" y="146"/>
                  </a:lnTo>
                  <a:lnTo>
                    <a:pt x="844" y="152"/>
                  </a:lnTo>
                  <a:lnTo>
                    <a:pt x="842" y="170"/>
                  </a:lnTo>
                  <a:lnTo>
                    <a:pt x="822" y="180"/>
                  </a:lnTo>
                  <a:lnTo>
                    <a:pt x="812" y="208"/>
                  </a:lnTo>
                  <a:lnTo>
                    <a:pt x="822" y="210"/>
                  </a:lnTo>
                  <a:lnTo>
                    <a:pt x="848" y="212"/>
                  </a:lnTo>
                  <a:lnTo>
                    <a:pt x="836" y="220"/>
                  </a:lnTo>
                  <a:lnTo>
                    <a:pt x="836" y="224"/>
                  </a:lnTo>
                  <a:lnTo>
                    <a:pt x="838" y="226"/>
                  </a:lnTo>
                  <a:lnTo>
                    <a:pt x="840" y="228"/>
                  </a:lnTo>
                  <a:lnTo>
                    <a:pt x="854" y="234"/>
                  </a:lnTo>
                  <a:lnTo>
                    <a:pt x="868" y="238"/>
                  </a:lnTo>
                  <a:lnTo>
                    <a:pt x="864" y="250"/>
                  </a:lnTo>
                  <a:lnTo>
                    <a:pt x="860" y="258"/>
                  </a:lnTo>
                  <a:lnTo>
                    <a:pt x="858" y="260"/>
                  </a:lnTo>
                  <a:lnTo>
                    <a:pt x="846" y="252"/>
                  </a:lnTo>
                  <a:lnTo>
                    <a:pt x="836" y="244"/>
                  </a:lnTo>
                  <a:lnTo>
                    <a:pt x="814" y="248"/>
                  </a:lnTo>
                  <a:lnTo>
                    <a:pt x="814" y="262"/>
                  </a:lnTo>
                  <a:lnTo>
                    <a:pt x="834" y="268"/>
                  </a:lnTo>
                  <a:lnTo>
                    <a:pt x="850" y="280"/>
                  </a:lnTo>
                  <a:lnTo>
                    <a:pt x="848" y="296"/>
                  </a:lnTo>
                  <a:lnTo>
                    <a:pt x="828" y="298"/>
                  </a:lnTo>
                  <a:lnTo>
                    <a:pt x="840" y="312"/>
                  </a:lnTo>
                  <a:lnTo>
                    <a:pt x="846" y="320"/>
                  </a:lnTo>
                  <a:lnTo>
                    <a:pt x="850" y="324"/>
                  </a:lnTo>
                  <a:lnTo>
                    <a:pt x="850" y="328"/>
                  </a:lnTo>
                  <a:lnTo>
                    <a:pt x="838" y="334"/>
                  </a:lnTo>
                  <a:lnTo>
                    <a:pt x="826" y="336"/>
                  </a:lnTo>
                  <a:lnTo>
                    <a:pt x="830" y="350"/>
                  </a:lnTo>
                  <a:lnTo>
                    <a:pt x="812" y="356"/>
                  </a:lnTo>
                  <a:lnTo>
                    <a:pt x="790" y="356"/>
                  </a:lnTo>
                  <a:lnTo>
                    <a:pt x="768" y="354"/>
                  </a:lnTo>
                  <a:lnTo>
                    <a:pt x="756" y="360"/>
                  </a:lnTo>
                  <a:lnTo>
                    <a:pt x="768" y="372"/>
                  </a:lnTo>
                  <a:lnTo>
                    <a:pt x="800" y="372"/>
                  </a:lnTo>
                  <a:lnTo>
                    <a:pt x="804" y="382"/>
                  </a:lnTo>
                  <a:lnTo>
                    <a:pt x="800" y="400"/>
                  </a:lnTo>
                  <a:lnTo>
                    <a:pt x="782" y="386"/>
                  </a:lnTo>
                  <a:lnTo>
                    <a:pt x="774" y="386"/>
                  </a:lnTo>
                  <a:lnTo>
                    <a:pt x="776" y="392"/>
                  </a:lnTo>
                  <a:lnTo>
                    <a:pt x="804" y="410"/>
                  </a:lnTo>
                  <a:lnTo>
                    <a:pt x="810" y="446"/>
                  </a:lnTo>
                  <a:lnTo>
                    <a:pt x="790" y="444"/>
                  </a:lnTo>
                  <a:lnTo>
                    <a:pt x="770" y="430"/>
                  </a:lnTo>
                  <a:lnTo>
                    <a:pt x="756" y="416"/>
                  </a:lnTo>
                  <a:lnTo>
                    <a:pt x="750" y="414"/>
                  </a:lnTo>
                  <a:lnTo>
                    <a:pt x="750" y="432"/>
                  </a:lnTo>
                  <a:lnTo>
                    <a:pt x="756" y="446"/>
                  </a:lnTo>
                  <a:lnTo>
                    <a:pt x="778" y="452"/>
                  </a:lnTo>
                  <a:lnTo>
                    <a:pt x="804" y="454"/>
                  </a:lnTo>
                  <a:lnTo>
                    <a:pt x="790" y="46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02" name="Freeform 18"/>
            <p:cNvSpPr>
              <a:spLocks/>
            </p:cNvSpPr>
            <p:nvPr/>
          </p:nvSpPr>
          <p:spPr bwMode="gray">
            <a:xfrm>
              <a:off x="2698750" y="3878263"/>
              <a:ext cx="68263" cy="76200"/>
            </a:xfrm>
            <a:custGeom>
              <a:avLst/>
              <a:gdLst>
                <a:gd name="T0" fmla="*/ 2147483647 w 58"/>
                <a:gd name="T1" fmla="*/ 2147483647 h 64"/>
                <a:gd name="T2" fmla="*/ 2147483647 w 58"/>
                <a:gd name="T3" fmla="*/ 2147483647 h 64"/>
                <a:gd name="T4" fmla="*/ 2147483647 w 58"/>
                <a:gd name="T5" fmla="*/ 2147483647 h 64"/>
                <a:gd name="T6" fmla="*/ 2147483647 w 58"/>
                <a:gd name="T7" fmla="*/ 2147483647 h 64"/>
                <a:gd name="T8" fmla="*/ 2147483647 w 58"/>
                <a:gd name="T9" fmla="*/ 2147483647 h 64"/>
                <a:gd name="T10" fmla="*/ 2147483647 w 58"/>
                <a:gd name="T11" fmla="*/ 2147483647 h 64"/>
                <a:gd name="T12" fmla="*/ 2147483647 w 58"/>
                <a:gd name="T13" fmla="*/ 2147483647 h 64"/>
                <a:gd name="T14" fmla="*/ 2147483647 w 58"/>
                <a:gd name="T15" fmla="*/ 0 h 64"/>
                <a:gd name="T16" fmla="*/ 2147483647 w 58"/>
                <a:gd name="T17" fmla="*/ 2147483647 h 64"/>
                <a:gd name="T18" fmla="*/ 2147483647 w 58"/>
                <a:gd name="T19" fmla="*/ 2147483647 h 64"/>
                <a:gd name="T20" fmla="*/ 2147483647 w 58"/>
                <a:gd name="T21" fmla="*/ 2147483647 h 64"/>
                <a:gd name="T22" fmla="*/ 2147483647 w 58"/>
                <a:gd name="T23" fmla="*/ 2147483647 h 64"/>
                <a:gd name="T24" fmla="*/ 2147483647 w 58"/>
                <a:gd name="T25" fmla="*/ 2147483647 h 64"/>
                <a:gd name="T26" fmla="*/ 2147483647 w 58"/>
                <a:gd name="T27" fmla="*/ 2147483647 h 64"/>
                <a:gd name="T28" fmla="*/ 2147483647 w 58"/>
                <a:gd name="T29" fmla="*/ 2147483647 h 64"/>
                <a:gd name="T30" fmla="*/ 2147483647 w 58"/>
                <a:gd name="T31" fmla="*/ 2147483647 h 64"/>
                <a:gd name="T32" fmla="*/ 2147483647 w 58"/>
                <a:gd name="T33" fmla="*/ 2147483647 h 64"/>
                <a:gd name="T34" fmla="*/ 2147483647 w 58"/>
                <a:gd name="T35" fmla="*/ 2147483647 h 64"/>
                <a:gd name="T36" fmla="*/ 0 w 58"/>
                <a:gd name="T37" fmla="*/ 2147483647 h 64"/>
                <a:gd name="T38" fmla="*/ 2147483647 w 58"/>
                <a:gd name="T39" fmla="*/ 2147483647 h 64"/>
                <a:gd name="T40" fmla="*/ 2147483647 w 58"/>
                <a:gd name="T41" fmla="*/ 2147483647 h 64"/>
                <a:gd name="T42" fmla="*/ 2147483647 w 58"/>
                <a:gd name="T43" fmla="*/ 2147483647 h 64"/>
                <a:gd name="T44" fmla="*/ 2147483647 w 58"/>
                <a:gd name="T45" fmla="*/ 2147483647 h 6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8"/>
                <a:gd name="T70" fmla="*/ 0 h 64"/>
                <a:gd name="T71" fmla="*/ 58 w 58"/>
                <a:gd name="T72" fmla="*/ 64 h 6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8" h="64">
                  <a:moveTo>
                    <a:pt x="34" y="64"/>
                  </a:moveTo>
                  <a:lnTo>
                    <a:pt x="42" y="56"/>
                  </a:lnTo>
                  <a:lnTo>
                    <a:pt x="48" y="50"/>
                  </a:lnTo>
                  <a:lnTo>
                    <a:pt x="52" y="46"/>
                  </a:lnTo>
                  <a:lnTo>
                    <a:pt x="58" y="38"/>
                  </a:lnTo>
                  <a:lnTo>
                    <a:pt x="54" y="34"/>
                  </a:lnTo>
                  <a:lnTo>
                    <a:pt x="48" y="34"/>
                  </a:lnTo>
                  <a:lnTo>
                    <a:pt x="48" y="0"/>
                  </a:lnTo>
                  <a:lnTo>
                    <a:pt x="18" y="2"/>
                  </a:lnTo>
                  <a:lnTo>
                    <a:pt x="16" y="6"/>
                  </a:lnTo>
                  <a:lnTo>
                    <a:pt x="18" y="14"/>
                  </a:lnTo>
                  <a:lnTo>
                    <a:pt x="26" y="20"/>
                  </a:lnTo>
                  <a:lnTo>
                    <a:pt x="30" y="26"/>
                  </a:lnTo>
                  <a:lnTo>
                    <a:pt x="26" y="28"/>
                  </a:lnTo>
                  <a:lnTo>
                    <a:pt x="14" y="30"/>
                  </a:lnTo>
                  <a:lnTo>
                    <a:pt x="10" y="28"/>
                  </a:lnTo>
                  <a:lnTo>
                    <a:pt x="4" y="36"/>
                  </a:lnTo>
                  <a:lnTo>
                    <a:pt x="2" y="42"/>
                  </a:lnTo>
                  <a:lnTo>
                    <a:pt x="0" y="54"/>
                  </a:lnTo>
                  <a:lnTo>
                    <a:pt x="6" y="58"/>
                  </a:lnTo>
                  <a:lnTo>
                    <a:pt x="12" y="62"/>
                  </a:lnTo>
                  <a:lnTo>
                    <a:pt x="22" y="64"/>
                  </a:lnTo>
                  <a:lnTo>
                    <a:pt x="34" y="6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03" name="Freeform 19"/>
            <p:cNvSpPr>
              <a:spLocks/>
            </p:cNvSpPr>
            <p:nvPr/>
          </p:nvSpPr>
          <p:spPr bwMode="gray">
            <a:xfrm>
              <a:off x="2754313" y="3865563"/>
              <a:ext cx="15875" cy="53975"/>
            </a:xfrm>
            <a:custGeom>
              <a:avLst/>
              <a:gdLst>
                <a:gd name="T0" fmla="*/ 2147483647 w 12"/>
                <a:gd name="T1" fmla="*/ 0 h 44"/>
                <a:gd name="T2" fmla="*/ 2147483647 w 12"/>
                <a:gd name="T3" fmla="*/ 2147483647 h 44"/>
                <a:gd name="T4" fmla="*/ 2147483647 w 12"/>
                <a:gd name="T5" fmla="*/ 2147483647 h 44"/>
                <a:gd name="T6" fmla="*/ 2147483647 w 12"/>
                <a:gd name="T7" fmla="*/ 2147483647 h 44"/>
                <a:gd name="T8" fmla="*/ 2147483647 w 12"/>
                <a:gd name="T9" fmla="*/ 2147483647 h 44"/>
                <a:gd name="T10" fmla="*/ 2147483647 w 12"/>
                <a:gd name="T11" fmla="*/ 2147483647 h 44"/>
                <a:gd name="T12" fmla="*/ 0 w 12"/>
                <a:gd name="T13" fmla="*/ 2147483647 h 44"/>
                <a:gd name="T14" fmla="*/ 0 w 12"/>
                <a:gd name="T15" fmla="*/ 2147483647 h 44"/>
                <a:gd name="T16" fmla="*/ 2147483647 w 12"/>
                <a:gd name="T17" fmla="*/ 2147483647 h 44"/>
                <a:gd name="T18" fmla="*/ 2147483647 w 12"/>
                <a:gd name="T19" fmla="*/ 0 h 4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44"/>
                <a:gd name="T32" fmla="*/ 12 w 12"/>
                <a:gd name="T33" fmla="*/ 44 h 4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44">
                  <a:moveTo>
                    <a:pt x="10" y="0"/>
                  </a:moveTo>
                  <a:lnTo>
                    <a:pt x="12" y="6"/>
                  </a:lnTo>
                  <a:lnTo>
                    <a:pt x="10" y="12"/>
                  </a:lnTo>
                  <a:lnTo>
                    <a:pt x="10" y="26"/>
                  </a:lnTo>
                  <a:lnTo>
                    <a:pt x="10" y="34"/>
                  </a:lnTo>
                  <a:lnTo>
                    <a:pt x="6" y="38"/>
                  </a:lnTo>
                  <a:lnTo>
                    <a:pt x="0" y="44"/>
                  </a:lnTo>
                  <a:lnTo>
                    <a:pt x="0" y="10"/>
                  </a:lnTo>
                  <a:lnTo>
                    <a:pt x="6" y="4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04" name="Freeform 20"/>
            <p:cNvSpPr>
              <a:spLocks/>
            </p:cNvSpPr>
            <p:nvPr/>
          </p:nvSpPr>
          <p:spPr bwMode="gray">
            <a:xfrm>
              <a:off x="2752725" y="3916363"/>
              <a:ext cx="114300" cy="57150"/>
            </a:xfrm>
            <a:custGeom>
              <a:avLst/>
              <a:gdLst>
                <a:gd name="T0" fmla="*/ 2147483647 w 96"/>
                <a:gd name="T1" fmla="*/ 2147483647 h 48"/>
                <a:gd name="T2" fmla="*/ 2147483647 w 96"/>
                <a:gd name="T3" fmla="*/ 2147483647 h 48"/>
                <a:gd name="T4" fmla="*/ 2147483647 w 96"/>
                <a:gd name="T5" fmla="*/ 2147483647 h 48"/>
                <a:gd name="T6" fmla="*/ 2147483647 w 96"/>
                <a:gd name="T7" fmla="*/ 2147483647 h 48"/>
                <a:gd name="T8" fmla="*/ 2147483647 w 96"/>
                <a:gd name="T9" fmla="*/ 2147483647 h 48"/>
                <a:gd name="T10" fmla="*/ 2147483647 w 96"/>
                <a:gd name="T11" fmla="*/ 0 h 48"/>
                <a:gd name="T12" fmla="*/ 2147483647 w 96"/>
                <a:gd name="T13" fmla="*/ 0 h 48"/>
                <a:gd name="T14" fmla="*/ 2147483647 w 96"/>
                <a:gd name="T15" fmla="*/ 0 h 48"/>
                <a:gd name="T16" fmla="*/ 2147483647 w 96"/>
                <a:gd name="T17" fmla="*/ 2147483647 h 48"/>
                <a:gd name="T18" fmla="*/ 2147483647 w 96"/>
                <a:gd name="T19" fmla="*/ 2147483647 h 48"/>
                <a:gd name="T20" fmla="*/ 2147483647 w 96"/>
                <a:gd name="T21" fmla="*/ 2147483647 h 48"/>
                <a:gd name="T22" fmla="*/ 2147483647 w 96"/>
                <a:gd name="T23" fmla="*/ 2147483647 h 48"/>
                <a:gd name="T24" fmla="*/ 2147483647 w 96"/>
                <a:gd name="T25" fmla="*/ 2147483647 h 48"/>
                <a:gd name="T26" fmla="*/ 2147483647 w 96"/>
                <a:gd name="T27" fmla="*/ 2147483647 h 48"/>
                <a:gd name="T28" fmla="*/ 2147483647 w 96"/>
                <a:gd name="T29" fmla="*/ 2147483647 h 48"/>
                <a:gd name="T30" fmla="*/ 2147483647 w 96"/>
                <a:gd name="T31" fmla="*/ 2147483647 h 48"/>
                <a:gd name="T32" fmla="*/ 2147483647 w 96"/>
                <a:gd name="T33" fmla="*/ 2147483647 h 48"/>
                <a:gd name="T34" fmla="*/ 2147483647 w 96"/>
                <a:gd name="T35" fmla="*/ 2147483647 h 48"/>
                <a:gd name="T36" fmla="*/ 2147483647 w 96"/>
                <a:gd name="T37" fmla="*/ 2147483647 h 48"/>
                <a:gd name="T38" fmla="*/ 2147483647 w 96"/>
                <a:gd name="T39" fmla="*/ 2147483647 h 48"/>
                <a:gd name="T40" fmla="*/ 2147483647 w 96"/>
                <a:gd name="T41" fmla="*/ 2147483647 h 48"/>
                <a:gd name="T42" fmla="*/ 2147483647 w 96"/>
                <a:gd name="T43" fmla="*/ 2147483647 h 48"/>
                <a:gd name="T44" fmla="*/ 2147483647 w 96"/>
                <a:gd name="T45" fmla="*/ 2147483647 h 48"/>
                <a:gd name="T46" fmla="*/ 2147483647 w 96"/>
                <a:gd name="T47" fmla="*/ 2147483647 h 48"/>
                <a:gd name="T48" fmla="*/ 2147483647 w 96"/>
                <a:gd name="T49" fmla="*/ 2147483647 h 48"/>
                <a:gd name="T50" fmla="*/ 2147483647 w 96"/>
                <a:gd name="T51" fmla="*/ 2147483647 h 48"/>
                <a:gd name="T52" fmla="*/ 0 w 96"/>
                <a:gd name="T53" fmla="*/ 2147483647 h 48"/>
                <a:gd name="T54" fmla="*/ 2147483647 w 96"/>
                <a:gd name="T55" fmla="*/ 2147483647 h 4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96"/>
                <a:gd name="T85" fmla="*/ 0 h 48"/>
                <a:gd name="T86" fmla="*/ 96 w 96"/>
                <a:gd name="T87" fmla="*/ 48 h 4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96" h="48">
                  <a:moveTo>
                    <a:pt x="12" y="6"/>
                  </a:moveTo>
                  <a:lnTo>
                    <a:pt x="26" y="2"/>
                  </a:lnTo>
                  <a:lnTo>
                    <a:pt x="34" y="2"/>
                  </a:lnTo>
                  <a:lnTo>
                    <a:pt x="42" y="4"/>
                  </a:lnTo>
                  <a:lnTo>
                    <a:pt x="52" y="2"/>
                  </a:lnTo>
                  <a:lnTo>
                    <a:pt x="64" y="0"/>
                  </a:lnTo>
                  <a:lnTo>
                    <a:pt x="74" y="0"/>
                  </a:lnTo>
                  <a:lnTo>
                    <a:pt x="80" y="0"/>
                  </a:lnTo>
                  <a:lnTo>
                    <a:pt x="84" y="4"/>
                  </a:lnTo>
                  <a:lnTo>
                    <a:pt x="96" y="12"/>
                  </a:lnTo>
                  <a:lnTo>
                    <a:pt x="94" y="16"/>
                  </a:lnTo>
                  <a:lnTo>
                    <a:pt x="88" y="18"/>
                  </a:lnTo>
                  <a:lnTo>
                    <a:pt x="80" y="18"/>
                  </a:lnTo>
                  <a:lnTo>
                    <a:pt x="70" y="18"/>
                  </a:lnTo>
                  <a:lnTo>
                    <a:pt x="64" y="22"/>
                  </a:lnTo>
                  <a:lnTo>
                    <a:pt x="56" y="30"/>
                  </a:lnTo>
                  <a:lnTo>
                    <a:pt x="48" y="32"/>
                  </a:lnTo>
                  <a:lnTo>
                    <a:pt x="42" y="34"/>
                  </a:lnTo>
                  <a:lnTo>
                    <a:pt x="40" y="42"/>
                  </a:lnTo>
                  <a:lnTo>
                    <a:pt x="36" y="46"/>
                  </a:lnTo>
                  <a:lnTo>
                    <a:pt x="30" y="48"/>
                  </a:lnTo>
                  <a:lnTo>
                    <a:pt x="30" y="42"/>
                  </a:lnTo>
                  <a:lnTo>
                    <a:pt x="28" y="36"/>
                  </a:lnTo>
                  <a:lnTo>
                    <a:pt x="22" y="36"/>
                  </a:lnTo>
                  <a:lnTo>
                    <a:pt x="20" y="32"/>
                  </a:lnTo>
                  <a:lnTo>
                    <a:pt x="6" y="26"/>
                  </a:lnTo>
                  <a:lnTo>
                    <a:pt x="0" y="22"/>
                  </a:lnTo>
                  <a:lnTo>
                    <a:pt x="12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05" name="Freeform 21"/>
            <p:cNvSpPr>
              <a:spLocks/>
            </p:cNvSpPr>
            <p:nvPr/>
          </p:nvSpPr>
          <p:spPr bwMode="gray">
            <a:xfrm>
              <a:off x="2789238" y="3935413"/>
              <a:ext cx="74612" cy="79375"/>
            </a:xfrm>
            <a:custGeom>
              <a:avLst/>
              <a:gdLst>
                <a:gd name="T0" fmla="*/ 2147483647 w 64"/>
                <a:gd name="T1" fmla="*/ 2147483647 h 66"/>
                <a:gd name="T2" fmla="*/ 2147483647 w 64"/>
                <a:gd name="T3" fmla="*/ 2147483647 h 66"/>
                <a:gd name="T4" fmla="*/ 2147483647 w 64"/>
                <a:gd name="T5" fmla="*/ 2147483647 h 66"/>
                <a:gd name="T6" fmla="*/ 2147483647 w 64"/>
                <a:gd name="T7" fmla="*/ 2147483647 h 66"/>
                <a:gd name="T8" fmla="*/ 2147483647 w 64"/>
                <a:gd name="T9" fmla="*/ 2147483647 h 66"/>
                <a:gd name="T10" fmla="*/ 0 w 64"/>
                <a:gd name="T11" fmla="*/ 2147483647 h 66"/>
                <a:gd name="T12" fmla="*/ 2147483647 w 64"/>
                <a:gd name="T13" fmla="*/ 2147483647 h 66"/>
                <a:gd name="T14" fmla="*/ 2147483647 w 64"/>
                <a:gd name="T15" fmla="*/ 2147483647 h 66"/>
                <a:gd name="T16" fmla="*/ 2147483647 w 64"/>
                <a:gd name="T17" fmla="*/ 2147483647 h 66"/>
                <a:gd name="T18" fmla="*/ 2147483647 w 64"/>
                <a:gd name="T19" fmla="*/ 2147483647 h 66"/>
                <a:gd name="T20" fmla="*/ 2147483647 w 64"/>
                <a:gd name="T21" fmla="*/ 2147483647 h 66"/>
                <a:gd name="T22" fmla="*/ 2147483647 w 64"/>
                <a:gd name="T23" fmla="*/ 2147483647 h 66"/>
                <a:gd name="T24" fmla="*/ 2147483647 w 64"/>
                <a:gd name="T25" fmla="*/ 2147483647 h 66"/>
                <a:gd name="T26" fmla="*/ 2147483647 w 64"/>
                <a:gd name="T27" fmla="*/ 0 h 66"/>
                <a:gd name="T28" fmla="*/ 2147483647 w 64"/>
                <a:gd name="T29" fmla="*/ 2147483647 h 66"/>
                <a:gd name="T30" fmla="*/ 2147483647 w 64"/>
                <a:gd name="T31" fmla="*/ 2147483647 h 66"/>
                <a:gd name="T32" fmla="*/ 2147483647 w 64"/>
                <a:gd name="T33" fmla="*/ 2147483647 h 66"/>
                <a:gd name="T34" fmla="*/ 2147483647 w 64"/>
                <a:gd name="T35" fmla="*/ 2147483647 h 66"/>
                <a:gd name="T36" fmla="*/ 2147483647 w 64"/>
                <a:gd name="T37" fmla="*/ 2147483647 h 66"/>
                <a:gd name="T38" fmla="*/ 2147483647 w 64"/>
                <a:gd name="T39" fmla="*/ 2147483647 h 6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64"/>
                <a:gd name="T61" fmla="*/ 0 h 66"/>
                <a:gd name="T62" fmla="*/ 64 w 64"/>
                <a:gd name="T63" fmla="*/ 66 h 6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64" h="66">
                  <a:moveTo>
                    <a:pt x="54" y="66"/>
                  </a:moveTo>
                  <a:lnTo>
                    <a:pt x="44" y="62"/>
                  </a:lnTo>
                  <a:lnTo>
                    <a:pt x="26" y="60"/>
                  </a:lnTo>
                  <a:lnTo>
                    <a:pt x="14" y="50"/>
                  </a:lnTo>
                  <a:lnTo>
                    <a:pt x="6" y="42"/>
                  </a:lnTo>
                  <a:lnTo>
                    <a:pt x="0" y="32"/>
                  </a:lnTo>
                  <a:lnTo>
                    <a:pt x="10" y="26"/>
                  </a:lnTo>
                  <a:lnTo>
                    <a:pt x="12" y="18"/>
                  </a:lnTo>
                  <a:lnTo>
                    <a:pt x="26" y="14"/>
                  </a:lnTo>
                  <a:lnTo>
                    <a:pt x="34" y="6"/>
                  </a:lnTo>
                  <a:lnTo>
                    <a:pt x="40" y="2"/>
                  </a:lnTo>
                  <a:lnTo>
                    <a:pt x="50" y="2"/>
                  </a:lnTo>
                  <a:lnTo>
                    <a:pt x="58" y="2"/>
                  </a:lnTo>
                  <a:lnTo>
                    <a:pt x="64" y="0"/>
                  </a:lnTo>
                  <a:lnTo>
                    <a:pt x="64" y="6"/>
                  </a:lnTo>
                  <a:lnTo>
                    <a:pt x="62" y="18"/>
                  </a:lnTo>
                  <a:lnTo>
                    <a:pt x="58" y="30"/>
                  </a:lnTo>
                  <a:lnTo>
                    <a:pt x="56" y="42"/>
                  </a:lnTo>
                  <a:lnTo>
                    <a:pt x="56" y="52"/>
                  </a:lnTo>
                  <a:lnTo>
                    <a:pt x="54" y="6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06" name="Freeform 22"/>
            <p:cNvSpPr>
              <a:spLocks/>
            </p:cNvSpPr>
            <p:nvPr/>
          </p:nvSpPr>
          <p:spPr bwMode="gray">
            <a:xfrm>
              <a:off x="2835275" y="3771900"/>
              <a:ext cx="198438" cy="66675"/>
            </a:xfrm>
            <a:custGeom>
              <a:avLst/>
              <a:gdLst>
                <a:gd name="T0" fmla="*/ 2147483647 w 166"/>
                <a:gd name="T1" fmla="*/ 2147483647 h 56"/>
                <a:gd name="T2" fmla="*/ 2147483647 w 166"/>
                <a:gd name="T3" fmla="*/ 2147483647 h 56"/>
                <a:gd name="T4" fmla="*/ 2147483647 w 166"/>
                <a:gd name="T5" fmla="*/ 2147483647 h 56"/>
                <a:gd name="T6" fmla="*/ 2147483647 w 166"/>
                <a:gd name="T7" fmla="*/ 2147483647 h 56"/>
                <a:gd name="T8" fmla="*/ 2147483647 w 166"/>
                <a:gd name="T9" fmla="*/ 2147483647 h 56"/>
                <a:gd name="T10" fmla="*/ 2147483647 w 166"/>
                <a:gd name="T11" fmla="*/ 2147483647 h 56"/>
                <a:gd name="T12" fmla="*/ 2147483647 w 166"/>
                <a:gd name="T13" fmla="*/ 2147483647 h 56"/>
                <a:gd name="T14" fmla="*/ 2147483647 w 166"/>
                <a:gd name="T15" fmla="*/ 2147483647 h 56"/>
                <a:gd name="T16" fmla="*/ 2147483647 w 166"/>
                <a:gd name="T17" fmla="*/ 2147483647 h 56"/>
                <a:gd name="T18" fmla="*/ 2147483647 w 166"/>
                <a:gd name="T19" fmla="*/ 2147483647 h 56"/>
                <a:gd name="T20" fmla="*/ 2147483647 w 166"/>
                <a:gd name="T21" fmla="*/ 2147483647 h 56"/>
                <a:gd name="T22" fmla="*/ 2147483647 w 166"/>
                <a:gd name="T23" fmla="*/ 2147483647 h 56"/>
                <a:gd name="T24" fmla="*/ 2147483647 w 166"/>
                <a:gd name="T25" fmla="*/ 2147483647 h 56"/>
                <a:gd name="T26" fmla="*/ 2147483647 w 166"/>
                <a:gd name="T27" fmla="*/ 2147483647 h 56"/>
                <a:gd name="T28" fmla="*/ 2147483647 w 166"/>
                <a:gd name="T29" fmla="*/ 2147483647 h 56"/>
                <a:gd name="T30" fmla="*/ 2147483647 w 166"/>
                <a:gd name="T31" fmla="*/ 2147483647 h 56"/>
                <a:gd name="T32" fmla="*/ 2147483647 w 166"/>
                <a:gd name="T33" fmla="*/ 2147483647 h 56"/>
                <a:gd name="T34" fmla="*/ 2147483647 w 166"/>
                <a:gd name="T35" fmla="*/ 2147483647 h 56"/>
                <a:gd name="T36" fmla="*/ 2147483647 w 166"/>
                <a:gd name="T37" fmla="*/ 2147483647 h 56"/>
                <a:gd name="T38" fmla="*/ 0 w 166"/>
                <a:gd name="T39" fmla="*/ 2147483647 h 56"/>
                <a:gd name="T40" fmla="*/ 2147483647 w 166"/>
                <a:gd name="T41" fmla="*/ 2147483647 h 56"/>
                <a:gd name="T42" fmla="*/ 2147483647 w 166"/>
                <a:gd name="T43" fmla="*/ 2147483647 h 56"/>
                <a:gd name="T44" fmla="*/ 2147483647 w 166"/>
                <a:gd name="T45" fmla="*/ 2147483647 h 56"/>
                <a:gd name="T46" fmla="*/ 2147483647 w 166"/>
                <a:gd name="T47" fmla="*/ 0 h 56"/>
                <a:gd name="T48" fmla="*/ 2147483647 w 166"/>
                <a:gd name="T49" fmla="*/ 0 h 56"/>
                <a:gd name="T50" fmla="*/ 2147483647 w 166"/>
                <a:gd name="T51" fmla="*/ 2147483647 h 56"/>
                <a:gd name="T52" fmla="*/ 2147483647 w 166"/>
                <a:gd name="T53" fmla="*/ 2147483647 h 56"/>
                <a:gd name="T54" fmla="*/ 2147483647 w 166"/>
                <a:gd name="T55" fmla="*/ 2147483647 h 56"/>
                <a:gd name="T56" fmla="*/ 2147483647 w 166"/>
                <a:gd name="T57" fmla="*/ 2147483647 h 56"/>
                <a:gd name="T58" fmla="*/ 2147483647 w 166"/>
                <a:gd name="T59" fmla="*/ 2147483647 h 56"/>
                <a:gd name="T60" fmla="*/ 2147483647 w 166"/>
                <a:gd name="T61" fmla="*/ 2147483647 h 56"/>
                <a:gd name="T62" fmla="*/ 2147483647 w 166"/>
                <a:gd name="T63" fmla="*/ 2147483647 h 56"/>
                <a:gd name="T64" fmla="*/ 2147483647 w 166"/>
                <a:gd name="T65" fmla="*/ 2147483647 h 56"/>
                <a:gd name="T66" fmla="*/ 2147483647 w 166"/>
                <a:gd name="T67" fmla="*/ 2147483647 h 56"/>
                <a:gd name="T68" fmla="*/ 2147483647 w 166"/>
                <a:gd name="T69" fmla="*/ 2147483647 h 56"/>
                <a:gd name="T70" fmla="*/ 2147483647 w 166"/>
                <a:gd name="T71" fmla="*/ 2147483647 h 56"/>
                <a:gd name="T72" fmla="*/ 2147483647 w 166"/>
                <a:gd name="T73" fmla="*/ 2147483647 h 56"/>
                <a:gd name="T74" fmla="*/ 2147483647 w 166"/>
                <a:gd name="T75" fmla="*/ 2147483647 h 5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6"/>
                <a:gd name="T115" fmla="*/ 0 h 56"/>
                <a:gd name="T116" fmla="*/ 166 w 166"/>
                <a:gd name="T117" fmla="*/ 56 h 5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6" h="56">
                  <a:moveTo>
                    <a:pt x="148" y="56"/>
                  </a:moveTo>
                  <a:lnTo>
                    <a:pt x="140" y="52"/>
                  </a:lnTo>
                  <a:lnTo>
                    <a:pt x="130" y="52"/>
                  </a:lnTo>
                  <a:lnTo>
                    <a:pt x="124" y="56"/>
                  </a:lnTo>
                  <a:lnTo>
                    <a:pt x="116" y="54"/>
                  </a:lnTo>
                  <a:lnTo>
                    <a:pt x="118" y="46"/>
                  </a:lnTo>
                  <a:lnTo>
                    <a:pt x="116" y="40"/>
                  </a:lnTo>
                  <a:lnTo>
                    <a:pt x="104" y="40"/>
                  </a:lnTo>
                  <a:lnTo>
                    <a:pt x="100" y="32"/>
                  </a:lnTo>
                  <a:lnTo>
                    <a:pt x="94" y="30"/>
                  </a:lnTo>
                  <a:lnTo>
                    <a:pt x="80" y="26"/>
                  </a:lnTo>
                  <a:lnTo>
                    <a:pt x="76" y="22"/>
                  </a:lnTo>
                  <a:lnTo>
                    <a:pt x="62" y="18"/>
                  </a:lnTo>
                  <a:lnTo>
                    <a:pt x="48" y="16"/>
                  </a:lnTo>
                  <a:lnTo>
                    <a:pt x="44" y="12"/>
                  </a:lnTo>
                  <a:lnTo>
                    <a:pt x="34" y="10"/>
                  </a:lnTo>
                  <a:lnTo>
                    <a:pt x="28" y="14"/>
                  </a:lnTo>
                  <a:lnTo>
                    <a:pt x="20" y="18"/>
                  </a:lnTo>
                  <a:lnTo>
                    <a:pt x="12" y="22"/>
                  </a:lnTo>
                  <a:lnTo>
                    <a:pt x="0" y="22"/>
                  </a:lnTo>
                  <a:lnTo>
                    <a:pt x="2" y="16"/>
                  </a:lnTo>
                  <a:lnTo>
                    <a:pt x="10" y="6"/>
                  </a:lnTo>
                  <a:lnTo>
                    <a:pt x="26" y="2"/>
                  </a:lnTo>
                  <a:lnTo>
                    <a:pt x="40" y="0"/>
                  </a:lnTo>
                  <a:lnTo>
                    <a:pt x="58" y="0"/>
                  </a:lnTo>
                  <a:lnTo>
                    <a:pt x="74" y="4"/>
                  </a:lnTo>
                  <a:lnTo>
                    <a:pt x="88" y="10"/>
                  </a:lnTo>
                  <a:lnTo>
                    <a:pt x="104" y="14"/>
                  </a:lnTo>
                  <a:lnTo>
                    <a:pt x="110" y="20"/>
                  </a:lnTo>
                  <a:lnTo>
                    <a:pt x="116" y="24"/>
                  </a:lnTo>
                  <a:lnTo>
                    <a:pt x="130" y="30"/>
                  </a:lnTo>
                  <a:lnTo>
                    <a:pt x="142" y="34"/>
                  </a:lnTo>
                  <a:lnTo>
                    <a:pt x="154" y="40"/>
                  </a:lnTo>
                  <a:lnTo>
                    <a:pt x="166" y="46"/>
                  </a:lnTo>
                  <a:lnTo>
                    <a:pt x="160" y="50"/>
                  </a:lnTo>
                  <a:lnTo>
                    <a:pt x="152" y="52"/>
                  </a:lnTo>
                  <a:lnTo>
                    <a:pt x="150" y="56"/>
                  </a:lnTo>
                  <a:lnTo>
                    <a:pt x="148" y="5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07" name="Freeform 23"/>
            <p:cNvSpPr>
              <a:spLocks/>
            </p:cNvSpPr>
            <p:nvPr/>
          </p:nvSpPr>
          <p:spPr bwMode="gray">
            <a:xfrm>
              <a:off x="3033713" y="3833813"/>
              <a:ext cx="52387" cy="36512"/>
            </a:xfrm>
            <a:custGeom>
              <a:avLst/>
              <a:gdLst>
                <a:gd name="T0" fmla="*/ 0 w 44"/>
                <a:gd name="T1" fmla="*/ 2147483647 h 30"/>
                <a:gd name="T2" fmla="*/ 2147483647 w 44"/>
                <a:gd name="T3" fmla="*/ 2147483647 h 30"/>
                <a:gd name="T4" fmla="*/ 2147483647 w 44"/>
                <a:gd name="T5" fmla="*/ 2147483647 h 30"/>
                <a:gd name="T6" fmla="*/ 2147483647 w 44"/>
                <a:gd name="T7" fmla="*/ 2147483647 h 30"/>
                <a:gd name="T8" fmla="*/ 2147483647 w 44"/>
                <a:gd name="T9" fmla="*/ 2147483647 h 30"/>
                <a:gd name="T10" fmla="*/ 2147483647 w 44"/>
                <a:gd name="T11" fmla="*/ 2147483647 h 30"/>
                <a:gd name="T12" fmla="*/ 2147483647 w 44"/>
                <a:gd name="T13" fmla="*/ 2147483647 h 30"/>
                <a:gd name="T14" fmla="*/ 2147483647 w 44"/>
                <a:gd name="T15" fmla="*/ 2147483647 h 30"/>
                <a:gd name="T16" fmla="*/ 2147483647 w 44"/>
                <a:gd name="T17" fmla="*/ 2147483647 h 30"/>
                <a:gd name="T18" fmla="*/ 2147483647 w 44"/>
                <a:gd name="T19" fmla="*/ 2147483647 h 30"/>
                <a:gd name="T20" fmla="*/ 2147483647 w 44"/>
                <a:gd name="T21" fmla="*/ 0 h 30"/>
                <a:gd name="T22" fmla="*/ 2147483647 w 44"/>
                <a:gd name="T23" fmla="*/ 2147483647 h 30"/>
                <a:gd name="T24" fmla="*/ 2147483647 w 44"/>
                <a:gd name="T25" fmla="*/ 2147483647 h 30"/>
                <a:gd name="T26" fmla="*/ 2147483647 w 44"/>
                <a:gd name="T27" fmla="*/ 2147483647 h 30"/>
                <a:gd name="T28" fmla="*/ 2147483647 w 44"/>
                <a:gd name="T29" fmla="*/ 2147483647 h 30"/>
                <a:gd name="T30" fmla="*/ 2147483647 w 44"/>
                <a:gd name="T31" fmla="*/ 2147483647 h 30"/>
                <a:gd name="T32" fmla="*/ 2147483647 w 44"/>
                <a:gd name="T33" fmla="*/ 2147483647 h 30"/>
                <a:gd name="T34" fmla="*/ 2147483647 w 44"/>
                <a:gd name="T35" fmla="*/ 2147483647 h 30"/>
                <a:gd name="T36" fmla="*/ 0 w 44"/>
                <a:gd name="T37" fmla="*/ 2147483647 h 30"/>
                <a:gd name="T38" fmla="*/ 0 w 44"/>
                <a:gd name="T39" fmla="*/ 2147483647 h 3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4"/>
                <a:gd name="T61" fmla="*/ 0 h 30"/>
                <a:gd name="T62" fmla="*/ 44 w 44"/>
                <a:gd name="T63" fmla="*/ 30 h 3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4" h="30">
                  <a:moveTo>
                    <a:pt x="0" y="28"/>
                  </a:moveTo>
                  <a:lnTo>
                    <a:pt x="16" y="30"/>
                  </a:lnTo>
                  <a:lnTo>
                    <a:pt x="32" y="30"/>
                  </a:lnTo>
                  <a:lnTo>
                    <a:pt x="40" y="30"/>
                  </a:lnTo>
                  <a:lnTo>
                    <a:pt x="40" y="24"/>
                  </a:lnTo>
                  <a:lnTo>
                    <a:pt x="36" y="20"/>
                  </a:lnTo>
                  <a:lnTo>
                    <a:pt x="42" y="18"/>
                  </a:lnTo>
                  <a:lnTo>
                    <a:pt x="44" y="14"/>
                  </a:lnTo>
                  <a:lnTo>
                    <a:pt x="42" y="4"/>
                  </a:lnTo>
                  <a:lnTo>
                    <a:pt x="32" y="2"/>
                  </a:lnTo>
                  <a:lnTo>
                    <a:pt x="24" y="0"/>
                  </a:lnTo>
                  <a:lnTo>
                    <a:pt x="16" y="2"/>
                  </a:lnTo>
                  <a:lnTo>
                    <a:pt x="22" y="6"/>
                  </a:lnTo>
                  <a:lnTo>
                    <a:pt x="28" y="14"/>
                  </a:lnTo>
                  <a:lnTo>
                    <a:pt x="28" y="20"/>
                  </a:lnTo>
                  <a:lnTo>
                    <a:pt x="20" y="20"/>
                  </a:lnTo>
                  <a:lnTo>
                    <a:pt x="14" y="18"/>
                  </a:lnTo>
                  <a:lnTo>
                    <a:pt x="6" y="20"/>
                  </a:lnTo>
                  <a:lnTo>
                    <a:pt x="0" y="20"/>
                  </a:lnTo>
                  <a:lnTo>
                    <a:pt x="0" y="2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08" name="Freeform 24"/>
            <p:cNvSpPr>
              <a:spLocks/>
            </p:cNvSpPr>
            <p:nvPr/>
          </p:nvSpPr>
          <p:spPr bwMode="gray">
            <a:xfrm>
              <a:off x="2959100" y="3860800"/>
              <a:ext cx="38100" cy="22225"/>
            </a:xfrm>
            <a:custGeom>
              <a:avLst/>
              <a:gdLst>
                <a:gd name="T0" fmla="*/ 0 w 32"/>
                <a:gd name="T1" fmla="*/ 2147483647 h 18"/>
                <a:gd name="T2" fmla="*/ 2147483647 w 32"/>
                <a:gd name="T3" fmla="*/ 0 h 18"/>
                <a:gd name="T4" fmla="*/ 2147483647 w 32"/>
                <a:gd name="T5" fmla="*/ 0 h 18"/>
                <a:gd name="T6" fmla="*/ 2147483647 w 32"/>
                <a:gd name="T7" fmla="*/ 2147483647 h 18"/>
                <a:gd name="T8" fmla="*/ 2147483647 w 32"/>
                <a:gd name="T9" fmla="*/ 2147483647 h 18"/>
                <a:gd name="T10" fmla="*/ 2147483647 w 32"/>
                <a:gd name="T11" fmla="*/ 2147483647 h 18"/>
                <a:gd name="T12" fmla="*/ 2147483647 w 32"/>
                <a:gd name="T13" fmla="*/ 2147483647 h 18"/>
                <a:gd name="T14" fmla="*/ 2147483647 w 32"/>
                <a:gd name="T15" fmla="*/ 2147483647 h 18"/>
                <a:gd name="T16" fmla="*/ 2147483647 w 32"/>
                <a:gd name="T17" fmla="*/ 2147483647 h 18"/>
                <a:gd name="T18" fmla="*/ 2147483647 w 32"/>
                <a:gd name="T19" fmla="*/ 2147483647 h 18"/>
                <a:gd name="T20" fmla="*/ 2147483647 w 32"/>
                <a:gd name="T21" fmla="*/ 2147483647 h 18"/>
                <a:gd name="T22" fmla="*/ 0 w 32"/>
                <a:gd name="T23" fmla="*/ 2147483647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18"/>
                <a:gd name="T38" fmla="*/ 32 w 32"/>
                <a:gd name="T39" fmla="*/ 18 h 1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18">
                  <a:moveTo>
                    <a:pt x="0" y="6"/>
                  </a:moveTo>
                  <a:lnTo>
                    <a:pt x="6" y="0"/>
                  </a:lnTo>
                  <a:lnTo>
                    <a:pt x="14" y="0"/>
                  </a:lnTo>
                  <a:lnTo>
                    <a:pt x="20" y="2"/>
                  </a:lnTo>
                  <a:lnTo>
                    <a:pt x="28" y="6"/>
                  </a:lnTo>
                  <a:lnTo>
                    <a:pt x="32" y="10"/>
                  </a:lnTo>
                  <a:lnTo>
                    <a:pt x="24" y="14"/>
                  </a:lnTo>
                  <a:lnTo>
                    <a:pt x="18" y="14"/>
                  </a:lnTo>
                  <a:lnTo>
                    <a:pt x="14" y="18"/>
                  </a:lnTo>
                  <a:lnTo>
                    <a:pt x="10" y="12"/>
                  </a:lnTo>
                  <a:lnTo>
                    <a:pt x="6" y="8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09" name="Freeform 25"/>
            <p:cNvSpPr>
              <a:spLocks/>
            </p:cNvSpPr>
            <p:nvPr/>
          </p:nvSpPr>
          <p:spPr bwMode="gray">
            <a:xfrm>
              <a:off x="3074988" y="3838575"/>
              <a:ext cx="69850" cy="44450"/>
            </a:xfrm>
            <a:custGeom>
              <a:avLst/>
              <a:gdLst>
                <a:gd name="T0" fmla="*/ 2147483647 w 58"/>
                <a:gd name="T1" fmla="*/ 0 h 36"/>
                <a:gd name="T2" fmla="*/ 2147483647 w 58"/>
                <a:gd name="T3" fmla="*/ 2147483647 h 36"/>
                <a:gd name="T4" fmla="*/ 2147483647 w 58"/>
                <a:gd name="T5" fmla="*/ 2147483647 h 36"/>
                <a:gd name="T6" fmla="*/ 2147483647 w 58"/>
                <a:gd name="T7" fmla="*/ 2147483647 h 36"/>
                <a:gd name="T8" fmla="*/ 2147483647 w 58"/>
                <a:gd name="T9" fmla="*/ 2147483647 h 36"/>
                <a:gd name="T10" fmla="*/ 2147483647 w 58"/>
                <a:gd name="T11" fmla="*/ 2147483647 h 36"/>
                <a:gd name="T12" fmla="*/ 2147483647 w 58"/>
                <a:gd name="T13" fmla="*/ 2147483647 h 36"/>
                <a:gd name="T14" fmla="*/ 2147483647 w 58"/>
                <a:gd name="T15" fmla="*/ 2147483647 h 36"/>
                <a:gd name="T16" fmla="*/ 2147483647 w 58"/>
                <a:gd name="T17" fmla="*/ 2147483647 h 36"/>
                <a:gd name="T18" fmla="*/ 2147483647 w 58"/>
                <a:gd name="T19" fmla="*/ 2147483647 h 36"/>
                <a:gd name="T20" fmla="*/ 2147483647 w 58"/>
                <a:gd name="T21" fmla="*/ 2147483647 h 36"/>
                <a:gd name="T22" fmla="*/ 2147483647 w 58"/>
                <a:gd name="T23" fmla="*/ 2147483647 h 36"/>
                <a:gd name="T24" fmla="*/ 2147483647 w 58"/>
                <a:gd name="T25" fmla="*/ 2147483647 h 36"/>
                <a:gd name="T26" fmla="*/ 2147483647 w 58"/>
                <a:gd name="T27" fmla="*/ 2147483647 h 36"/>
                <a:gd name="T28" fmla="*/ 2147483647 w 58"/>
                <a:gd name="T29" fmla="*/ 2147483647 h 36"/>
                <a:gd name="T30" fmla="*/ 2147483647 w 58"/>
                <a:gd name="T31" fmla="*/ 2147483647 h 36"/>
                <a:gd name="T32" fmla="*/ 2147483647 w 58"/>
                <a:gd name="T33" fmla="*/ 2147483647 h 36"/>
                <a:gd name="T34" fmla="*/ 2147483647 w 58"/>
                <a:gd name="T35" fmla="*/ 2147483647 h 36"/>
                <a:gd name="T36" fmla="*/ 2147483647 w 58"/>
                <a:gd name="T37" fmla="*/ 2147483647 h 36"/>
                <a:gd name="T38" fmla="*/ 2147483647 w 58"/>
                <a:gd name="T39" fmla="*/ 2147483647 h 36"/>
                <a:gd name="T40" fmla="*/ 2147483647 w 58"/>
                <a:gd name="T41" fmla="*/ 2147483647 h 36"/>
                <a:gd name="T42" fmla="*/ 0 w 58"/>
                <a:gd name="T43" fmla="*/ 2147483647 h 36"/>
                <a:gd name="T44" fmla="*/ 2147483647 w 58"/>
                <a:gd name="T45" fmla="*/ 2147483647 h 36"/>
                <a:gd name="T46" fmla="*/ 2147483647 w 58"/>
                <a:gd name="T47" fmla="*/ 2147483647 h 36"/>
                <a:gd name="T48" fmla="*/ 2147483647 w 58"/>
                <a:gd name="T49" fmla="*/ 0 h 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58"/>
                <a:gd name="T76" fmla="*/ 0 h 36"/>
                <a:gd name="T77" fmla="*/ 58 w 58"/>
                <a:gd name="T78" fmla="*/ 36 h 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58" h="36">
                  <a:moveTo>
                    <a:pt x="6" y="0"/>
                  </a:moveTo>
                  <a:lnTo>
                    <a:pt x="16" y="2"/>
                  </a:lnTo>
                  <a:lnTo>
                    <a:pt x="24" y="2"/>
                  </a:lnTo>
                  <a:lnTo>
                    <a:pt x="34" y="4"/>
                  </a:lnTo>
                  <a:lnTo>
                    <a:pt x="40" y="6"/>
                  </a:lnTo>
                  <a:lnTo>
                    <a:pt x="46" y="10"/>
                  </a:lnTo>
                  <a:lnTo>
                    <a:pt x="56" y="16"/>
                  </a:lnTo>
                  <a:lnTo>
                    <a:pt x="58" y="20"/>
                  </a:lnTo>
                  <a:lnTo>
                    <a:pt x="54" y="24"/>
                  </a:lnTo>
                  <a:lnTo>
                    <a:pt x="44" y="22"/>
                  </a:lnTo>
                  <a:lnTo>
                    <a:pt x="38" y="22"/>
                  </a:lnTo>
                  <a:lnTo>
                    <a:pt x="30" y="24"/>
                  </a:lnTo>
                  <a:lnTo>
                    <a:pt x="24" y="24"/>
                  </a:lnTo>
                  <a:lnTo>
                    <a:pt x="20" y="20"/>
                  </a:lnTo>
                  <a:lnTo>
                    <a:pt x="14" y="22"/>
                  </a:lnTo>
                  <a:lnTo>
                    <a:pt x="12" y="28"/>
                  </a:lnTo>
                  <a:lnTo>
                    <a:pt x="12" y="34"/>
                  </a:lnTo>
                  <a:lnTo>
                    <a:pt x="8" y="36"/>
                  </a:lnTo>
                  <a:lnTo>
                    <a:pt x="4" y="30"/>
                  </a:lnTo>
                  <a:lnTo>
                    <a:pt x="4" y="26"/>
                  </a:lnTo>
                  <a:lnTo>
                    <a:pt x="4" y="20"/>
                  </a:lnTo>
                  <a:lnTo>
                    <a:pt x="0" y="16"/>
                  </a:lnTo>
                  <a:lnTo>
                    <a:pt x="6" y="14"/>
                  </a:lnTo>
                  <a:lnTo>
                    <a:pt x="8" y="1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10" name="Freeform 26"/>
            <p:cNvSpPr>
              <a:spLocks/>
            </p:cNvSpPr>
            <p:nvPr/>
          </p:nvSpPr>
          <p:spPr bwMode="gray">
            <a:xfrm>
              <a:off x="3165475" y="3862388"/>
              <a:ext cx="31750" cy="12700"/>
            </a:xfrm>
            <a:custGeom>
              <a:avLst/>
              <a:gdLst>
                <a:gd name="T0" fmla="*/ 2147483647 w 26"/>
                <a:gd name="T1" fmla="*/ 0 h 10"/>
                <a:gd name="T2" fmla="*/ 2147483647 w 26"/>
                <a:gd name="T3" fmla="*/ 0 h 10"/>
                <a:gd name="T4" fmla="*/ 0 w 26"/>
                <a:gd name="T5" fmla="*/ 2147483647 h 10"/>
                <a:gd name="T6" fmla="*/ 2147483647 w 26"/>
                <a:gd name="T7" fmla="*/ 2147483647 h 10"/>
                <a:gd name="T8" fmla="*/ 2147483647 w 26"/>
                <a:gd name="T9" fmla="*/ 2147483647 h 10"/>
                <a:gd name="T10" fmla="*/ 2147483647 w 26"/>
                <a:gd name="T11" fmla="*/ 2147483647 h 10"/>
                <a:gd name="T12" fmla="*/ 2147483647 w 26"/>
                <a:gd name="T13" fmla="*/ 2147483647 h 10"/>
                <a:gd name="T14" fmla="*/ 2147483647 w 26"/>
                <a:gd name="T15" fmla="*/ 2147483647 h 10"/>
                <a:gd name="T16" fmla="*/ 2147483647 w 26"/>
                <a:gd name="T17" fmla="*/ 0 h 10"/>
                <a:gd name="T18" fmla="*/ 2147483647 w 26"/>
                <a:gd name="T19" fmla="*/ 0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10"/>
                <a:gd name="T32" fmla="*/ 26 w 2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10">
                  <a:moveTo>
                    <a:pt x="18" y="0"/>
                  </a:moveTo>
                  <a:lnTo>
                    <a:pt x="8" y="0"/>
                  </a:lnTo>
                  <a:lnTo>
                    <a:pt x="0" y="4"/>
                  </a:lnTo>
                  <a:lnTo>
                    <a:pt x="4" y="10"/>
                  </a:lnTo>
                  <a:lnTo>
                    <a:pt x="12" y="10"/>
                  </a:lnTo>
                  <a:lnTo>
                    <a:pt x="22" y="10"/>
                  </a:lnTo>
                  <a:lnTo>
                    <a:pt x="26" y="8"/>
                  </a:lnTo>
                  <a:lnTo>
                    <a:pt x="26" y="4"/>
                  </a:lnTo>
                  <a:lnTo>
                    <a:pt x="22" y="0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11" name="Freeform 27"/>
            <p:cNvSpPr>
              <a:spLocks/>
            </p:cNvSpPr>
            <p:nvPr/>
          </p:nvSpPr>
          <p:spPr bwMode="gray">
            <a:xfrm>
              <a:off x="3263900" y="4014788"/>
              <a:ext cx="23813" cy="19050"/>
            </a:xfrm>
            <a:custGeom>
              <a:avLst/>
              <a:gdLst>
                <a:gd name="T0" fmla="*/ 2147483647 w 20"/>
                <a:gd name="T1" fmla="*/ 0 h 16"/>
                <a:gd name="T2" fmla="*/ 2147483647 w 20"/>
                <a:gd name="T3" fmla="*/ 0 h 16"/>
                <a:gd name="T4" fmla="*/ 2147483647 w 20"/>
                <a:gd name="T5" fmla="*/ 2147483647 h 16"/>
                <a:gd name="T6" fmla="*/ 2147483647 w 20"/>
                <a:gd name="T7" fmla="*/ 2147483647 h 16"/>
                <a:gd name="T8" fmla="*/ 0 w 20"/>
                <a:gd name="T9" fmla="*/ 2147483647 h 16"/>
                <a:gd name="T10" fmla="*/ 2147483647 w 20"/>
                <a:gd name="T11" fmla="*/ 2147483647 h 16"/>
                <a:gd name="T12" fmla="*/ 2147483647 w 20"/>
                <a:gd name="T13" fmla="*/ 2147483647 h 16"/>
                <a:gd name="T14" fmla="*/ 2147483647 w 20"/>
                <a:gd name="T15" fmla="*/ 0 h 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16"/>
                <a:gd name="T26" fmla="*/ 20 w 20"/>
                <a:gd name="T27" fmla="*/ 16 h 1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16">
                  <a:moveTo>
                    <a:pt x="12" y="0"/>
                  </a:moveTo>
                  <a:lnTo>
                    <a:pt x="20" y="0"/>
                  </a:lnTo>
                  <a:lnTo>
                    <a:pt x="18" y="10"/>
                  </a:lnTo>
                  <a:lnTo>
                    <a:pt x="14" y="16"/>
                  </a:lnTo>
                  <a:lnTo>
                    <a:pt x="0" y="14"/>
                  </a:lnTo>
                  <a:lnTo>
                    <a:pt x="6" y="6"/>
                  </a:lnTo>
                  <a:lnTo>
                    <a:pt x="10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12" name="Freeform 28"/>
            <p:cNvSpPr>
              <a:spLocks/>
            </p:cNvSpPr>
            <p:nvPr/>
          </p:nvSpPr>
          <p:spPr bwMode="gray">
            <a:xfrm>
              <a:off x="3055938" y="3986213"/>
              <a:ext cx="249237" cy="223837"/>
            </a:xfrm>
            <a:custGeom>
              <a:avLst/>
              <a:gdLst>
                <a:gd name="T0" fmla="*/ 2147483647 w 210"/>
                <a:gd name="T1" fmla="*/ 2147483647 h 184"/>
                <a:gd name="T2" fmla="*/ 2147483647 w 210"/>
                <a:gd name="T3" fmla="*/ 0 h 184"/>
                <a:gd name="T4" fmla="*/ 2147483647 w 210"/>
                <a:gd name="T5" fmla="*/ 2147483647 h 184"/>
                <a:gd name="T6" fmla="*/ 2147483647 w 210"/>
                <a:gd name="T7" fmla="*/ 2147483647 h 184"/>
                <a:gd name="T8" fmla="*/ 2147483647 w 210"/>
                <a:gd name="T9" fmla="*/ 2147483647 h 184"/>
                <a:gd name="T10" fmla="*/ 2147483647 w 210"/>
                <a:gd name="T11" fmla="*/ 2147483647 h 184"/>
                <a:gd name="T12" fmla="*/ 2147483647 w 210"/>
                <a:gd name="T13" fmla="*/ 2147483647 h 184"/>
                <a:gd name="T14" fmla="*/ 2147483647 w 210"/>
                <a:gd name="T15" fmla="*/ 2147483647 h 184"/>
                <a:gd name="T16" fmla="*/ 2147483647 w 210"/>
                <a:gd name="T17" fmla="*/ 2147483647 h 184"/>
                <a:gd name="T18" fmla="*/ 2147483647 w 210"/>
                <a:gd name="T19" fmla="*/ 2147483647 h 184"/>
                <a:gd name="T20" fmla="*/ 2147483647 w 210"/>
                <a:gd name="T21" fmla="*/ 2147483647 h 184"/>
                <a:gd name="T22" fmla="*/ 2147483647 w 210"/>
                <a:gd name="T23" fmla="*/ 2147483647 h 184"/>
                <a:gd name="T24" fmla="*/ 2147483647 w 210"/>
                <a:gd name="T25" fmla="*/ 2147483647 h 184"/>
                <a:gd name="T26" fmla="*/ 2147483647 w 210"/>
                <a:gd name="T27" fmla="*/ 2147483647 h 184"/>
                <a:gd name="T28" fmla="*/ 2147483647 w 210"/>
                <a:gd name="T29" fmla="*/ 2147483647 h 184"/>
                <a:gd name="T30" fmla="*/ 2147483647 w 210"/>
                <a:gd name="T31" fmla="*/ 2147483647 h 184"/>
                <a:gd name="T32" fmla="*/ 2147483647 w 210"/>
                <a:gd name="T33" fmla="*/ 2147483647 h 184"/>
                <a:gd name="T34" fmla="*/ 2147483647 w 210"/>
                <a:gd name="T35" fmla="*/ 2147483647 h 184"/>
                <a:gd name="T36" fmla="*/ 2147483647 w 210"/>
                <a:gd name="T37" fmla="*/ 2147483647 h 184"/>
                <a:gd name="T38" fmla="*/ 2147483647 w 210"/>
                <a:gd name="T39" fmla="*/ 2147483647 h 184"/>
                <a:gd name="T40" fmla="*/ 2147483647 w 210"/>
                <a:gd name="T41" fmla="*/ 2147483647 h 184"/>
                <a:gd name="T42" fmla="*/ 2147483647 w 210"/>
                <a:gd name="T43" fmla="*/ 2147483647 h 184"/>
                <a:gd name="T44" fmla="*/ 2147483647 w 210"/>
                <a:gd name="T45" fmla="*/ 2147483647 h 184"/>
                <a:gd name="T46" fmla="*/ 2147483647 w 210"/>
                <a:gd name="T47" fmla="*/ 2147483647 h 184"/>
                <a:gd name="T48" fmla="*/ 2147483647 w 210"/>
                <a:gd name="T49" fmla="*/ 2147483647 h 184"/>
                <a:gd name="T50" fmla="*/ 2147483647 w 210"/>
                <a:gd name="T51" fmla="*/ 2147483647 h 184"/>
                <a:gd name="T52" fmla="*/ 2147483647 w 210"/>
                <a:gd name="T53" fmla="*/ 2147483647 h 184"/>
                <a:gd name="T54" fmla="*/ 2147483647 w 210"/>
                <a:gd name="T55" fmla="*/ 2147483647 h 184"/>
                <a:gd name="T56" fmla="*/ 2147483647 w 210"/>
                <a:gd name="T57" fmla="*/ 2147483647 h 184"/>
                <a:gd name="T58" fmla="*/ 2147483647 w 210"/>
                <a:gd name="T59" fmla="*/ 2147483647 h 184"/>
                <a:gd name="T60" fmla="*/ 2147483647 w 210"/>
                <a:gd name="T61" fmla="*/ 2147483647 h 184"/>
                <a:gd name="T62" fmla="*/ 2147483647 w 210"/>
                <a:gd name="T63" fmla="*/ 2147483647 h 184"/>
                <a:gd name="T64" fmla="*/ 2147483647 w 210"/>
                <a:gd name="T65" fmla="*/ 2147483647 h 184"/>
                <a:gd name="T66" fmla="*/ 2147483647 w 210"/>
                <a:gd name="T67" fmla="*/ 2147483647 h 184"/>
                <a:gd name="T68" fmla="*/ 2147483647 w 210"/>
                <a:gd name="T69" fmla="*/ 2147483647 h 184"/>
                <a:gd name="T70" fmla="*/ 0 w 210"/>
                <a:gd name="T71" fmla="*/ 2147483647 h 184"/>
                <a:gd name="T72" fmla="*/ 2147483647 w 210"/>
                <a:gd name="T73" fmla="*/ 2147483647 h 184"/>
                <a:gd name="T74" fmla="*/ 2147483647 w 210"/>
                <a:gd name="T75" fmla="*/ 2147483647 h 184"/>
                <a:gd name="T76" fmla="*/ 2147483647 w 210"/>
                <a:gd name="T77" fmla="*/ 2147483647 h 184"/>
                <a:gd name="T78" fmla="*/ 2147483647 w 210"/>
                <a:gd name="T79" fmla="*/ 2147483647 h 184"/>
                <a:gd name="T80" fmla="*/ 2147483647 w 210"/>
                <a:gd name="T81" fmla="*/ 2147483647 h 184"/>
                <a:gd name="T82" fmla="*/ 2147483647 w 210"/>
                <a:gd name="T83" fmla="*/ 2147483647 h 184"/>
                <a:gd name="T84" fmla="*/ 2147483647 w 210"/>
                <a:gd name="T85" fmla="*/ 2147483647 h 184"/>
                <a:gd name="T86" fmla="*/ 2147483647 w 210"/>
                <a:gd name="T87" fmla="*/ 2147483647 h 18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0"/>
                <a:gd name="T133" fmla="*/ 0 h 184"/>
                <a:gd name="T134" fmla="*/ 210 w 210"/>
                <a:gd name="T135" fmla="*/ 184 h 18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0" h="184">
                  <a:moveTo>
                    <a:pt x="44" y="14"/>
                  </a:moveTo>
                  <a:lnTo>
                    <a:pt x="46" y="8"/>
                  </a:lnTo>
                  <a:lnTo>
                    <a:pt x="46" y="2"/>
                  </a:lnTo>
                  <a:lnTo>
                    <a:pt x="50" y="0"/>
                  </a:lnTo>
                  <a:lnTo>
                    <a:pt x="52" y="4"/>
                  </a:lnTo>
                  <a:lnTo>
                    <a:pt x="52" y="12"/>
                  </a:lnTo>
                  <a:lnTo>
                    <a:pt x="60" y="14"/>
                  </a:lnTo>
                  <a:lnTo>
                    <a:pt x="70" y="16"/>
                  </a:lnTo>
                  <a:lnTo>
                    <a:pt x="76" y="22"/>
                  </a:lnTo>
                  <a:lnTo>
                    <a:pt x="80" y="24"/>
                  </a:lnTo>
                  <a:lnTo>
                    <a:pt x="98" y="28"/>
                  </a:lnTo>
                  <a:lnTo>
                    <a:pt x="108" y="28"/>
                  </a:lnTo>
                  <a:lnTo>
                    <a:pt x="126" y="36"/>
                  </a:lnTo>
                  <a:lnTo>
                    <a:pt x="138" y="32"/>
                  </a:lnTo>
                  <a:lnTo>
                    <a:pt x="146" y="28"/>
                  </a:lnTo>
                  <a:lnTo>
                    <a:pt x="156" y="26"/>
                  </a:lnTo>
                  <a:lnTo>
                    <a:pt x="164" y="28"/>
                  </a:lnTo>
                  <a:lnTo>
                    <a:pt x="174" y="28"/>
                  </a:lnTo>
                  <a:lnTo>
                    <a:pt x="170" y="30"/>
                  </a:lnTo>
                  <a:lnTo>
                    <a:pt x="162" y="32"/>
                  </a:lnTo>
                  <a:lnTo>
                    <a:pt x="164" y="40"/>
                  </a:lnTo>
                  <a:lnTo>
                    <a:pt x="176" y="40"/>
                  </a:lnTo>
                  <a:lnTo>
                    <a:pt x="188" y="42"/>
                  </a:lnTo>
                  <a:lnTo>
                    <a:pt x="192" y="46"/>
                  </a:lnTo>
                  <a:lnTo>
                    <a:pt x="192" y="52"/>
                  </a:lnTo>
                  <a:lnTo>
                    <a:pt x="188" y="56"/>
                  </a:lnTo>
                  <a:lnTo>
                    <a:pt x="188" y="62"/>
                  </a:lnTo>
                  <a:lnTo>
                    <a:pt x="196" y="60"/>
                  </a:lnTo>
                  <a:lnTo>
                    <a:pt x="202" y="58"/>
                  </a:lnTo>
                  <a:lnTo>
                    <a:pt x="210" y="62"/>
                  </a:lnTo>
                  <a:lnTo>
                    <a:pt x="204" y="70"/>
                  </a:lnTo>
                  <a:lnTo>
                    <a:pt x="200" y="76"/>
                  </a:lnTo>
                  <a:lnTo>
                    <a:pt x="202" y="84"/>
                  </a:lnTo>
                  <a:lnTo>
                    <a:pt x="192" y="90"/>
                  </a:lnTo>
                  <a:lnTo>
                    <a:pt x="188" y="96"/>
                  </a:lnTo>
                  <a:lnTo>
                    <a:pt x="190" y="104"/>
                  </a:lnTo>
                  <a:lnTo>
                    <a:pt x="194" y="110"/>
                  </a:lnTo>
                  <a:lnTo>
                    <a:pt x="196" y="116"/>
                  </a:lnTo>
                  <a:lnTo>
                    <a:pt x="192" y="126"/>
                  </a:lnTo>
                  <a:lnTo>
                    <a:pt x="180" y="130"/>
                  </a:lnTo>
                  <a:lnTo>
                    <a:pt x="170" y="132"/>
                  </a:lnTo>
                  <a:lnTo>
                    <a:pt x="164" y="136"/>
                  </a:lnTo>
                  <a:lnTo>
                    <a:pt x="158" y="136"/>
                  </a:lnTo>
                  <a:lnTo>
                    <a:pt x="148" y="134"/>
                  </a:lnTo>
                  <a:lnTo>
                    <a:pt x="140" y="130"/>
                  </a:lnTo>
                  <a:lnTo>
                    <a:pt x="134" y="132"/>
                  </a:lnTo>
                  <a:lnTo>
                    <a:pt x="140" y="138"/>
                  </a:lnTo>
                  <a:lnTo>
                    <a:pt x="142" y="148"/>
                  </a:lnTo>
                  <a:lnTo>
                    <a:pt x="148" y="156"/>
                  </a:lnTo>
                  <a:lnTo>
                    <a:pt x="154" y="156"/>
                  </a:lnTo>
                  <a:lnTo>
                    <a:pt x="154" y="160"/>
                  </a:lnTo>
                  <a:lnTo>
                    <a:pt x="152" y="166"/>
                  </a:lnTo>
                  <a:lnTo>
                    <a:pt x="146" y="166"/>
                  </a:lnTo>
                  <a:lnTo>
                    <a:pt x="140" y="168"/>
                  </a:lnTo>
                  <a:lnTo>
                    <a:pt x="130" y="180"/>
                  </a:lnTo>
                  <a:lnTo>
                    <a:pt x="116" y="184"/>
                  </a:lnTo>
                  <a:lnTo>
                    <a:pt x="106" y="182"/>
                  </a:lnTo>
                  <a:lnTo>
                    <a:pt x="98" y="174"/>
                  </a:lnTo>
                  <a:lnTo>
                    <a:pt x="96" y="170"/>
                  </a:lnTo>
                  <a:lnTo>
                    <a:pt x="94" y="160"/>
                  </a:lnTo>
                  <a:lnTo>
                    <a:pt x="90" y="158"/>
                  </a:lnTo>
                  <a:lnTo>
                    <a:pt x="90" y="136"/>
                  </a:lnTo>
                  <a:lnTo>
                    <a:pt x="86" y="134"/>
                  </a:lnTo>
                  <a:lnTo>
                    <a:pt x="86" y="108"/>
                  </a:lnTo>
                  <a:lnTo>
                    <a:pt x="92" y="100"/>
                  </a:lnTo>
                  <a:lnTo>
                    <a:pt x="86" y="94"/>
                  </a:lnTo>
                  <a:lnTo>
                    <a:pt x="58" y="96"/>
                  </a:lnTo>
                  <a:lnTo>
                    <a:pt x="46" y="82"/>
                  </a:lnTo>
                  <a:lnTo>
                    <a:pt x="18" y="84"/>
                  </a:lnTo>
                  <a:lnTo>
                    <a:pt x="12" y="80"/>
                  </a:lnTo>
                  <a:lnTo>
                    <a:pt x="12" y="66"/>
                  </a:lnTo>
                  <a:lnTo>
                    <a:pt x="0" y="46"/>
                  </a:lnTo>
                  <a:lnTo>
                    <a:pt x="2" y="32"/>
                  </a:lnTo>
                  <a:lnTo>
                    <a:pt x="8" y="22"/>
                  </a:lnTo>
                  <a:lnTo>
                    <a:pt x="18" y="14"/>
                  </a:lnTo>
                  <a:lnTo>
                    <a:pt x="22" y="16"/>
                  </a:lnTo>
                  <a:lnTo>
                    <a:pt x="22" y="20"/>
                  </a:lnTo>
                  <a:lnTo>
                    <a:pt x="22" y="30"/>
                  </a:lnTo>
                  <a:lnTo>
                    <a:pt x="16" y="34"/>
                  </a:lnTo>
                  <a:lnTo>
                    <a:pt x="18" y="46"/>
                  </a:lnTo>
                  <a:lnTo>
                    <a:pt x="22" y="52"/>
                  </a:lnTo>
                  <a:lnTo>
                    <a:pt x="30" y="48"/>
                  </a:lnTo>
                  <a:lnTo>
                    <a:pt x="34" y="40"/>
                  </a:lnTo>
                  <a:lnTo>
                    <a:pt x="30" y="32"/>
                  </a:lnTo>
                  <a:lnTo>
                    <a:pt x="28" y="26"/>
                  </a:lnTo>
                  <a:lnTo>
                    <a:pt x="32" y="20"/>
                  </a:lnTo>
                  <a:lnTo>
                    <a:pt x="38" y="18"/>
                  </a:lnTo>
                  <a:lnTo>
                    <a:pt x="44" y="1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13" name="Freeform 29"/>
            <p:cNvSpPr>
              <a:spLocks/>
            </p:cNvSpPr>
            <p:nvPr/>
          </p:nvSpPr>
          <p:spPr bwMode="gray">
            <a:xfrm>
              <a:off x="3278188" y="4062413"/>
              <a:ext cx="84137" cy="138112"/>
            </a:xfrm>
            <a:custGeom>
              <a:avLst/>
              <a:gdLst>
                <a:gd name="T0" fmla="*/ 2147483647 w 70"/>
                <a:gd name="T1" fmla="*/ 2147483647 h 114"/>
                <a:gd name="T2" fmla="*/ 2147483647 w 70"/>
                <a:gd name="T3" fmla="*/ 2147483647 h 114"/>
                <a:gd name="T4" fmla="*/ 2147483647 w 70"/>
                <a:gd name="T5" fmla="*/ 2147483647 h 114"/>
                <a:gd name="T6" fmla="*/ 2147483647 w 70"/>
                <a:gd name="T7" fmla="*/ 2147483647 h 114"/>
                <a:gd name="T8" fmla="*/ 2147483647 w 70"/>
                <a:gd name="T9" fmla="*/ 2147483647 h 114"/>
                <a:gd name="T10" fmla="*/ 2147483647 w 70"/>
                <a:gd name="T11" fmla="*/ 2147483647 h 114"/>
                <a:gd name="T12" fmla="*/ 2147483647 w 70"/>
                <a:gd name="T13" fmla="*/ 2147483647 h 114"/>
                <a:gd name="T14" fmla="*/ 2147483647 w 70"/>
                <a:gd name="T15" fmla="*/ 2147483647 h 114"/>
                <a:gd name="T16" fmla="*/ 2147483647 w 70"/>
                <a:gd name="T17" fmla="*/ 2147483647 h 114"/>
                <a:gd name="T18" fmla="*/ 2147483647 w 70"/>
                <a:gd name="T19" fmla="*/ 2147483647 h 114"/>
                <a:gd name="T20" fmla="*/ 2147483647 w 70"/>
                <a:gd name="T21" fmla="*/ 2147483647 h 114"/>
                <a:gd name="T22" fmla="*/ 2147483647 w 70"/>
                <a:gd name="T23" fmla="*/ 2147483647 h 114"/>
                <a:gd name="T24" fmla="*/ 2147483647 w 70"/>
                <a:gd name="T25" fmla="*/ 2147483647 h 114"/>
                <a:gd name="T26" fmla="*/ 2147483647 w 70"/>
                <a:gd name="T27" fmla="*/ 2147483647 h 114"/>
                <a:gd name="T28" fmla="*/ 2147483647 w 70"/>
                <a:gd name="T29" fmla="*/ 2147483647 h 114"/>
                <a:gd name="T30" fmla="*/ 2147483647 w 70"/>
                <a:gd name="T31" fmla="*/ 2147483647 h 114"/>
                <a:gd name="T32" fmla="*/ 2147483647 w 70"/>
                <a:gd name="T33" fmla="*/ 2147483647 h 114"/>
                <a:gd name="T34" fmla="*/ 2147483647 w 70"/>
                <a:gd name="T35" fmla="*/ 2147483647 h 114"/>
                <a:gd name="T36" fmla="*/ 2147483647 w 70"/>
                <a:gd name="T37" fmla="*/ 2147483647 h 114"/>
                <a:gd name="T38" fmla="*/ 2147483647 w 70"/>
                <a:gd name="T39" fmla="*/ 2147483647 h 114"/>
                <a:gd name="T40" fmla="*/ 2147483647 w 70"/>
                <a:gd name="T41" fmla="*/ 2147483647 h 114"/>
                <a:gd name="T42" fmla="*/ 2147483647 w 70"/>
                <a:gd name="T43" fmla="*/ 2147483647 h 114"/>
                <a:gd name="T44" fmla="*/ 2147483647 w 70"/>
                <a:gd name="T45" fmla="*/ 2147483647 h 114"/>
                <a:gd name="T46" fmla="*/ 2147483647 w 70"/>
                <a:gd name="T47" fmla="*/ 2147483647 h 114"/>
                <a:gd name="T48" fmla="*/ 2147483647 w 70"/>
                <a:gd name="T49" fmla="*/ 2147483647 h 114"/>
                <a:gd name="T50" fmla="*/ 2147483647 w 70"/>
                <a:gd name="T51" fmla="*/ 2147483647 h 114"/>
                <a:gd name="T52" fmla="*/ 2147483647 w 70"/>
                <a:gd name="T53" fmla="*/ 2147483647 h 114"/>
                <a:gd name="T54" fmla="*/ 0 w 70"/>
                <a:gd name="T55" fmla="*/ 2147483647 h 114"/>
                <a:gd name="T56" fmla="*/ 2147483647 w 70"/>
                <a:gd name="T57" fmla="*/ 2147483647 h 114"/>
                <a:gd name="T58" fmla="*/ 2147483647 w 70"/>
                <a:gd name="T59" fmla="*/ 2147483647 h 114"/>
                <a:gd name="T60" fmla="*/ 2147483647 w 70"/>
                <a:gd name="T61" fmla="*/ 2147483647 h 114"/>
                <a:gd name="T62" fmla="*/ 2147483647 w 70"/>
                <a:gd name="T63" fmla="*/ 2147483647 h 114"/>
                <a:gd name="T64" fmla="*/ 2147483647 w 70"/>
                <a:gd name="T65" fmla="*/ 0 h 114"/>
                <a:gd name="T66" fmla="*/ 2147483647 w 70"/>
                <a:gd name="T67" fmla="*/ 2147483647 h 114"/>
                <a:gd name="T68" fmla="*/ 2147483647 w 70"/>
                <a:gd name="T69" fmla="*/ 2147483647 h 114"/>
                <a:gd name="T70" fmla="*/ 2147483647 w 70"/>
                <a:gd name="T71" fmla="*/ 2147483647 h 114"/>
                <a:gd name="T72" fmla="*/ 2147483647 w 70"/>
                <a:gd name="T73" fmla="*/ 2147483647 h 114"/>
                <a:gd name="T74" fmla="*/ 2147483647 w 70"/>
                <a:gd name="T75" fmla="*/ 2147483647 h 114"/>
                <a:gd name="T76" fmla="*/ 2147483647 w 70"/>
                <a:gd name="T77" fmla="*/ 2147483647 h 11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70"/>
                <a:gd name="T118" fmla="*/ 0 h 114"/>
                <a:gd name="T119" fmla="*/ 70 w 70"/>
                <a:gd name="T120" fmla="*/ 114 h 11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70" h="114">
                  <a:moveTo>
                    <a:pt x="42" y="30"/>
                  </a:moveTo>
                  <a:lnTo>
                    <a:pt x="50" y="24"/>
                  </a:lnTo>
                  <a:lnTo>
                    <a:pt x="58" y="30"/>
                  </a:lnTo>
                  <a:lnTo>
                    <a:pt x="66" y="40"/>
                  </a:lnTo>
                  <a:lnTo>
                    <a:pt x="64" y="48"/>
                  </a:lnTo>
                  <a:lnTo>
                    <a:pt x="60" y="54"/>
                  </a:lnTo>
                  <a:lnTo>
                    <a:pt x="54" y="62"/>
                  </a:lnTo>
                  <a:lnTo>
                    <a:pt x="52" y="72"/>
                  </a:lnTo>
                  <a:lnTo>
                    <a:pt x="56" y="76"/>
                  </a:lnTo>
                  <a:lnTo>
                    <a:pt x="60" y="82"/>
                  </a:lnTo>
                  <a:lnTo>
                    <a:pt x="64" y="86"/>
                  </a:lnTo>
                  <a:lnTo>
                    <a:pt x="66" y="90"/>
                  </a:lnTo>
                  <a:lnTo>
                    <a:pt x="70" y="100"/>
                  </a:lnTo>
                  <a:lnTo>
                    <a:pt x="66" y="104"/>
                  </a:lnTo>
                  <a:lnTo>
                    <a:pt x="58" y="108"/>
                  </a:lnTo>
                  <a:lnTo>
                    <a:pt x="52" y="112"/>
                  </a:lnTo>
                  <a:lnTo>
                    <a:pt x="42" y="114"/>
                  </a:lnTo>
                  <a:lnTo>
                    <a:pt x="34" y="114"/>
                  </a:lnTo>
                  <a:lnTo>
                    <a:pt x="26" y="106"/>
                  </a:lnTo>
                  <a:lnTo>
                    <a:pt x="20" y="98"/>
                  </a:lnTo>
                  <a:lnTo>
                    <a:pt x="20" y="90"/>
                  </a:lnTo>
                  <a:lnTo>
                    <a:pt x="20" y="78"/>
                  </a:lnTo>
                  <a:lnTo>
                    <a:pt x="26" y="72"/>
                  </a:lnTo>
                  <a:lnTo>
                    <a:pt x="22" y="62"/>
                  </a:lnTo>
                  <a:lnTo>
                    <a:pt x="18" y="50"/>
                  </a:lnTo>
                  <a:lnTo>
                    <a:pt x="6" y="50"/>
                  </a:lnTo>
                  <a:lnTo>
                    <a:pt x="2" y="42"/>
                  </a:lnTo>
                  <a:lnTo>
                    <a:pt x="0" y="34"/>
                  </a:lnTo>
                  <a:lnTo>
                    <a:pt x="4" y="28"/>
                  </a:lnTo>
                  <a:lnTo>
                    <a:pt x="14" y="22"/>
                  </a:lnTo>
                  <a:lnTo>
                    <a:pt x="12" y="14"/>
                  </a:lnTo>
                  <a:lnTo>
                    <a:pt x="16" y="8"/>
                  </a:lnTo>
                  <a:lnTo>
                    <a:pt x="22" y="0"/>
                  </a:lnTo>
                  <a:lnTo>
                    <a:pt x="28" y="2"/>
                  </a:lnTo>
                  <a:lnTo>
                    <a:pt x="34" y="6"/>
                  </a:lnTo>
                  <a:lnTo>
                    <a:pt x="42" y="12"/>
                  </a:lnTo>
                  <a:lnTo>
                    <a:pt x="44" y="16"/>
                  </a:lnTo>
                  <a:lnTo>
                    <a:pt x="44" y="22"/>
                  </a:lnTo>
                  <a:lnTo>
                    <a:pt x="42" y="3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14" name="Freeform 30"/>
            <p:cNvSpPr>
              <a:spLocks/>
            </p:cNvSpPr>
            <p:nvPr/>
          </p:nvSpPr>
          <p:spPr bwMode="gray">
            <a:xfrm>
              <a:off x="3403600" y="4113213"/>
              <a:ext cx="58738" cy="73025"/>
            </a:xfrm>
            <a:custGeom>
              <a:avLst/>
              <a:gdLst>
                <a:gd name="T0" fmla="*/ 2147483647 w 48"/>
                <a:gd name="T1" fmla="*/ 0 h 60"/>
                <a:gd name="T2" fmla="*/ 2147483647 w 48"/>
                <a:gd name="T3" fmla="*/ 2147483647 h 60"/>
                <a:gd name="T4" fmla="*/ 2147483647 w 48"/>
                <a:gd name="T5" fmla="*/ 2147483647 h 60"/>
                <a:gd name="T6" fmla="*/ 2147483647 w 48"/>
                <a:gd name="T7" fmla="*/ 2147483647 h 60"/>
                <a:gd name="T8" fmla="*/ 2147483647 w 48"/>
                <a:gd name="T9" fmla="*/ 2147483647 h 60"/>
                <a:gd name="T10" fmla="*/ 2147483647 w 48"/>
                <a:gd name="T11" fmla="*/ 2147483647 h 60"/>
                <a:gd name="T12" fmla="*/ 2147483647 w 48"/>
                <a:gd name="T13" fmla="*/ 2147483647 h 60"/>
                <a:gd name="T14" fmla="*/ 2147483647 w 48"/>
                <a:gd name="T15" fmla="*/ 2147483647 h 60"/>
                <a:gd name="T16" fmla="*/ 2147483647 w 48"/>
                <a:gd name="T17" fmla="*/ 2147483647 h 60"/>
                <a:gd name="T18" fmla="*/ 2147483647 w 48"/>
                <a:gd name="T19" fmla="*/ 2147483647 h 60"/>
                <a:gd name="T20" fmla="*/ 2147483647 w 48"/>
                <a:gd name="T21" fmla="*/ 2147483647 h 60"/>
                <a:gd name="T22" fmla="*/ 2147483647 w 48"/>
                <a:gd name="T23" fmla="*/ 2147483647 h 60"/>
                <a:gd name="T24" fmla="*/ 2147483647 w 48"/>
                <a:gd name="T25" fmla="*/ 2147483647 h 60"/>
                <a:gd name="T26" fmla="*/ 2147483647 w 48"/>
                <a:gd name="T27" fmla="*/ 2147483647 h 60"/>
                <a:gd name="T28" fmla="*/ 2147483647 w 48"/>
                <a:gd name="T29" fmla="*/ 2147483647 h 60"/>
                <a:gd name="T30" fmla="*/ 2147483647 w 48"/>
                <a:gd name="T31" fmla="*/ 2147483647 h 60"/>
                <a:gd name="T32" fmla="*/ 2147483647 w 48"/>
                <a:gd name="T33" fmla="*/ 2147483647 h 60"/>
                <a:gd name="T34" fmla="*/ 0 w 48"/>
                <a:gd name="T35" fmla="*/ 2147483647 h 60"/>
                <a:gd name="T36" fmla="*/ 0 w 48"/>
                <a:gd name="T37" fmla="*/ 2147483647 h 60"/>
                <a:gd name="T38" fmla="*/ 2147483647 w 48"/>
                <a:gd name="T39" fmla="*/ 2147483647 h 60"/>
                <a:gd name="T40" fmla="*/ 2147483647 w 48"/>
                <a:gd name="T41" fmla="*/ 0 h 6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8"/>
                <a:gd name="T64" fmla="*/ 0 h 60"/>
                <a:gd name="T65" fmla="*/ 48 w 48"/>
                <a:gd name="T66" fmla="*/ 60 h 6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8" h="60">
                  <a:moveTo>
                    <a:pt x="6" y="0"/>
                  </a:moveTo>
                  <a:lnTo>
                    <a:pt x="16" y="2"/>
                  </a:lnTo>
                  <a:lnTo>
                    <a:pt x="28" y="6"/>
                  </a:lnTo>
                  <a:lnTo>
                    <a:pt x="38" y="12"/>
                  </a:lnTo>
                  <a:lnTo>
                    <a:pt x="44" y="20"/>
                  </a:lnTo>
                  <a:lnTo>
                    <a:pt x="48" y="26"/>
                  </a:lnTo>
                  <a:lnTo>
                    <a:pt x="42" y="34"/>
                  </a:lnTo>
                  <a:lnTo>
                    <a:pt x="36" y="46"/>
                  </a:lnTo>
                  <a:lnTo>
                    <a:pt x="30" y="60"/>
                  </a:lnTo>
                  <a:lnTo>
                    <a:pt x="24" y="56"/>
                  </a:lnTo>
                  <a:lnTo>
                    <a:pt x="14" y="54"/>
                  </a:lnTo>
                  <a:lnTo>
                    <a:pt x="8" y="58"/>
                  </a:lnTo>
                  <a:lnTo>
                    <a:pt x="2" y="58"/>
                  </a:lnTo>
                  <a:lnTo>
                    <a:pt x="2" y="50"/>
                  </a:lnTo>
                  <a:lnTo>
                    <a:pt x="6" y="36"/>
                  </a:lnTo>
                  <a:lnTo>
                    <a:pt x="10" y="28"/>
                  </a:lnTo>
                  <a:lnTo>
                    <a:pt x="4" y="24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2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15" name="Freeform 31"/>
            <p:cNvSpPr>
              <a:spLocks/>
            </p:cNvSpPr>
            <p:nvPr/>
          </p:nvSpPr>
          <p:spPr bwMode="gray">
            <a:xfrm>
              <a:off x="3340100" y="4110038"/>
              <a:ext cx="77788" cy="77787"/>
            </a:xfrm>
            <a:custGeom>
              <a:avLst/>
              <a:gdLst>
                <a:gd name="T0" fmla="*/ 2147483647 w 64"/>
                <a:gd name="T1" fmla="*/ 0 h 64"/>
                <a:gd name="T2" fmla="*/ 2147483647 w 64"/>
                <a:gd name="T3" fmla="*/ 0 h 64"/>
                <a:gd name="T4" fmla="*/ 2147483647 w 64"/>
                <a:gd name="T5" fmla="*/ 2147483647 h 64"/>
                <a:gd name="T6" fmla="*/ 2147483647 w 64"/>
                <a:gd name="T7" fmla="*/ 2147483647 h 64"/>
                <a:gd name="T8" fmla="*/ 2147483647 w 64"/>
                <a:gd name="T9" fmla="*/ 2147483647 h 64"/>
                <a:gd name="T10" fmla="*/ 2147483647 w 64"/>
                <a:gd name="T11" fmla="*/ 2147483647 h 64"/>
                <a:gd name="T12" fmla="*/ 2147483647 w 64"/>
                <a:gd name="T13" fmla="*/ 2147483647 h 64"/>
                <a:gd name="T14" fmla="*/ 2147483647 w 64"/>
                <a:gd name="T15" fmla="*/ 2147483647 h 64"/>
                <a:gd name="T16" fmla="*/ 2147483647 w 64"/>
                <a:gd name="T17" fmla="*/ 2147483647 h 64"/>
                <a:gd name="T18" fmla="*/ 2147483647 w 64"/>
                <a:gd name="T19" fmla="*/ 2147483647 h 64"/>
                <a:gd name="T20" fmla="*/ 2147483647 w 64"/>
                <a:gd name="T21" fmla="*/ 2147483647 h 64"/>
                <a:gd name="T22" fmla="*/ 2147483647 w 64"/>
                <a:gd name="T23" fmla="*/ 2147483647 h 64"/>
                <a:gd name="T24" fmla="*/ 2147483647 w 64"/>
                <a:gd name="T25" fmla="*/ 2147483647 h 64"/>
                <a:gd name="T26" fmla="*/ 2147483647 w 64"/>
                <a:gd name="T27" fmla="*/ 2147483647 h 64"/>
                <a:gd name="T28" fmla="*/ 2147483647 w 64"/>
                <a:gd name="T29" fmla="*/ 2147483647 h 64"/>
                <a:gd name="T30" fmla="*/ 2147483647 w 64"/>
                <a:gd name="T31" fmla="*/ 2147483647 h 64"/>
                <a:gd name="T32" fmla="*/ 2147483647 w 64"/>
                <a:gd name="T33" fmla="*/ 2147483647 h 64"/>
                <a:gd name="T34" fmla="*/ 2147483647 w 64"/>
                <a:gd name="T35" fmla="*/ 2147483647 h 64"/>
                <a:gd name="T36" fmla="*/ 2147483647 w 64"/>
                <a:gd name="T37" fmla="*/ 2147483647 h 64"/>
                <a:gd name="T38" fmla="*/ 2147483647 w 64"/>
                <a:gd name="T39" fmla="*/ 2147483647 h 64"/>
                <a:gd name="T40" fmla="*/ 2147483647 w 64"/>
                <a:gd name="T41" fmla="*/ 2147483647 h 64"/>
                <a:gd name="T42" fmla="*/ 2147483647 w 64"/>
                <a:gd name="T43" fmla="*/ 2147483647 h 64"/>
                <a:gd name="T44" fmla="*/ 2147483647 w 64"/>
                <a:gd name="T45" fmla="*/ 2147483647 h 64"/>
                <a:gd name="T46" fmla="*/ 2147483647 w 64"/>
                <a:gd name="T47" fmla="*/ 2147483647 h 64"/>
                <a:gd name="T48" fmla="*/ 0 w 64"/>
                <a:gd name="T49" fmla="*/ 2147483647 h 64"/>
                <a:gd name="T50" fmla="*/ 2147483647 w 64"/>
                <a:gd name="T51" fmla="*/ 2147483647 h 64"/>
                <a:gd name="T52" fmla="*/ 2147483647 w 64"/>
                <a:gd name="T53" fmla="*/ 2147483647 h 64"/>
                <a:gd name="T54" fmla="*/ 2147483647 w 64"/>
                <a:gd name="T55" fmla="*/ 2147483647 h 64"/>
                <a:gd name="T56" fmla="*/ 2147483647 w 64"/>
                <a:gd name="T57" fmla="*/ 0 h 6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4"/>
                <a:gd name="T88" fmla="*/ 0 h 64"/>
                <a:gd name="T89" fmla="*/ 64 w 64"/>
                <a:gd name="T90" fmla="*/ 64 h 6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4" h="64">
                  <a:moveTo>
                    <a:pt x="14" y="0"/>
                  </a:moveTo>
                  <a:lnTo>
                    <a:pt x="22" y="0"/>
                  </a:lnTo>
                  <a:lnTo>
                    <a:pt x="32" y="2"/>
                  </a:lnTo>
                  <a:lnTo>
                    <a:pt x="36" y="2"/>
                  </a:lnTo>
                  <a:lnTo>
                    <a:pt x="42" y="2"/>
                  </a:lnTo>
                  <a:lnTo>
                    <a:pt x="48" y="2"/>
                  </a:lnTo>
                  <a:lnTo>
                    <a:pt x="54" y="2"/>
                  </a:lnTo>
                  <a:lnTo>
                    <a:pt x="60" y="2"/>
                  </a:lnTo>
                  <a:lnTo>
                    <a:pt x="54" y="14"/>
                  </a:lnTo>
                  <a:lnTo>
                    <a:pt x="54" y="20"/>
                  </a:lnTo>
                  <a:lnTo>
                    <a:pt x="58" y="26"/>
                  </a:lnTo>
                  <a:lnTo>
                    <a:pt x="64" y="30"/>
                  </a:lnTo>
                  <a:lnTo>
                    <a:pt x="56" y="52"/>
                  </a:lnTo>
                  <a:lnTo>
                    <a:pt x="56" y="60"/>
                  </a:lnTo>
                  <a:lnTo>
                    <a:pt x="50" y="58"/>
                  </a:lnTo>
                  <a:lnTo>
                    <a:pt x="42" y="56"/>
                  </a:lnTo>
                  <a:lnTo>
                    <a:pt x="36" y="54"/>
                  </a:lnTo>
                  <a:lnTo>
                    <a:pt x="32" y="54"/>
                  </a:lnTo>
                  <a:lnTo>
                    <a:pt x="32" y="60"/>
                  </a:lnTo>
                  <a:lnTo>
                    <a:pt x="30" y="64"/>
                  </a:lnTo>
                  <a:lnTo>
                    <a:pt x="28" y="64"/>
                  </a:lnTo>
                  <a:lnTo>
                    <a:pt x="22" y="64"/>
                  </a:lnTo>
                  <a:lnTo>
                    <a:pt x="18" y="60"/>
                  </a:lnTo>
                  <a:lnTo>
                    <a:pt x="12" y="46"/>
                  </a:lnTo>
                  <a:lnTo>
                    <a:pt x="0" y="32"/>
                  </a:lnTo>
                  <a:lnTo>
                    <a:pt x="2" y="22"/>
                  </a:lnTo>
                  <a:lnTo>
                    <a:pt x="8" y="14"/>
                  </a:lnTo>
                  <a:lnTo>
                    <a:pt x="12" y="8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16" name="Freeform 32" descr="Diagonal dunkel nach oben"/>
            <p:cNvSpPr>
              <a:spLocks/>
            </p:cNvSpPr>
            <p:nvPr/>
          </p:nvSpPr>
          <p:spPr bwMode="gray">
            <a:xfrm>
              <a:off x="2909888" y="4224338"/>
              <a:ext cx="233362" cy="354012"/>
            </a:xfrm>
            <a:custGeom>
              <a:avLst/>
              <a:gdLst>
                <a:gd name="T0" fmla="*/ 2147483647 w 198"/>
                <a:gd name="T1" fmla="*/ 2147483647 h 292"/>
                <a:gd name="T2" fmla="*/ 2147483647 w 198"/>
                <a:gd name="T3" fmla="*/ 2147483647 h 292"/>
                <a:gd name="T4" fmla="*/ 2147483647 w 198"/>
                <a:gd name="T5" fmla="*/ 2147483647 h 292"/>
                <a:gd name="T6" fmla="*/ 2147483647 w 198"/>
                <a:gd name="T7" fmla="*/ 2147483647 h 292"/>
                <a:gd name="T8" fmla="*/ 2147483647 w 198"/>
                <a:gd name="T9" fmla="*/ 2147483647 h 292"/>
                <a:gd name="T10" fmla="*/ 2147483647 w 198"/>
                <a:gd name="T11" fmla="*/ 2147483647 h 292"/>
                <a:gd name="T12" fmla="*/ 2147483647 w 198"/>
                <a:gd name="T13" fmla="*/ 2147483647 h 292"/>
                <a:gd name="T14" fmla="*/ 2147483647 w 198"/>
                <a:gd name="T15" fmla="*/ 2147483647 h 292"/>
                <a:gd name="T16" fmla="*/ 2147483647 w 198"/>
                <a:gd name="T17" fmla="*/ 2147483647 h 292"/>
                <a:gd name="T18" fmla="*/ 2147483647 w 198"/>
                <a:gd name="T19" fmla="*/ 2147483647 h 292"/>
                <a:gd name="T20" fmla="*/ 2147483647 w 198"/>
                <a:gd name="T21" fmla="*/ 2147483647 h 292"/>
                <a:gd name="T22" fmla="*/ 2147483647 w 198"/>
                <a:gd name="T23" fmla="*/ 2147483647 h 292"/>
                <a:gd name="T24" fmla="*/ 2147483647 w 198"/>
                <a:gd name="T25" fmla="*/ 2147483647 h 292"/>
                <a:gd name="T26" fmla="*/ 2147483647 w 198"/>
                <a:gd name="T27" fmla="*/ 2147483647 h 292"/>
                <a:gd name="T28" fmla="*/ 2147483647 w 198"/>
                <a:gd name="T29" fmla="*/ 2147483647 h 292"/>
                <a:gd name="T30" fmla="*/ 2147483647 w 198"/>
                <a:gd name="T31" fmla="*/ 2147483647 h 292"/>
                <a:gd name="T32" fmla="*/ 2147483647 w 198"/>
                <a:gd name="T33" fmla="*/ 2147483647 h 292"/>
                <a:gd name="T34" fmla="*/ 2147483647 w 198"/>
                <a:gd name="T35" fmla="*/ 2147483647 h 292"/>
                <a:gd name="T36" fmla="*/ 2147483647 w 198"/>
                <a:gd name="T37" fmla="*/ 2147483647 h 292"/>
                <a:gd name="T38" fmla="*/ 2147483647 w 198"/>
                <a:gd name="T39" fmla="*/ 2147483647 h 292"/>
                <a:gd name="T40" fmla="*/ 2147483647 w 198"/>
                <a:gd name="T41" fmla="*/ 2147483647 h 292"/>
                <a:gd name="T42" fmla="*/ 2147483647 w 198"/>
                <a:gd name="T43" fmla="*/ 2147483647 h 292"/>
                <a:gd name="T44" fmla="*/ 2147483647 w 198"/>
                <a:gd name="T45" fmla="*/ 2147483647 h 292"/>
                <a:gd name="T46" fmla="*/ 2147483647 w 198"/>
                <a:gd name="T47" fmla="*/ 2147483647 h 292"/>
                <a:gd name="T48" fmla="*/ 2147483647 w 198"/>
                <a:gd name="T49" fmla="*/ 2147483647 h 292"/>
                <a:gd name="T50" fmla="*/ 2147483647 w 198"/>
                <a:gd name="T51" fmla="*/ 2147483647 h 292"/>
                <a:gd name="T52" fmla="*/ 2147483647 w 198"/>
                <a:gd name="T53" fmla="*/ 2147483647 h 292"/>
                <a:gd name="T54" fmla="*/ 2147483647 w 198"/>
                <a:gd name="T55" fmla="*/ 2147483647 h 292"/>
                <a:gd name="T56" fmla="*/ 2147483647 w 198"/>
                <a:gd name="T57" fmla="*/ 2147483647 h 292"/>
                <a:gd name="T58" fmla="*/ 2147483647 w 198"/>
                <a:gd name="T59" fmla="*/ 2147483647 h 292"/>
                <a:gd name="T60" fmla="*/ 2147483647 w 198"/>
                <a:gd name="T61" fmla="*/ 2147483647 h 292"/>
                <a:gd name="T62" fmla="*/ 2147483647 w 198"/>
                <a:gd name="T63" fmla="*/ 2147483647 h 292"/>
                <a:gd name="T64" fmla="*/ 2147483647 w 198"/>
                <a:gd name="T65" fmla="*/ 2147483647 h 292"/>
                <a:gd name="T66" fmla="*/ 2147483647 w 198"/>
                <a:gd name="T67" fmla="*/ 2147483647 h 292"/>
                <a:gd name="T68" fmla="*/ 2147483647 w 198"/>
                <a:gd name="T69" fmla="*/ 2147483647 h 292"/>
                <a:gd name="T70" fmla="*/ 2147483647 w 198"/>
                <a:gd name="T71" fmla="*/ 2147483647 h 292"/>
                <a:gd name="T72" fmla="*/ 2147483647 w 198"/>
                <a:gd name="T73" fmla="*/ 2147483647 h 292"/>
                <a:gd name="T74" fmla="*/ 2147483647 w 198"/>
                <a:gd name="T75" fmla="*/ 2147483647 h 292"/>
                <a:gd name="T76" fmla="*/ 2147483647 w 198"/>
                <a:gd name="T77" fmla="*/ 2147483647 h 292"/>
                <a:gd name="T78" fmla="*/ 2147483647 w 198"/>
                <a:gd name="T79" fmla="*/ 2147483647 h 29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98"/>
                <a:gd name="T121" fmla="*/ 0 h 292"/>
                <a:gd name="T122" fmla="*/ 198 w 198"/>
                <a:gd name="T123" fmla="*/ 292 h 29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98" h="292">
                  <a:moveTo>
                    <a:pt x="2" y="68"/>
                  </a:moveTo>
                  <a:lnTo>
                    <a:pt x="6" y="60"/>
                  </a:lnTo>
                  <a:lnTo>
                    <a:pt x="10" y="54"/>
                  </a:lnTo>
                  <a:lnTo>
                    <a:pt x="16" y="54"/>
                  </a:lnTo>
                  <a:lnTo>
                    <a:pt x="16" y="66"/>
                  </a:lnTo>
                  <a:lnTo>
                    <a:pt x="24" y="68"/>
                  </a:lnTo>
                  <a:lnTo>
                    <a:pt x="34" y="78"/>
                  </a:lnTo>
                  <a:lnTo>
                    <a:pt x="44" y="70"/>
                  </a:lnTo>
                  <a:lnTo>
                    <a:pt x="48" y="60"/>
                  </a:lnTo>
                  <a:lnTo>
                    <a:pt x="54" y="52"/>
                  </a:lnTo>
                  <a:lnTo>
                    <a:pt x="60" y="46"/>
                  </a:lnTo>
                  <a:lnTo>
                    <a:pt x="72" y="40"/>
                  </a:lnTo>
                  <a:lnTo>
                    <a:pt x="80" y="36"/>
                  </a:lnTo>
                  <a:lnTo>
                    <a:pt x="84" y="34"/>
                  </a:lnTo>
                  <a:lnTo>
                    <a:pt x="90" y="26"/>
                  </a:lnTo>
                  <a:lnTo>
                    <a:pt x="94" y="18"/>
                  </a:lnTo>
                  <a:lnTo>
                    <a:pt x="96" y="0"/>
                  </a:lnTo>
                  <a:lnTo>
                    <a:pt x="104" y="2"/>
                  </a:lnTo>
                  <a:lnTo>
                    <a:pt x="110" y="10"/>
                  </a:lnTo>
                  <a:lnTo>
                    <a:pt x="114" y="14"/>
                  </a:lnTo>
                  <a:lnTo>
                    <a:pt x="120" y="20"/>
                  </a:lnTo>
                  <a:lnTo>
                    <a:pt x="126" y="26"/>
                  </a:lnTo>
                  <a:lnTo>
                    <a:pt x="130" y="34"/>
                  </a:lnTo>
                  <a:lnTo>
                    <a:pt x="172" y="36"/>
                  </a:lnTo>
                  <a:lnTo>
                    <a:pt x="174" y="42"/>
                  </a:lnTo>
                  <a:lnTo>
                    <a:pt x="176" y="48"/>
                  </a:lnTo>
                  <a:lnTo>
                    <a:pt x="172" y="54"/>
                  </a:lnTo>
                  <a:lnTo>
                    <a:pt x="172" y="64"/>
                  </a:lnTo>
                  <a:lnTo>
                    <a:pt x="178" y="68"/>
                  </a:lnTo>
                  <a:lnTo>
                    <a:pt x="172" y="68"/>
                  </a:lnTo>
                  <a:lnTo>
                    <a:pt x="156" y="70"/>
                  </a:lnTo>
                  <a:lnTo>
                    <a:pt x="142" y="76"/>
                  </a:lnTo>
                  <a:lnTo>
                    <a:pt x="132" y="88"/>
                  </a:lnTo>
                  <a:lnTo>
                    <a:pt x="130" y="98"/>
                  </a:lnTo>
                  <a:lnTo>
                    <a:pt x="124" y="104"/>
                  </a:lnTo>
                  <a:lnTo>
                    <a:pt x="116" y="116"/>
                  </a:lnTo>
                  <a:lnTo>
                    <a:pt x="120" y="126"/>
                  </a:lnTo>
                  <a:lnTo>
                    <a:pt x="124" y="138"/>
                  </a:lnTo>
                  <a:lnTo>
                    <a:pt x="134" y="148"/>
                  </a:lnTo>
                  <a:lnTo>
                    <a:pt x="144" y="158"/>
                  </a:lnTo>
                  <a:lnTo>
                    <a:pt x="152" y="160"/>
                  </a:lnTo>
                  <a:lnTo>
                    <a:pt x="162" y="156"/>
                  </a:lnTo>
                  <a:lnTo>
                    <a:pt x="170" y="148"/>
                  </a:lnTo>
                  <a:lnTo>
                    <a:pt x="172" y="154"/>
                  </a:lnTo>
                  <a:lnTo>
                    <a:pt x="168" y="166"/>
                  </a:lnTo>
                  <a:lnTo>
                    <a:pt x="170" y="172"/>
                  </a:lnTo>
                  <a:lnTo>
                    <a:pt x="176" y="172"/>
                  </a:lnTo>
                  <a:lnTo>
                    <a:pt x="188" y="174"/>
                  </a:lnTo>
                  <a:lnTo>
                    <a:pt x="198" y="200"/>
                  </a:lnTo>
                  <a:lnTo>
                    <a:pt x="198" y="208"/>
                  </a:lnTo>
                  <a:lnTo>
                    <a:pt x="196" y="222"/>
                  </a:lnTo>
                  <a:lnTo>
                    <a:pt x="196" y="228"/>
                  </a:lnTo>
                  <a:lnTo>
                    <a:pt x="194" y="230"/>
                  </a:lnTo>
                  <a:lnTo>
                    <a:pt x="190" y="240"/>
                  </a:lnTo>
                  <a:lnTo>
                    <a:pt x="188" y="250"/>
                  </a:lnTo>
                  <a:lnTo>
                    <a:pt x="192" y="256"/>
                  </a:lnTo>
                  <a:lnTo>
                    <a:pt x="198" y="262"/>
                  </a:lnTo>
                  <a:lnTo>
                    <a:pt x="194" y="268"/>
                  </a:lnTo>
                  <a:lnTo>
                    <a:pt x="186" y="276"/>
                  </a:lnTo>
                  <a:lnTo>
                    <a:pt x="184" y="282"/>
                  </a:lnTo>
                  <a:lnTo>
                    <a:pt x="180" y="290"/>
                  </a:lnTo>
                  <a:lnTo>
                    <a:pt x="174" y="292"/>
                  </a:lnTo>
                  <a:lnTo>
                    <a:pt x="158" y="278"/>
                  </a:lnTo>
                  <a:lnTo>
                    <a:pt x="140" y="268"/>
                  </a:lnTo>
                  <a:lnTo>
                    <a:pt x="118" y="258"/>
                  </a:lnTo>
                  <a:lnTo>
                    <a:pt x="100" y="248"/>
                  </a:lnTo>
                  <a:lnTo>
                    <a:pt x="90" y="236"/>
                  </a:lnTo>
                  <a:lnTo>
                    <a:pt x="76" y="222"/>
                  </a:lnTo>
                  <a:lnTo>
                    <a:pt x="82" y="214"/>
                  </a:lnTo>
                  <a:lnTo>
                    <a:pt x="72" y="198"/>
                  </a:lnTo>
                  <a:lnTo>
                    <a:pt x="64" y="186"/>
                  </a:lnTo>
                  <a:lnTo>
                    <a:pt x="56" y="172"/>
                  </a:lnTo>
                  <a:lnTo>
                    <a:pt x="48" y="152"/>
                  </a:lnTo>
                  <a:lnTo>
                    <a:pt x="36" y="132"/>
                  </a:lnTo>
                  <a:lnTo>
                    <a:pt x="26" y="112"/>
                  </a:lnTo>
                  <a:lnTo>
                    <a:pt x="16" y="102"/>
                  </a:lnTo>
                  <a:lnTo>
                    <a:pt x="4" y="96"/>
                  </a:lnTo>
                  <a:lnTo>
                    <a:pt x="6" y="84"/>
                  </a:lnTo>
                  <a:lnTo>
                    <a:pt x="0" y="78"/>
                  </a:lnTo>
                  <a:lnTo>
                    <a:pt x="2" y="6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17" name="Freeform 33"/>
            <p:cNvSpPr>
              <a:spLocks/>
            </p:cNvSpPr>
            <p:nvPr/>
          </p:nvSpPr>
          <p:spPr bwMode="gray">
            <a:xfrm>
              <a:off x="3124200" y="4413250"/>
              <a:ext cx="223838" cy="258763"/>
            </a:xfrm>
            <a:custGeom>
              <a:avLst/>
              <a:gdLst>
                <a:gd name="T0" fmla="*/ 2147483647 w 188"/>
                <a:gd name="T1" fmla="*/ 0 h 214"/>
                <a:gd name="T2" fmla="*/ 2147483647 w 188"/>
                <a:gd name="T3" fmla="*/ 2147483647 h 214"/>
                <a:gd name="T4" fmla="*/ 2147483647 w 188"/>
                <a:gd name="T5" fmla="*/ 2147483647 h 214"/>
                <a:gd name="T6" fmla="*/ 2147483647 w 188"/>
                <a:gd name="T7" fmla="*/ 2147483647 h 214"/>
                <a:gd name="T8" fmla="*/ 2147483647 w 188"/>
                <a:gd name="T9" fmla="*/ 2147483647 h 214"/>
                <a:gd name="T10" fmla="*/ 2147483647 w 188"/>
                <a:gd name="T11" fmla="*/ 2147483647 h 214"/>
                <a:gd name="T12" fmla="*/ 2147483647 w 188"/>
                <a:gd name="T13" fmla="*/ 2147483647 h 214"/>
                <a:gd name="T14" fmla="*/ 2147483647 w 188"/>
                <a:gd name="T15" fmla="*/ 2147483647 h 214"/>
                <a:gd name="T16" fmla="*/ 2147483647 w 188"/>
                <a:gd name="T17" fmla="*/ 2147483647 h 214"/>
                <a:gd name="T18" fmla="*/ 2147483647 w 188"/>
                <a:gd name="T19" fmla="*/ 2147483647 h 214"/>
                <a:gd name="T20" fmla="*/ 2147483647 w 188"/>
                <a:gd name="T21" fmla="*/ 2147483647 h 214"/>
                <a:gd name="T22" fmla="*/ 2147483647 w 188"/>
                <a:gd name="T23" fmla="*/ 2147483647 h 214"/>
                <a:gd name="T24" fmla="*/ 2147483647 w 188"/>
                <a:gd name="T25" fmla="*/ 2147483647 h 214"/>
                <a:gd name="T26" fmla="*/ 2147483647 w 188"/>
                <a:gd name="T27" fmla="*/ 2147483647 h 214"/>
                <a:gd name="T28" fmla="*/ 2147483647 w 188"/>
                <a:gd name="T29" fmla="*/ 2147483647 h 214"/>
                <a:gd name="T30" fmla="*/ 2147483647 w 188"/>
                <a:gd name="T31" fmla="*/ 2147483647 h 214"/>
                <a:gd name="T32" fmla="*/ 2147483647 w 188"/>
                <a:gd name="T33" fmla="*/ 2147483647 h 214"/>
                <a:gd name="T34" fmla="*/ 2147483647 w 188"/>
                <a:gd name="T35" fmla="*/ 2147483647 h 214"/>
                <a:gd name="T36" fmla="*/ 2147483647 w 188"/>
                <a:gd name="T37" fmla="*/ 2147483647 h 214"/>
                <a:gd name="T38" fmla="*/ 2147483647 w 188"/>
                <a:gd name="T39" fmla="*/ 2147483647 h 214"/>
                <a:gd name="T40" fmla="*/ 2147483647 w 188"/>
                <a:gd name="T41" fmla="*/ 2147483647 h 214"/>
                <a:gd name="T42" fmla="*/ 2147483647 w 188"/>
                <a:gd name="T43" fmla="*/ 2147483647 h 214"/>
                <a:gd name="T44" fmla="*/ 2147483647 w 188"/>
                <a:gd name="T45" fmla="*/ 2147483647 h 214"/>
                <a:gd name="T46" fmla="*/ 2147483647 w 188"/>
                <a:gd name="T47" fmla="*/ 2147483647 h 214"/>
                <a:gd name="T48" fmla="*/ 2147483647 w 188"/>
                <a:gd name="T49" fmla="*/ 2147483647 h 214"/>
                <a:gd name="T50" fmla="*/ 2147483647 w 188"/>
                <a:gd name="T51" fmla="*/ 2147483647 h 214"/>
                <a:gd name="T52" fmla="*/ 2147483647 w 188"/>
                <a:gd name="T53" fmla="*/ 2147483647 h 214"/>
                <a:gd name="T54" fmla="*/ 2147483647 w 188"/>
                <a:gd name="T55" fmla="*/ 2147483647 h 214"/>
                <a:gd name="T56" fmla="*/ 2147483647 w 188"/>
                <a:gd name="T57" fmla="*/ 2147483647 h 214"/>
                <a:gd name="T58" fmla="*/ 2147483647 w 188"/>
                <a:gd name="T59" fmla="*/ 2147483647 h 214"/>
                <a:gd name="T60" fmla="*/ 2147483647 w 188"/>
                <a:gd name="T61" fmla="*/ 2147483647 h 214"/>
                <a:gd name="T62" fmla="*/ 2147483647 w 188"/>
                <a:gd name="T63" fmla="*/ 2147483647 h 21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88"/>
                <a:gd name="T97" fmla="*/ 0 h 214"/>
                <a:gd name="T98" fmla="*/ 188 w 188"/>
                <a:gd name="T99" fmla="*/ 214 h 21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88" h="214">
                  <a:moveTo>
                    <a:pt x="42" y="4"/>
                  </a:moveTo>
                  <a:lnTo>
                    <a:pt x="54" y="0"/>
                  </a:lnTo>
                  <a:lnTo>
                    <a:pt x="66" y="0"/>
                  </a:lnTo>
                  <a:lnTo>
                    <a:pt x="68" y="28"/>
                  </a:lnTo>
                  <a:lnTo>
                    <a:pt x="80" y="40"/>
                  </a:lnTo>
                  <a:lnTo>
                    <a:pt x="100" y="44"/>
                  </a:lnTo>
                  <a:lnTo>
                    <a:pt x="104" y="50"/>
                  </a:lnTo>
                  <a:lnTo>
                    <a:pt x="122" y="56"/>
                  </a:lnTo>
                  <a:lnTo>
                    <a:pt x="142" y="62"/>
                  </a:lnTo>
                  <a:lnTo>
                    <a:pt x="146" y="74"/>
                  </a:lnTo>
                  <a:lnTo>
                    <a:pt x="148" y="82"/>
                  </a:lnTo>
                  <a:lnTo>
                    <a:pt x="146" y="90"/>
                  </a:lnTo>
                  <a:lnTo>
                    <a:pt x="148" y="102"/>
                  </a:lnTo>
                  <a:lnTo>
                    <a:pt x="160" y="102"/>
                  </a:lnTo>
                  <a:lnTo>
                    <a:pt x="176" y="102"/>
                  </a:lnTo>
                  <a:lnTo>
                    <a:pt x="174" y="110"/>
                  </a:lnTo>
                  <a:lnTo>
                    <a:pt x="176" y="122"/>
                  </a:lnTo>
                  <a:lnTo>
                    <a:pt x="186" y="126"/>
                  </a:lnTo>
                  <a:lnTo>
                    <a:pt x="188" y="136"/>
                  </a:lnTo>
                  <a:lnTo>
                    <a:pt x="188" y="142"/>
                  </a:lnTo>
                  <a:lnTo>
                    <a:pt x="180" y="156"/>
                  </a:lnTo>
                  <a:lnTo>
                    <a:pt x="184" y="162"/>
                  </a:lnTo>
                  <a:lnTo>
                    <a:pt x="180" y="166"/>
                  </a:lnTo>
                  <a:lnTo>
                    <a:pt x="174" y="160"/>
                  </a:lnTo>
                  <a:lnTo>
                    <a:pt x="164" y="154"/>
                  </a:lnTo>
                  <a:lnTo>
                    <a:pt x="152" y="152"/>
                  </a:lnTo>
                  <a:lnTo>
                    <a:pt x="136" y="154"/>
                  </a:lnTo>
                  <a:lnTo>
                    <a:pt x="126" y="158"/>
                  </a:lnTo>
                  <a:lnTo>
                    <a:pt x="120" y="160"/>
                  </a:lnTo>
                  <a:lnTo>
                    <a:pt x="114" y="174"/>
                  </a:lnTo>
                  <a:lnTo>
                    <a:pt x="114" y="184"/>
                  </a:lnTo>
                  <a:lnTo>
                    <a:pt x="112" y="194"/>
                  </a:lnTo>
                  <a:lnTo>
                    <a:pt x="108" y="198"/>
                  </a:lnTo>
                  <a:lnTo>
                    <a:pt x="90" y="198"/>
                  </a:lnTo>
                  <a:lnTo>
                    <a:pt x="84" y="212"/>
                  </a:lnTo>
                  <a:lnTo>
                    <a:pt x="74" y="200"/>
                  </a:lnTo>
                  <a:lnTo>
                    <a:pt x="60" y="202"/>
                  </a:lnTo>
                  <a:lnTo>
                    <a:pt x="52" y="196"/>
                  </a:lnTo>
                  <a:lnTo>
                    <a:pt x="44" y="202"/>
                  </a:lnTo>
                  <a:lnTo>
                    <a:pt x="40" y="210"/>
                  </a:lnTo>
                  <a:lnTo>
                    <a:pt x="38" y="214"/>
                  </a:lnTo>
                  <a:lnTo>
                    <a:pt x="32" y="214"/>
                  </a:lnTo>
                  <a:lnTo>
                    <a:pt x="30" y="214"/>
                  </a:lnTo>
                  <a:lnTo>
                    <a:pt x="28" y="214"/>
                  </a:lnTo>
                  <a:lnTo>
                    <a:pt x="26" y="200"/>
                  </a:lnTo>
                  <a:lnTo>
                    <a:pt x="22" y="186"/>
                  </a:lnTo>
                  <a:lnTo>
                    <a:pt x="14" y="174"/>
                  </a:lnTo>
                  <a:lnTo>
                    <a:pt x="14" y="156"/>
                  </a:lnTo>
                  <a:lnTo>
                    <a:pt x="8" y="144"/>
                  </a:lnTo>
                  <a:lnTo>
                    <a:pt x="2" y="126"/>
                  </a:lnTo>
                  <a:lnTo>
                    <a:pt x="0" y="118"/>
                  </a:lnTo>
                  <a:lnTo>
                    <a:pt x="6" y="112"/>
                  </a:lnTo>
                  <a:lnTo>
                    <a:pt x="10" y="106"/>
                  </a:lnTo>
                  <a:lnTo>
                    <a:pt x="4" y="100"/>
                  </a:lnTo>
                  <a:lnTo>
                    <a:pt x="0" y="94"/>
                  </a:lnTo>
                  <a:lnTo>
                    <a:pt x="2" y="84"/>
                  </a:lnTo>
                  <a:lnTo>
                    <a:pt x="6" y="74"/>
                  </a:lnTo>
                  <a:lnTo>
                    <a:pt x="8" y="72"/>
                  </a:lnTo>
                  <a:lnTo>
                    <a:pt x="8" y="66"/>
                  </a:lnTo>
                  <a:lnTo>
                    <a:pt x="10" y="44"/>
                  </a:lnTo>
                  <a:lnTo>
                    <a:pt x="0" y="18"/>
                  </a:lnTo>
                  <a:lnTo>
                    <a:pt x="10" y="18"/>
                  </a:lnTo>
                  <a:lnTo>
                    <a:pt x="20" y="16"/>
                  </a:lnTo>
                  <a:lnTo>
                    <a:pt x="34" y="10"/>
                  </a:lnTo>
                  <a:lnTo>
                    <a:pt x="42" y="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18" name="Freeform 34"/>
            <p:cNvSpPr>
              <a:spLocks/>
            </p:cNvSpPr>
            <p:nvPr/>
          </p:nvSpPr>
          <p:spPr bwMode="gray">
            <a:xfrm>
              <a:off x="3252788" y="4597400"/>
              <a:ext cx="158750" cy="169863"/>
            </a:xfrm>
            <a:custGeom>
              <a:avLst/>
              <a:gdLst>
                <a:gd name="T0" fmla="*/ 2147483647 w 134"/>
                <a:gd name="T1" fmla="*/ 2147483647 h 140"/>
                <a:gd name="T2" fmla="*/ 2147483647 w 134"/>
                <a:gd name="T3" fmla="*/ 2147483647 h 140"/>
                <a:gd name="T4" fmla="*/ 2147483647 w 134"/>
                <a:gd name="T5" fmla="*/ 2147483647 h 140"/>
                <a:gd name="T6" fmla="*/ 2147483647 w 134"/>
                <a:gd name="T7" fmla="*/ 2147483647 h 140"/>
                <a:gd name="T8" fmla="*/ 2147483647 w 134"/>
                <a:gd name="T9" fmla="*/ 2147483647 h 140"/>
                <a:gd name="T10" fmla="*/ 2147483647 w 134"/>
                <a:gd name="T11" fmla="*/ 2147483647 h 140"/>
                <a:gd name="T12" fmla="*/ 2147483647 w 134"/>
                <a:gd name="T13" fmla="*/ 2147483647 h 140"/>
                <a:gd name="T14" fmla="*/ 2147483647 w 134"/>
                <a:gd name="T15" fmla="*/ 2147483647 h 140"/>
                <a:gd name="T16" fmla="*/ 2147483647 w 134"/>
                <a:gd name="T17" fmla="*/ 2147483647 h 140"/>
                <a:gd name="T18" fmla="*/ 2147483647 w 134"/>
                <a:gd name="T19" fmla="*/ 2147483647 h 140"/>
                <a:gd name="T20" fmla="*/ 2147483647 w 134"/>
                <a:gd name="T21" fmla="*/ 2147483647 h 140"/>
                <a:gd name="T22" fmla="*/ 2147483647 w 134"/>
                <a:gd name="T23" fmla="*/ 2147483647 h 140"/>
                <a:gd name="T24" fmla="*/ 2147483647 w 134"/>
                <a:gd name="T25" fmla="*/ 2147483647 h 140"/>
                <a:gd name="T26" fmla="*/ 0 w 134"/>
                <a:gd name="T27" fmla="*/ 2147483647 h 140"/>
                <a:gd name="T28" fmla="*/ 2147483647 w 134"/>
                <a:gd name="T29" fmla="*/ 2147483647 h 140"/>
                <a:gd name="T30" fmla="*/ 2147483647 w 134"/>
                <a:gd name="T31" fmla="*/ 2147483647 h 140"/>
                <a:gd name="T32" fmla="*/ 2147483647 w 134"/>
                <a:gd name="T33" fmla="*/ 2147483647 h 140"/>
                <a:gd name="T34" fmla="*/ 2147483647 w 134"/>
                <a:gd name="T35" fmla="*/ 2147483647 h 140"/>
                <a:gd name="T36" fmla="*/ 2147483647 w 134"/>
                <a:gd name="T37" fmla="*/ 2147483647 h 140"/>
                <a:gd name="T38" fmla="*/ 2147483647 w 134"/>
                <a:gd name="T39" fmla="*/ 0 h 140"/>
                <a:gd name="T40" fmla="*/ 2147483647 w 134"/>
                <a:gd name="T41" fmla="*/ 2147483647 h 140"/>
                <a:gd name="T42" fmla="*/ 2147483647 w 134"/>
                <a:gd name="T43" fmla="*/ 2147483647 h 140"/>
                <a:gd name="T44" fmla="*/ 2147483647 w 134"/>
                <a:gd name="T45" fmla="*/ 2147483647 h 140"/>
                <a:gd name="T46" fmla="*/ 2147483647 w 134"/>
                <a:gd name="T47" fmla="*/ 2147483647 h 140"/>
                <a:gd name="T48" fmla="*/ 2147483647 w 134"/>
                <a:gd name="T49" fmla="*/ 2147483647 h 140"/>
                <a:gd name="T50" fmla="*/ 2147483647 w 134"/>
                <a:gd name="T51" fmla="*/ 2147483647 h 140"/>
                <a:gd name="T52" fmla="*/ 2147483647 w 134"/>
                <a:gd name="T53" fmla="*/ 2147483647 h 140"/>
                <a:gd name="T54" fmla="*/ 2147483647 w 134"/>
                <a:gd name="T55" fmla="*/ 2147483647 h 140"/>
                <a:gd name="T56" fmla="*/ 2147483647 w 134"/>
                <a:gd name="T57" fmla="*/ 2147483647 h 140"/>
                <a:gd name="T58" fmla="*/ 2147483647 w 134"/>
                <a:gd name="T59" fmla="*/ 2147483647 h 140"/>
                <a:gd name="T60" fmla="*/ 2147483647 w 134"/>
                <a:gd name="T61" fmla="*/ 2147483647 h 140"/>
                <a:gd name="T62" fmla="*/ 2147483647 w 134"/>
                <a:gd name="T63" fmla="*/ 2147483647 h 140"/>
                <a:gd name="T64" fmla="*/ 2147483647 w 134"/>
                <a:gd name="T65" fmla="*/ 2147483647 h 140"/>
                <a:gd name="T66" fmla="*/ 2147483647 w 134"/>
                <a:gd name="T67" fmla="*/ 2147483647 h 140"/>
                <a:gd name="T68" fmla="*/ 2147483647 w 134"/>
                <a:gd name="T69" fmla="*/ 2147483647 h 140"/>
                <a:gd name="T70" fmla="*/ 2147483647 w 134"/>
                <a:gd name="T71" fmla="*/ 2147483647 h 140"/>
                <a:gd name="T72" fmla="*/ 2147483647 w 134"/>
                <a:gd name="T73" fmla="*/ 2147483647 h 140"/>
                <a:gd name="T74" fmla="*/ 2147483647 w 134"/>
                <a:gd name="T75" fmla="*/ 2147483647 h 140"/>
                <a:gd name="T76" fmla="*/ 2147483647 w 134"/>
                <a:gd name="T77" fmla="*/ 2147483647 h 140"/>
                <a:gd name="T78" fmla="*/ 2147483647 w 134"/>
                <a:gd name="T79" fmla="*/ 2147483647 h 140"/>
                <a:gd name="T80" fmla="*/ 2147483647 w 134"/>
                <a:gd name="T81" fmla="*/ 2147483647 h 140"/>
                <a:gd name="T82" fmla="*/ 2147483647 w 134"/>
                <a:gd name="T83" fmla="*/ 2147483647 h 14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34"/>
                <a:gd name="T127" fmla="*/ 0 h 140"/>
                <a:gd name="T128" fmla="*/ 134 w 134"/>
                <a:gd name="T129" fmla="*/ 140 h 14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34" h="140">
                  <a:moveTo>
                    <a:pt x="108" y="136"/>
                  </a:moveTo>
                  <a:lnTo>
                    <a:pt x="94" y="140"/>
                  </a:lnTo>
                  <a:lnTo>
                    <a:pt x="72" y="140"/>
                  </a:lnTo>
                  <a:lnTo>
                    <a:pt x="66" y="132"/>
                  </a:lnTo>
                  <a:lnTo>
                    <a:pt x="72" y="118"/>
                  </a:lnTo>
                  <a:lnTo>
                    <a:pt x="80" y="106"/>
                  </a:lnTo>
                  <a:lnTo>
                    <a:pt x="74" y="98"/>
                  </a:lnTo>
                  <a:lnTo>
                    <a:pt x="54" y="90"/>
                  </a:lnTo>
                  <a:lnTo>
                    <a:pt x="38" y="78"/>
                  </a:lnTo>
                  <a:lnTo>
                    <a:pt x="30" y="78"/>
                  </a:lnTo>
                  <a:lnTo>
                    <a:pt x="20" y="72"/>
                  </a:lnTo>
                  <a:lnTo>
                    <a:pt x="8" y="60"/>
                  </a:lnTo>
                  <a:lnTo>
                    <a:pt x="2" y="52"/>
                  </a:lnTo>
                  <a:lnTo>
                    <a:pt x="0" y="46"/>
                  </a:lnTo>
                  <a:lnTo>
                    <a:pt x="4" y="42"/>
                  </a:lnTo>
                  <a:lnTo>
                    <a:pt x="6" y="32"/>
                  </a:lnTo>
                  <a:lnTo>
                    <a:pt x="6" y="22"/>
                  </a:lnTo>
                  <a:lnTo>
                    <a:pt x="12" y="8"/>
                  </a:lnTo>
                  <a:lnTo>
                    <a:pt x="28" y="2"/>
                  </a:lnTo>
                  <a:lnTo>
                    <a:pt x="44" y="0"/>
                  </a:lnTo>
                  <a:lnTo>
                    <a:pt x="56" y="2"/>
                  </a:lnTo>
                  <a:lnTo>
                    <a:pt x="66" y="8"/>
                  </a:lnTo>
                  <a:lnTo>
                    <a:pt x="72" y="14"/>
                  </a:lnTo>
                  <a:lnTo>
                    <a:pt x="76" y="22"/>
                  </a:lnTo>
                  <a:lnTo>
                    <a:pt x="76" y="34"/>
                  </a:lnTo>
                  <a:lnTo>
                    <a:pt x="76" y="50"/>
                  </a:lnTo>
                  <a:lnTo>
                    <a:pt x="86" y="50"/>
                  </a:lnTo>
                  <a:lnTo>
                    <a:pt x="94" y="48"/>
                  </a:lnTo>
                  <a:lnTo>
                    <a:pt x="104" y="50"/>
                  </a:lnTo>
                  <a:lnTo>
                    <a:pt x="110" y="54"/>
                  </a:lnTo>
                  <a:lnTo>
                    <a:pt x="108" y="64"/>
                  </a:lnTo>
                  <a:lnTo>
                    <a:pt x="112" y="74"/>
                  </a:lnTo>
                  <a:lnTo>
                    <a:pt x="120" y="82"/>
                  </a:lnTo>
                  <a:lnTo>
                    <a:pt x="128" y="80"/>
                  </a:lnTo>
                  <a:lnTo>
                    <a:pt x="134" y="82"/>
                  </a:lnTo>
                  <a:lnTo>
                    <a:pt x="132" y="90"/>
                  </a:lnTo>
                  <a:lnTo>
                    <a:pt x="128" y="100"/>
                  </a:lnTo>
                  <a:lnTo>
                    <a:pt x="128" y="114"/>
                  </a:lnTo>
                  <a:lnTo>
                    <a:pt x="126" y="120"/>
                  </a:lnTo>
                  <a:lnTo>
                    <a:pt x="122" y="128"/>
                  </a:lnTo>
                  <a:lnTo>
                    <a:pt x="112" y="134"/>
                  </a:lnTo>
                  <a:lnTo>
                    <a:pt x="108" y="13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19" name="Freeform 35"/>
            <p:cNvSpPr>
              <a:spLocks/>
            </p:cNvSpPr>
            <p:nvPr/>
          </p:nvSpPr>
          <p:spPr bwMode="gray">
            <a:xfrm>
              <a:off x="3332163" y="4814888"/>
              <a:ext cx="101600" cy="109537"/>
            </a:xfrm>
            <a:custGeom>
              <a:avLst/>
              <a:gdLst>
                <a:gd name="T0" fmla="*/ 2147483647 w 84"/>
                <a:gd name="T1" fmla="*/ 0 h 90"/>
                <a:gd name="T2" fmla="*/ 2147483647 w 84"/>
                <a:gd name="T3" fmla="*/ 2147483647 h 90"/>
                <a:gd name="T4" fmla="*/ 2147483647 w 84"/>
                <a:gd name="T5" fmla="*/ 2147483647 h 90"/>
                <a:gd name="T6" fmla="*/ 2147483647 w 84"/>
                <a:gd name="T7" fmla="*/ 2147483647 h 90"/>
                <a:gd name="T8" fmla="*/ 2147483647 w 84"/>
                <a:gd name="T9" fmla="*/ 2147483647 h 90"/>
                <a:gd name="T10" fmla="*/ 2147483647 w 84"/>
                <a:gd name="T11" fmla="*/ 2147483647 h 90"/>
                <a:gd name="T12" fmla="*/ 2147483647 w 84"/>
                <a:gd name="T13" fmla="*/ 2147483647 h 90"/>
                <a:gd name="T14" fmla="*/ 2147483647 w 84"/>
                <a:gd name="T15" fmla="*/ 2147483647 h 90"/>
                <a:gd name="T16" fmla="*/ 2147483647 w 84"/>
                <a:gd name="T17" fmla="*/ 2147483647 h 90"/>
                <a:gd name="T18" fmla="*/ 2147483647 w 84"/>
                <a:gd name="T19" fmla="*/ 2147483647 h 90"/>
                <a:gd name="T20" fmla="*/ 2147483647 w 84"/>
                <a:gd name="T21" fmla="*/ 2147483647 h 90"/>
                <a:gd name="T22" fmla="*/ 2147483647 w 84"/>
                <a:gd name="T23" fmla="*/ 2147483647 h 90"/>
                <a:gd name="T24" fmla="*/ 2147483647 w 84"/>
                <a:gd name="T25" fmla="*/ 2147483647 h 90"/>
                <a:gd name="T26" fmla="*/ 2147483647 w 84"/>
                <a:gd name="T27" fmla="*/ 2147483647 h 90"/>
                <a:gd name="T28" fmla="*/ 2147483647 w 84"/>
                <a:gd name="T29" fmla="*/ 2147483647 h 90"/>
                <a:gd name="T30" fmla="*/ 2147483647 w 84"/>
                <a:gd name="T31" fmla="*/ 2147483647 h 90"/>
                <a:gd name="T32" fmla="*/ 2147483647 w 84"/>
                <a:gd name="T33" fmla="*/ 2147483647 h 90"/>
                <a:gd name="T34" fmla="*/ 2147483647 w 84"/>
                <a:gd name="T35" fmla="*/ 2147483647 h 90"/>
                <a:gd name="T36" fmla="*/ 2147483647 w 84"/>
                <a:gd name="T37" fmla="*/ 2147483647 h 90"/>
                <a:gd name="T38" fmla="*/ 2147483647 w 84"/>
                <a:gd name="T39" fmla="*/ 2147483647 h 90"/>
                <a:gd name="T40" fmla="*/ 0 w 84"/>
                <a:gd name="T41" fmla="*/ 2147483647 h 90"/>
                <a:gd name="T42" fmla="*/ 0 w 84"/>
                <a:gd name="T43" fmla="*/ 2147483647 h 90"/>
                <a:gd name="T44" fmla="*/ 2147483647 w 84"/>
                <a:gd name="T45" fmla="*/ 2147483647 h 90"/>
                <a:gd name="T46" fmla="*/ 2147483647 w 84"/>
                <a:gd name="T47" fmla="*/ 2147483647 h 90"/>
                <a:gd name="T48" fmla="*/ 2147483647 w 84"/>
                <a:gd name="T49" fmla="*/ 2147483647 h 90"/>
                <a:gd name="T50" fmla="*/ 2147483647 w 84"/>
                <a:gd name="T51" fmla="*/ 2147483647 h 90"/>
                <a:gd name="T52" fmla="*/ 2147483647 w 84"/>
                <a:gd name="T53" fmla="*/ 0 h 9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84"/>
                <a:gd name="T82" fmla="*/ 0 h 90"/>
                <a:gd name="T83" fmla="*/ 84 w 84"/>
                <a:gd name="T84" fmla="*/ 90 h 9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84" h="90">
                  <a:moveTo>
                    <a:pt x="20" y="0"/>
                  </a:moveTo>
                  <a:lnTo>
                    <a:pt x="30" y="8"/>
                  </a:lnTo>
                  <a:lnTo>
                    <a:pt x="38" y="18"/>
                  </a:lnTo>
                  <a:lnTo>
                    <a:pt x="46" y="20"/>
                  </a:lnTo>
                  <a:lnTo>
                    <a:pt x="60" y="28"/>
                  </a:lnTo>
                  <a:lnTo>
                    <a:pt x="72" y="38"/>
                  </a:lnTo>
                  <a:lnTo>
                    <a:pt x="78" y="44"/>
                  </a:lnTo>
                  <a:lnTo>
                    <a:pt x="82" y="50"/>
                  </a:lnTo>
                  <a:lnTo>
                    <a:pt x="80" y="56"/>
                  </a:lnTo>
                  <a:lnTo>
                    <a:pt x="80" y="62"/>
                  </a:lnTo>
                  <a:lnTo>
                    <a:pt x="84" y="66"/>
                  </a:lnTo>
                  <a:lnTo>
                    <a:pt x="80" y="70"/>
                  </a:lnTo>
                  <a:lnTo>
                    <a:pt x="72" y="80"/>
                  </a:lnTo>
                  <a:lnTo>
                    <a:pt x="66" y="86"/>
                  </a:lnTo>
                  <a:lnTo>
                    <a:pt x="62" y="88"/>
                  </a:lnTo>
                  <a:lnTo>
                    <a:pt x="60" y="90"/>
                  </a:lnTo>
                  <a:lnTo>
                    <a:pt x="42" y="88"/>
                  </a:lnTo>
                  <a:lnTo>
                    <a:pt x="28" y="86"/>
                  </a:lnTo>
                  <a:lnTo>
                    <a:pt x="18" y="82"/>
                  </a:lnTo>
                  <a:lnTo>
                    <a:pt x="6" y="80"/>
                  </a:lnTo>
                  <a:lnTo>
                    <a:pt x="0" y="76"/>
                  </a:lnTo>
                  <a:lnTo>
                    <a:pt x="0" y="60"/>
                  </a:lnTo>
                  <a:lnTo>
                    <a:pt x="4" y="40"/>
                  </a:lnTo>
                  <a:lnTo>
                    <a:pt x="6" y="24"/>
                  </a:lnTo>
                  <a:lnTo>
                    <a:pt x="10" y="8"/>
                  </a:lnTo>
                  <a:lnTo>
                    <a:pt x="12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20" name="Freeform 36"/>
            <p:cNvSpPr>
              <a:spLocks/>
            </p:cNvSpPr>
            <p:nvPr/>
          </p:nvSpPr>
          <p:spPr bwMode="gray">
            <a:xfrm>
              <a:off x="3048000" y="4651375"/>
              <a:ext cx="374650" cy="679450"/>
            </a:xfrm>
            <a:custGeom>
              <a:avLst/>
              <a:gdLst>
                <a:gd name="T0" fmla="*/ 2147483647 w 316"/>
                <a:gd name="T1" fmla="*/ 2147483647 h 562"/>
                <a:gd name="T2" fmla="*/ 2147483647 w 316"/>
                <a:gd name="T3" fmla="*/ 2147483647 h 562"/>
                <a:gd name="T4" fmla="*/ 2147483647 w 316"/>
                <a:gd name="T5" fmla="*/ 2147483647 h 562"/>
                <a:gd name="T6" fmla="*/ 2147483647 w 316"/>
                <a:gd name="T7" fmla="*/ 2147483647 h 562"/>
                <a:gd name="T8" fmla="*/ 2147483647 w 316"/>
                <a:gd name="T9" fmla="*/ 2147483647 h 562"/>
                <a:gd name="T10" fmla="*/ 2147483647 w 316"/>
                <a:gd name="T11" fmla="*/ 2147483647 h 562"/>
                <a:gd name="T12" fmla="*/ 2147483647 w 316"/>
                <a:gd name="T13" fmla="*/ 2147483647 h 562"/>
                <a:gd name="T14" fmla="*/ 2147483647 w 316"/>
                <a:gd name="T15" fmla="*/ 2147483647 h 562"/>
                <a:gd name="T16" fmla="*/ 2147483647 w 316"/>
                <a:gd name="T17" fmla="*/ 2147483647 h 562"/>
                <a:gd name="T18" fmla="*/ 2147483647 w 316"/>
                <a:gd name="T19" fmla="*/ 2147483647 h 562"/>
                <a:gd name="T20" fmla="*/ 2147483647 w 316"/>
                <a:gd name="T21" fmla="*/ 2147483647 h 562"/>
                <a:gd name="T22" fmla="*/ 2147483647 w 316"/>
                <a:gd name="T23" fmla="*/ 2147483647 h 562"/>
                <a:gd name="T24" fmla="*/ 2147483647 w 316"/>
                <a:gd name="T25" fmla="*/ 2147483647 h 562"/>
                <a:gd name="T26" fmla="*/ 2147483647 w 316"/>
                <a:gd name="T27" fmla="*/ 2147483647 h 562"/>
                <a:gd name="T28" fmla="*/ 2147483647 w 316"/>
                <a:gd name="T29" fmla="*/ 2147483647 h 562"/>
                <a:gd name="T30" fmla="*/ 2147483647 w 316"/>
                <a:gd name="T31" fmla="*/ 2147483647 h 562"/>
                <a:gd name="T32" fmla="*/ 2147483647 w 316"/>
                <a:gd name="T33" fmla="*/ 2147483647 h 562"/>
                <a:gd name="T34" fmla="*/ 2147483647 w 316"/>
                <a:gd name="T35" fmla="*/ 2147483647 h 562"/>
                <a:gd name="T36" fmla="*/ 2147483647 w 316"/>
                <a:gd name="T37" fmla="*/ 2147483647 h 562"/>
                <a:gd name="T38" fmla="*/ 2147483647 w 316"/>
                <a:gd name="T39" fmla="*/ 2147483647 h 562"/>
                <a:gd name="T40" fmla="*/ 2147483647 w 316"/>
                <a:gd name="T41" fmla="*/ 2147483647 h 562"/>
                <a:gd name="T42" fmla="*/ 2147483647 w 316"/>
                <a:gd name="T43" fmla="*/ 2147483647 h 562"/>
                <a:gd name="T44" fmla="*/ 2147483647 w 316"/>
                <a:gd name="T45" fmla="*/ 2147483647 h 562"/>
                <a:gd name="T46" fmla="*/ 2147483647 w 316"/>
                <a:gd name="T47" fmla="*/ 2147483647 h 562"/>
                <a:gd name="T48" fmla="*/ 2147483647 w 316"/>
                <a:gd name="T49" fmla="*/ 2147483647 h 562"/>
                <a:gd name="T50" fmla="*/ 2147483647 w 316"/>
                <a:gd name="T51" fmla="*/ 2147483647 h 562"/>
                <a:gd name="T52" fmla="*/ 2147483647 w 316"/>
                <a:gd name="T53" fmla="*/ 2147483647 h 562"/>
                <a:gd name="T54" fmla="*/ 2147483647 w 316"/>
                <a:gd name="T55" fmla="*/ 2147483647 h 562"/>
                <a:gd name="T56" fmla="*/ 2147483647 w 316"/>
                <a:gd name="T57" fmla="*/ 2147483647 h 562"/>
                <a:gd name="T58" fmla="*/ 2147483647 w 316"/>
                <a:gd name="T59" fmla="*/ 2147483647 h 562"/>
                <a:gd name="T60" fmla="*/ 2147483647 w 316"/>
                <a:gd name="T61" fmla="*/ 2147483647 h 562"/>
                <a:gd name="T62" fmla="*/ 2147483647 w 316"/>
                <a:gd name="T63" fmla="*/ 2147483647 h 562"/>
                <a:gd name="T64" fmla="*/ 2147483647 w 316"/>
                <a:gd name="T65" fmla="*/ 2147483647 h 562"/>
                <a:gd name="T66" fmla="*/ 2147483647 w 316"/>
                <a:gd name="T67" fmla="*/ 2147483647 h 562"/>
                <a:gd name="T68" fmla="*/ 2147483647 w 316"/>
                <a:gd name="T69" fmla="*/ 2147483647 h 562"/>
                <a:gd name="T70" fmla="*/ 2147483647 w 316"/>
                <a:gd name="T71" fmla="*/ 2147483647 h 562"/>
                <a:gd name="T72" fmla="*/ 2147483647 w 316"/>
                <a:gd name="T73" fmla="*/ 2147483647 h 562"/>
                <a:gd name="T74" fmla="*/ 2147483647 w 316"/>
                <a:gd name="T75" fmla="*/ 2147483647 h 562"/>
                <a:gd name="T76" fmla="*/ 2147483647 w 316"/>
                <a:gd name="T77" fmla="*/ 2147483647 h 562"/>
                <a:gd name="T78" fmla="*/ 2147483647 w 316"/>
                <a:gd name="T79" fmla="*/ 2147483647 h 562"/>
                <a:gd name="T80" fmla="*/ 2147483647 w 316"/>
                <a:gd name="T81" fmla="*/ 2147483647 h 562"/>
                <a:gd name="T82" fmla="*/ 2147483647 w 316"/>
                <a:gd name="T83" fmla="*/ 2147483647 h 562"/>
                <a:gd name="T84" fmla="*/ 2147483647 w 316"/>
                <a:gd name="T85" fmla="*/ 2147483647 h 562"/>
                <a:gd name="T86" fmla="*/ 2147483647 w 316"/>
                <a:gd name="T87" fmla="*/ 2147483647 h 562"/>
                <a:gd name="T88" fmla="*/ 2147483647 w 316"/>
                <a:gd name="T89" fmla="*/ 2147483647 h 562"/>
                <a:gd name="T90" fmla="*/ 2147483647 w 316"/>
                <a:gd name="T91" fmla="*/ 2147483647 h 562"/>
                <a:gd name="T92" fmla="*/ 2147483647 w 316"/>
                <a:gd name="T93" fmla="*/ 2147483647 h 562"/>
                <a:gd name="T94" fmla="*/ 2147483647 w 316"/>
                <a:gd name="T95" fmla="*/ 2147483647 h 562"/>
                <a:gd name="T96" fmla="*/ 2147483647 w 316"/>
                <a:gd name="T97" fmla="*/ 2147483647 h 562"/>
                <a:gd name="T98" fmla="*/ 2147483647 w 316"/>
                <a:gd name="T99" fmla="*/ 2147483647 h 562"/>
                <a:gd name="T100" fmla="*/ 2147483647 w 316"/>
                <a:gd name="T101" fmla="*/ 2147483647 h 56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16"/>
                <a:gd name="T154" fmla="*/ 0 h 562"/>
                <a:gd name="T155" fmla="*/ 316 w 316"/>
                <a:gd name="T156" fmla="*/ 562 h 56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16" h="562">
                  <a:moveTo>
                    <a:pt x="102" y="18"/>
                  </a:moveTo>
                  <a:lnTo>
                    <a:pt x="104" y="10"/>
                  </a:lnTo>
                  <a:lnTo>
                    <a:pt x="108" y="6"/>
                  </a:lnTo>
                  <a:lnTo>
                    <a:pt x="116" y="0"/>
                  </a:lnTo>
                  <a:lnTo>
                    <a:pt x="124" y="6"/>
                  </a:lnTo>
                  <a:lnTo>
                    <a:pt x="138" y="4"/>
                  </a:lnTo>
                  <a:lnTo>
                    <a:pt x="148" y="16"/>
                  </a:lnTo>
                  <a:lnTo>
                    <a:pt x="154" y="2"/>
                  </a:lnTo>
                  <a:lnTo>
                    <a:pt x="172" y="2"/>
                  </a:lnTo>
                  <a:lnTo>
                    <a:pt x="174" y="8"/>
                  </a:lnTo>
                  <a:lnTo>
                    <a:pt x="180" y="16"/>
                  </a:lnTo>
                  <a:lnTo>
                    <a:pt x="190" y="26"/>
                  </a:lnTo>
                  <a:lnTo>
                    <a:pt x="192" y="28"/>
                  </a:lnTo>
                  <a:lnTo>
                    <a:pt x="202" y="34"/>
                  </a:lnTo>
                  <a:lnTo>
                    <a:pt x="210" y="34"/>
                  </a:lnTo>
                  <a:lnTo>
                    <a:pt x="220" y="40"/>
                  </a:lnTo>
                  <a:lnTo>
                    <a:pt x="226" y="46"/>
                  </a:lnTo>
                  <a:lnTo>
                    <a:pt x="236" y="50"/>
                  </a:lnTo>
                  <a:lnTo>
                    <a:pt x="246" y="54"/>
                  </a:lnTo>
                  <a:lnTo>
                    <a:pt x="252" y="62"/>
                  </a:lnTo>
                  <a:lnTo>
                    <a:pt x="246" y="72"/>
                  </a:lnTo>
                  <a:lnTo>
                    <a:pt x="238" y="88"/>
                  </a:lnTo>
                  <a:lnTo>
                    <a:pt x="244" y="96"/>
                  </a:lnTo>
                  <a:lnTo>
                    <a:pt x="266" y="96"/>
                  </a:lnTo>
                  <a:lnTo>
                    <a:pt x="280" y="92"/>
                  </a:lnTo>
                  <a:lnTo>
                    <a:pt x="288" y="86"/>
                  </a:lnTo>
                  <a:lnTo>
                    <a:pt x="294" y="84"/>
                  </a:lnTo>
                  <a:lnTo>
                    <a:pt x="300" y="70"/>
                  </a:lnTo>
                  <a:lnTo>
                    <a:pt x="300" y="60"/>
                  </a:lnTo>
                  <a:lnTo>
                    <a:pt x="310" y="62"/>
                  </a:lnTo>
                  <a:lnTo>
                    <a:pt x="314" y="66"/>
                  </a:lnTo>
                  <a:lnTo>
                    <a:pt x="316" y="76"/>
                  </a:lnTo>
                  <a:lnTo>
                    <a:pt x="312" y="88"/>
                  </a:lnTo>
                  <a:lnTo>
                    <a:pt x="308" y="94"/>
                  </a:lnTo>
                  <a:lnTo>
                    <a:pt x="300" y="98"/>
                  </a:lnTo>
                  <a:lnTo>
                    <a:pt x="292" y="104"/>
                  </a:lnTo>
                  <a:lnTo>
                    <a:pt x="282" y="112"/>
                  </a:lnTo>
                  <a:lnTo>
                    <a:pt x="274" y="118"/>
                  </a:lnTo>
                  <a:lnTo>
                    <a:pt x="268" y="128"/>
                  </a:lnTo>
                  <a:lnTo>
                    <a:pt x="262" y="132"/>
                  </a:lnTo>
                  <a:lnTo>
                    <a:pt x="260" y="136"/>
                  </a:lnTo>
                  <a:lnTo>
                    <a:pt x="252" y="138"/>
                  </a:lnTo>
                  <a:lnTo>
                    <a:pt x="246" y="160"/>
                  </a:lnTo>
                  <a:lnTo>
                    <a:pt x="244" y="174"/>
                  </a:lnTo>
                  <a:lnTo>
                    <a:pt x="240" y="192"/>
                  </a:lnTo>
                  <a:lnTo>
                    <a:pt x="240" y="212"/>
                  </a:lnTo>
                  <a:lnTo>
                    <a:pt x="236" y="216"/>
                  </a:lnTo>
                  <a:lnTo>
                    <a:pt x="234" y="222"/>
                  </a:lnTo>
                  <a:lnTo>
                    <a:pt x="244" y="224"/>
                  </a:lnTo>
                  <a:lnTo>
                    <a:pt x="254" y="228"/>
                  </a:lnTo>
                  <a:lnTo>
                    <a:pt x="258" y="236"/>
                  </a:lnTo>
                  <a:lnTo>
                    <a:pt x="256" y="244"/>
                  </a:lnTo>
                  <a:lnTo>
                    <a:pt x="258" y="248"/>
                  </a:lnTo>
                  <a:lnTo>
                    <a:pt x="266" y="254"/>
                  </a:lnTo>
                  <a:lnTo>
                    <a:pt x="266" y="268"/>
                  </a:lnTo>
                  <a:lnTo>
                    <a:pt x="254" y="284"/>
                  </a:lnTo>
                  <a:lnTo>
                    <a:pt x="240" y="294"/>
                  </a:lnTo>
                  <a:lnTo>
                    <a:pt x="220" y="296"/>
                  </a:lnTo>
                  <a:lnTo>
                    <a:pt x="206" y="298"/>
                  </a:lnTo>
                  <a:lnTo>
                    <a:pt x="190" y="300"/>
                  </a:lnTo>
                  <a:lnTo>
                    <a:pt x="180" y="298"/>
                  </a:lnTo>
                  <a:lnTo>
                    <a:pt x="178" y="304"/>
                  </a:lnTo>
                  <a:lnTo>
                    <a:pt x="180" y="314"/>
                  </a:lnTo>
                  <a:lnTo>
                    <a:pt x="178" y="330"/>
                  </a:lnTo>
                  <a:lnTo>
                    <a:pt x="170" y="338"/>
                  </a:lnTo>
                  <a:lnTo>
                    <a:pt x="162" y="342"/>
                  </a:lnTo>
                  <a:lnTo>
                    <a:pt x="148" y="336"/>
                  </a:lnTo>
                  <a:lnTo>
                    <a:pt x="142" y="334"/>
                  </a:lnTo>
                  <a:lnTo>
                    <a:pt x="136" y="332"/>
                  </a:lnTo>
                  <a:lnTo>
                    <a:pt x="134" y="338"/>
                  </a:lnTo>
                  <a:lnTo>
                    <a:pt x="136" y="354"/>
                  </a:lnTo>
                  <a:lnTo>
                    <a:pt x="136" y="362"/>
                  </a:lnTo>
                  <a:lnTo>
                    <a:pt x="142" y="364"/>
                  </a:lnTo>
                  <a:lnTo>
                    <a:pt x="150" y="364"/>
                  </a:lnTo>
                  <a:lnTo>
                    <a:pt x="150" y="362"/>
                  </a:lnTo>
                  <a:lnTo>
                    <a:pt x="154" y="360"/>
                  </a:lnTo>
                  <a:lnTo>
                    <a:pt x="158" y="364"/>
                  </a:lnTo>
                  <a:lnTo>
                    <a:pt x="158" y="370"/>
                  </a:lnTo>
                  <a:lnTo>
                    <a:pt x="152" y="374"/>
                  </a:lnTo>
                  <a:lnTo>
                    <a:pt x="148" y="372"/>
                  </a:lnTo>
                  <a:lnTo>
                    <a:pt x="146" y="368"/>
                  </a:lnTo>
                  <a:lnTo>
                    <a:pt x="142" y="368"/>
                  </a:lnTo>
                  <a:lnTo>
                    <a:pt x="138" y="370"/>
                  </a:lnTo>
                  <a:lnTo>
                    <a:pt x="140" y="376"/>
                  </a:lnTo>
                  <a:lnTo>
                    <a:pt x="136" y="382"/>
                  </a:lnTo>
                  <a:lnTo>
                    <a:pt x="130" y="384"/>
                  </a:lnTo>
                  <a:lnTo>
                    <a:pt x="132" y="396"/>
                  </a:lnTo>
                  <a:lnTo>
                    <a:pt x="126" y="408"/>
                  </a:lnTo>
                  <a:lnTo>
                    <a:pt x="124" y="410"/>
                  </a:lnTo>
                  <a:lnTo>
                    <a:pt x="118" y="414"/>
                  </a:lnTo>
                  <a:lnTo>
                    <a:pt x="106" y="420"/>
                  </a:lnTo>
                  <a:lnTo>
                    <a:pt x="94" y="432"/>
                  </a:lnTo>
                  <a:lnTo>
                    <a:pt x="96" y="444"/>
                  </a:lnTo>
                  <a:lnTo>
                    <a:pt x="106" y="454"/>
                  </a:lnTo>
                  <a:lnTo>
                    <a:pt x="106" y="456"/>
                  </a:lnTo>
                  <a:lnTo>
                    <a:pt x="112" y="456"/>
                  </a:lnTo>
                  <a:lnTo>
                    <a:pt x="122" y="458"/>
                  </a:lnTo>
                  <a:lnTo>
                    <a:pt x="122" y="466"/>
                  </a:lnTo>
                  <a:lnTo>
                    <a:pt x="118" y="474"/>
                  </a:lnTo>
                  <a:lnTo>
                    <a:pt x="104" y="486"/>
                  </a:lnTo>
                  <a:lnTo>
                    <a:pt x="94" y="496"/>
                  </a:lnTo>
                  <a:lnTo>
                    <a:pt x="90" y="510"/>
                  </a:lnTo>
                  <a:lnTo>
                    <a:pt x="88" y="516"/>
                  </a:lnTo>
                  <a:lnTo>
                    <a:pt x="76" y="518"/>
                  </a:lnTo>
                  <a:lnTo>
                    <a:pt x="70" y="524"/>
                  </a:lnTo>
                  <a:lnTo>
                    <a:pt x="66" y="538"/>
                  </a:lnTo>
                  <a:lnTo>
                    <a:pt x="68" y="546"/>
                  </a:lnTo>
                  <a:lnTo>
                    <a:pt x="72" y="552"/>
                  </a:lnTo>
                  <a:lnTo>
                    <a:pt x="78" y="560"/>
                  </a:lnTo>
                  <a:lnTo>
                    <a:pt x="76" y="562"/>
                  </a:lnTo>
                  <a:lnTo>
                    <a:pt x="60" y="558"/>
                  </a:lnTo>
                  <a:lnTo>
                    <a:pt x="34" y="558"/>
                  </a:lnTo>
                  <a:lnTo>
                    <a:pt x="24" y="556"/>
                  </a:lnTo>
                  <a:lnTo>
                    <a:pt x="18" y="544"/>
                  </a:lnTo>
                  <a:lnTo>
                    <a:pt x="18" y="528"/>
                  </a:lnTo>
                  <a:lnTo>
                    <a:pt x="6" y="526"/>
                  </a:lnTo>
                  <a:lnTo>
                    <a:pt x="2" y="520"/>
                  </a:lnTo>
                  <a:lnTo>
                    <a:pt x="0" y="510"/>
                  </a:lnTo>
                  <a:lnTo>
                    <a:pt x="2" y="500"/>
                  </a:lnTo>
                  <a:lnTo>
                    <a:pt x="10" y="492"/>
                  </a:lnTo>
                  <a:lnTo>
                    <a:pt x="18" y="480"/>
                  </a:lnTo>
                  <a:lnTo>
                    <a:pt x="20" y="462"/>
                  </a:lnTo>
                  <a:lnTo>
                    <a:pt x="28" y="450"/>
                  </a:lnTo>
                  <a:lnTo>
                    <a:pt x="28" y="424"/>
                  </a:lnTo>
                  <a:lnTo>
                    <a:pt x="30" y="412"/>
                  </a:lnTo>
                  <a:lnTo>
                    <a:pt x="26" y="400"/>
                  </a:lnTo>
                  <a:lnTo>
                    <a:pt x="26" y="380"/>
                  </a:lnTo>
                  <a:lnTo>
                    <a:pt x="22" y="376"/>
                  </a:lnTo>
                  <a:lnTo>
                    <a:pt x="24" y="360"/>
                  </a:lnTo>
                  <a:lnTo>
                    <a:pt x="26" y="348"/>
                  </a:lnTo>
                  <a:lnTo>
                    <a:pt x="28" y="318"/>
                  </a:lnTo>
                  <a:lnTo>
                    <a:pt x="36" y="302"/>
                  </a:lnTo>
                  <a:lnTo>
                    <a:pt x="38" y="296"/>
                  </a:lnTo>
                  <a:lnTo>
                    <a:pt x="40" y="292"/>
                  </a:lnTo>
                  <a:lnTo>
                    <a:pt x="40" y="278"/>
                  </a:lnTo>
                  <a:lnTo>
                    <a:pt x="38" y="254"/>
                  </a:lnTo>
                  <a:lnTo>
                    <a:pt x="44" y="248"/>
                  </a:lnTo>
                  <a:lnTo>
                    <a:pt x="48" y="244"/>
                  </a:lnTo>
                  <a:lnTo>
                    <a:pt x="50" y="224"/>
                  </a:lnTo>
                  <a:lnTo>
                    <a:pt x="54" y="216"/>
                  </a:lnTo>
                  <a:lnTo>
                    <a:pt x="56" y="196"/>
                  </a:lnTo>
                  <a:lnTo>
                    <a:pt x="52" y="180"/>
                  </a:lnTo>
                  <a:lnTo>
                    <a:pt x="48" y="172"/>
                  </a:lnTo>
                  <a:lnTo>
                    <a:pt x="48" y="156"/>
                  </a:lnTo>
                  <a:lnTo>
                    <a:pt x="52" y="148"/>
                  </a:lnTo>
                  <a:lnTo>
                    <a:pt x="56" y="120"/>
                  </a:lnTo>
                  <a:lnTo>
                    <a:pt x="64" y="106"/>
                  </a:lnTo>
                  <a:lnTo>
                    <a:pt x="74" y="92"/>
                  </a:lnTo>
                  <a:lnTo>
                    <a:pt x="80" y="82"/>
                  </a:lnTo>
                  <a:lnTo>
                    <a:pt x="76" y="52"/>
                  </a:lnTo>
                  <a:lnTo>
                    <a:pt x="82" y="46"/>
                  </a:lnTo>
                  <a:lnTo>
                    <a:pt x="90" y="42"/>
                  </a:lnTo>
                  <a:lnTo>
                    <a:pt x="100" y="30"/>
                  </a:lnTo>
                  <a:lnTo>
                    <a:pt x="102" y="18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21" name="Freeform 37"/>
            <p:cNvSpPr>
              <a:spLocks/>
            </p:cNvSpPr>
            <p:nvPr/>
          </p:nvSpPr>
          <p:spPr bwMode="gray">
            <a:xfrm>
              <a:off x="3289300" y="5308600"/>
              <a:ext cx="22225" cy="20638"/>
            </a:xfrm>
            <a:custGeom>
              <a:avLst/>
              <a:gdLst>
                <a:gd name="T0" fmla="*/ 2147483647 w 18"/>
                <a:gd name="T1" fmla="*/ 2147483647 h 18"/>
                <a:gd name="T2" fmla="*/ 2147483647 w 18"/>
                <a:gd name="T3" fmla="*/ 0 h 18"/>
                <a:gd name="T4" fmla="*/ 2147483647 w 18"/>
                <a:gd name="T5" fmla="*/ 2147483647 h 18"/>
                <a:gd name="T6" fmla="*/ 2147483647 w 18"/>
                <a:gd name="T7" fmla="*/ 2147483647 h 18"/>
                <a:gd name="T8" fmla="*/ 2147483647 w 18"/>
                <a:gd name="T9" fmla="*/ 2147483647 h 18"/>
                <a:gd name="T10" fmla="*/ 2147483647 w 18"/>
                <a:gd name="T11" fmla="*/ 2147483647 h 18"/>
                <a:gd name="T12" fmla="*/ 2147483647 w 18"/>
                <a:gd name="T13" fmla="*/ 2147483647 h 18"/>
                <a:gd name="T14" fmla="*/ 0 w 18"/>
                <a:gd name="T15" fmla="*/ 2147483647 h 18"/>
                <a:gd name="T16" fmla="*/ 0 w 18"/>
                <a:gd name="T17" fmla="*/ 2147483647 h 18"/>
                <a:gd name="T18" fmla="*/ 2147483647 w 18"/>
                <a:gd name="T19" fmla="*/ 2147483647 h 18"/>
                <a:gd name="T20" fmla="*/ 2147483647 w 18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8"/>
                <a:gd name="T34" fmla="*/ 0 h 18"/>
                <a:gd name="T35" fmla="*/ 18 w 18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8" h="18">
                  <a:moveTo>
                    <a:pt x="6" y="4"/>
                  </a:moveTo>
                  <a:lnTo>
                    <a:pt x="12" y="0"/>
                  </a:lnTo>
                  <a:lnTo>
                    <a:pt x="18" y="2"/>
                  </a:lnTo>
                  <a:lnTo>
                    <a:pt x="18" y="6"/>
                  </a:lnTo>
                  <a:lnTo>
                    <a:pt x="14" y="10"/>
                  </a:lnTo>
                  <a:lnTo>
                    <a:pt x="8" y="16"/>
                  </a:lnTo>
                  <a:lnTo>
                    <a:pt x="4" y="18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8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A7D37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22" name="Freeform 38"/>
            <p:cNvSpPr>
              <a:spLocks/>
            </p:cNvSpPr>
            <p:nvPr/>
          </p:nvSpPr>
          <p:spPr bwMode="gray">
            <a:xfrm>
              <a:off x="3308350" y="5310188"/>
              <a:ext cx="34925" cy="23812"/>
            </a:xfrm>
            <a:custGeom>
              <a:avLst/>
              <a:gdLst>
                <a:gd name="T0" fmla="*/ 2147483647 w 28"/>
                <a:gd name="T1" fmla="*/ 2147483647 h 20"/>
                <a:gd name="T2" fmla="*/ 2147483647 w 28"/>
                <a:gd name="T3" fmla="*/ 0 h 20"/>
                <a:gd name="T4" fmla="*/ 2147483647 w 28"/>
                <a:gd name="T5" fmla="*/ 0 h 20"/>
                <a:gd name="T6" fmla="*/ 2147483647 w 28"/>
                <a:gd name="T7" fmla="*/ 0 h 20"/>
                <a:gd name="T8" fmla="*/ 2147483647 w 28"/>
                <a:gd name="T9" fmla="*/ 2147483647 h 20"/>
                <a:gd name="T10" fmla="*/ 2147483647 w 28"/>
                <a:gd name="T11" fmla="*/ 2147483647 h 20"/>
                <a:gd name="T12" fmla="*/ 2147483647 w 28"/>
                <a:gd name="T13" fmla="*/ 2147483647 h 20"/>
                <a:gd name="T14" fmla="*/ 2147483647 w 28"/>
                <a:gd name="T15" fmla="*/ 2147483647 h 20"/>
                <a:gd name="T16" fmla="*/ 2147483647 w 28"/>
                <a:gd name="T17" fmla="*/ 2147483647 h 20"/>
                <a:gd name="T18" fmla="*/ 2147483647 w 28"/>
                <a:gd name="T19" fmla="*/ 2147483647 h 20"/>
                <a:gd name="T20" fmla="*/ 2147483647 w 28"/>
                <a:gd name="T21" fmla="*/ 2147483647 h 20"/>
                <a:gd name="T22" fmla="*/ 2147483647 w 28"/>
                <a:gd name="T23" fmla="*/ 2147483647 h 20"/>
                <a:gd name="T24" fmla="*/ 0 w 28"/>
                <a:gd name="T25" fmla="*/ 2147483647 h 20"/>
                <a:gd name="T26" fmla="*/ 0 w 28"/>
                <a:gd name="T27" fmla="*/ 2147483647 h 20"/>
                <a:gd name="T28" fmla="*/ 2147483647 w 28"/>
                <a:gd name="T29" fmla="*/ 2147483647 h 20"/>
                <a:gd name="T30" fmla="*/ 2147483647 w 28"/>
                <a:gd name="T31" fmla="*/ 2147483647 h 2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8"/>
                <a:gd name="T49" fmla="*/ 0 h 20"/>
                <a:gd name="T50" fmla="*/ 28 w 28"/>
                <a:gd name="T51" fmla="*/ 20 h 2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8" h="20">
                  <a:moveTo>
                    <a:pt x="6" y="8"/>
                  </a:moveTo>
                  <a:lnTo>
                    <a:pt x="10" y="0"/>
                  </a:lnTo>
                  <a:lnTo>
                    <a:pt x="16" y="0"/>
                  </a:lnTo>
                  <a:lnTo>
                    <a:pt x="22" y="0"/>
                  </a:lnTo>
                  <a:lnTo>
                    <a:pt x="28" y="2"/>
                  </a:lnTo>
                  <a:lnTo>
                    <a:pt x="28" y="6"/>
                  </a:lnTo>
                  <a:lnTo>
                    <a:pt x="22" y="8"/>
                  </a:lnTo>
                  <a:lnTo>
                    <a:pt x="18" y="10"/>
                  </a:lnTo>
                  <a:lnTo>
                    <a:pt x="16" y="10"/>
                  </a:lnTo>
                  <a:lnTo>
                    <a:pt x="12" y="14"/>
                  </a:lnTo>
                  <a:lnTo>
                    <a:pt x="8" y="16"/>
                  </a:lnTo>
                  <a:lnTo>
                    <a:pt x="6" y="20"/>
                  </a:lnTo>
                  <a:lnTo>
                    <a:pt x="0" y="18"/>
                  </a:lnTo>
                  <a:lnTo>
                    <a:pt x="0" y="12"/>
                  </a:lnTo>
                  <a:lnTo>
                    <a:pt x="2" y="10"/>
                  </a:lnTo>
                  <a:lnTo>
                    <a:pt x="6" y="8"/>
                  </a:lnTo>
                  <a:close/>
                </a:path>
              </a:pathLst>
            </a:custGeom>
            <a:solidFill>
              <a:srgbClr val="A7D37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23" name="Freeform 39"/>
            <p:cNvSpPr>
              <a:spLocks/>
            </p:cNvSpPr>
            <p:nvPr/>
          </p:nvSpPr>
          <p:spPr bwMode="gray">
            <a:xfrm>
              <a:off x="4610100" y="3562350"/>
              <a:ext cx="296863" cy="269875"/>
            </a:xfrm>
            <a:custGeom>
              <a:avLst/>
              <a:gdLst>
                <a:gd name="T0" fmla="*/ 2147483647 w 249"/>
                <a:gd name="T1" fmla="*/ 0 h 222"/>
                <a:gd name="T2" fmla="*/ 2147483647 w 249"/>
                <a:gd name="T3" fmla="*/ 2147483647 h 222"/>
                <a:gd name="T4" fmla="*/ 2147483647 w 249"/>
                <a:gd name="T5" fmla="*/ 2147483647 h 222"/>
                <a:gd name="T6" fmla="*/ 2147483647 w 249"/>
                <a:gd name="T7" fmla="*/ 2147483647 h 222"/>
                <a:gd name="T8" fmla="*/ 2147483647 w 249"/>
                <a:gd name="T9" fmla="*/ 2147483647 h 222"/>
                <a:gd name="T10" fmla="*/ 2147483647 w 249"/>
                <a:gd name="T11" fmla="*/ 2147483647 h 222"/>
                <a:gd name="T12" fmla="*/ 2147483647 w 249"/>
                <a:gd name="T13" fmla="*/ 2147483647 h 222"/>
                <a:gd name="T14" fmla="*/ 2147483647 w 249"/>
                <a:gd name="T15" fmla="*/ 2147483647 h 222"/>
                <a:gd name="T16" fmla="*/ 2147483647 w 249"/>
                <a:gd name="T17" fmla="*/ 2147483647 h 222"/>
                <a:gd name="T18" fmla="*/ 2147483647 w 249"/>
                <a:gd name="T19" fmla="*/ 2147483647 h 222"/>
                <a:gd name="T20" fmla="*/ 2147483647 w 249"/>
                <a:gd name="T21" fmla="*/ 2147483647 h 222"/>
                <a:gd name="T22" fmla="*/ 2147483647 w 249"/>
                <a:gd name="T23" fmla="*/ 2147483647 h 222"/>
                <a:gd name="T24" fmla="*/ 2147483647 w 249"/>
                <a:gd name="T25" fmla="*/ 2147483647 h 222"/>
                <a:gd name="T26" fmla="*/ 2147483647 w 249"/>
                <a:gd name="T27" fmla="*/ 2147483647 h 222"/>
                <a:gd name="T28" fmla="*/ 2147483647 w 249"/>
                <a:gd name="T29" fmla="*/ 2147483647 h 222"/>
                <a:gd name="T30" fmla="*/ 2147483647 w 249"/>
                <a:gd name="T31" fmla="*/ 2147483647 h 222"/>
                <a:gd name="T32" fmla="*/ 2147483647 w 249"/>
                <a:gd name="T33" fmla="*/ 2147483647 h 222"/>
                <a:gd name="T34" fmla="*/ 2147483647 w 249"/>
                <a:gd name="T35" fmla="*/ 2147483647 h 222"/>
                <a:gd name="T36" fmla="*/ 2147483647 w 249"/>
                <a:gd name="T37" fmla="*/ 2147483647 h 222"/>
                <a:gd name="T38" fmla="*/ 2147483647 w 249"/>
                <a:gd name="T39" fmla="*/ 2147483647 h 222"/>
                <a:gd name="T40" fmla="*/ 2147483647 w 249"/>
                <a:gd name="T41" fmla="*/ 2147483647 h 222"/>
                <a:gd name="T42" fmla="*/ 2147483647 w 249"/>
                <a:gd name="T43" fmla="*/ 2147483647 h 222"/>
                <a:gd name="T44" fmla="*/ 2147483647 w 249"/>
                <a:gd name="T45" fmla="*/ 2147483647 h 222"/>
                <a:gd name="T46" fmla="*/ 2147483647 w 249"/>
                <a:gd name="T47" fmla="*/ 2147483647 h 222"/>
                <a:gd name="T48" fmla="*/ 2147483647 w 249"/>
                <a:gd name="T49" fmla="*/ 2147483647 h 222"/>
                <a:gd name="T50" fmla="*/ 2147483647 w 249"/>
                <a:gd name="T51" fmla="*/ 2147483647 h 222"/>
                <a:gd name="T52" fmla="*/ 2147483647 w 249"/>
                <a:gd name="T53" fmla="*/ 2147483647 h 222"/>
                <a:gd name="T54" fmla="*/ 2147483647 w 249"/>
                <a:gd name="T55" fmla="*/ 2147483647 h 222"/>
                <a:gd name="T56" fmla="*/ 2147483647 w 249"/>
                <a:gd name="T57" fmla="*/ 2147483647 h 222"/>
                <a:gd name="T58" fmla="*/ 2147483647 w 249"/>
                <a:gd name="T59" fmla="*/ 2147483647 h 222"/>
                <a:gd name="T60" fmla="*/ 2147483647 w 249"/>
                <a:gd name="T61" fmla="*/ 2147483647 h 222"/>
                <a:gd name="T62" fmla="*/ 2147483647 w 249"/>
                <a:gd name="T63" fmla="*/ 2147483647 h 222"/>
                <a:gd name="T64" fmla="*/ 2147483647 w 249"/>
                <a:gd name="T65" fmla="*/ 2147483647 h 222"/>
                <a:gd name="T66" fmla="*/ 2147483647 w 249"/>
                <a:gd name="T67" fmla="*/ 2147483647 h 222"/>
                <a:gd name="T68" fmla="*/ 2147483647 w 249"/>
                <a:gd name="T69" fmla="*/ 2147483647 h 222"/>
                <a:gd name="T70" fmla="*/ 2147483647 w 249"/>
                <a:gd name="T71" fmla="*/ 2147483647 h 222"/>
                <a:gd name="T72" fmla="*/ 0 w 249"/>
                <a:gd name="T73" fmla="*/ 2147483647 h 222"/>
                <a:gd name="T74" fmla="*/ 2147483647 w 249"/>
                <a:gd name="T75" fmla="*/ 2147483647 h 222"/>
                <a:gd name="T76" fmla="*/ 2147483647 w 249"/>
                <a:gd name="T77" fmla="*/ 2147483647 h 222"/>
                <a:gd name="T78" fmla="*/ 2147483647 w 249"/>
                <a:gd name="T79" fmla="*/ 2147483647 h 222"/>
                <a:gd name="T80" fmla="*/ 2147483647 w 249"/>
                <a:gd name="T81" fmla="*/ 2147483647 h 222"/>
                <a:gd name="T82" fmla="*/ 2147483647 w 249"/>
                <a:gd name="T83" fmla="*/ 2147483647 h 222"/>
                <a:gd name="T84" fmla="*/ 2147483647 w 249"/>
                <a:gd name="T85" fmla="*/ 2147483647 h 222"/>
                <a:gd name="T86" fmla="*/ 2147483647 w 249"/>
                <a:gd name="T87" fmla="*/ 2147483647 h 222"/>
                <a:gd name="T88" fmla="*/ 2147483647 w 249"/>
                <a:gd name="T89" fmla="*/ 0 h 22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49"/>
                <a:gd name="T136" fmla="*/ 0 h 222"/>
                <a:gd name="T137" fmla="*/ 249 w 249"/>
                <a:gd name="T138" fmla="*/ 222 h 22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49" h="222">
                  <a:moveTo>
                    <a:pt x="35" y="0"/>
                  </a:moveTo>
                  <a:lnTo>
                    <a:pt x="51" y="4"/>
                  </a:lnTo>
                  <a:lnTo>
                    <a:pt x="79" y="8"/>
                  </a:lnTo>
                  <a:lnTo>
                    <a:pt x="93" y="16"/>
                  </a:lnTo>
                  <a:lnTo>
                    <a:pt x="99" y="28"/>
                  </a:lnTo>
                  <a:lnTo>
                    <a:pt x="107" y="34"/>
                  </a:lnTo>
                  <a:lnTo>
                    <a:pt x="125" y="34"/>
                  </a:lnTo>
                  <a:lnTo>
                    <a:pt x="137" y="42"/>
                  </a:lnTo>
                  <a:lnTo>
                    <a:pt x="157" y="54"/>
                  </a:lnTo>
                  <a:lnTo>
                    <a:pt x="171" y="40"/>
                  </a:lnTo>
                  <a:lnTo>
                    <a:pt x="173" y="30"/>
                  </a:lnTo>
                  <a:lnTo>
                    <a:pt x="167" y="22"/>
                  </a:lnTo>
                  <a:lnTo>
                    <a:pt x="177" y="12"/>
                  </a:lnTo>
                  <a:lnTo>
                    <a:pt x="191" y="6"/>
                  </a:lnTo>
                  <a:lnTo>
                    <a:pt x="209" y="8"/>
                  </a:lnTo>
                  <a:lnTo>
                    <a:pt x="223" y="16"/>
                  </a:lnTo>
                  <a:lnTo>
                    <a:pt x="237" y="22"/>
                  </a:lnTo>
                  <a:lnTo>
                    <a:pt x="249" y="24"/>
                  </a:lnTo>
                  <a:lnTo>
                    <a:pt x="249" y="44"/>
                  </a:lnTo>
                  <a:lnTo>
                    <a:pt x="243" y="48"/>
                  </a:lnTo>
                  <a:lnTo>
                    <a:pt x="245" y="60"/>
                  </a:lnTo>
                  <a:lnTo>
                    <a:pt x="249" y="62"/>
                  </a:lnTo>
                  <a:lnTo>
                    <a:pt x="249" y="188"/>
                  </a:lnTo>
                  <a:lnTo>
                    <a:pt x="249" y="222"/>
                  </a:lnTo>
                  <a:lnTo>
                    <a:pt x="231" y="222"/>
                  </a:lnTo>
                  <a:lnTo>
                    <a:pt x="97" y="168"/>
                  </a:lnTo>
                  <a:lnTo>
                    <a:pt x="91" y="174"/>
                  </a:lnTo>
                  <a:lnTo>
                    <a:pt x="79" y="180"/>
                  </a:lnTo>
                  <a:lnTo>
                    <a:pt x="69" y="172"/>
                  </a:lnTo>
                  <a:lnTo>
                    <a:pt x="59" y="168"/>
                  </a:lnTo>
                  <a:lnTo>
                    <a:pt x="43" y="164"/>
                  </a:lnTo>
                  <a:lnTo>
                    <a:pt x="37" y="158"/>
                  </a:lnTo>
                  <a:lnTo>
                    <a:pt x="33" y="150"/>
                  </a:lnTo>
                  <a:lnTo>
                    <a:pt x="14" y="148"/>
                  </a:lnTo>
                  <a:lnTo>
                    <a:pt x="8" y="136"/>
                  </a:lnTo>
                  <a:lnTo>
                    <a:pt x="4" y="126"/>
                  </a:lnTo>
                  <a:lnTo>
                    <a:pt x="0" y="116"/>
                  </a:lnTo>
                  <a:lnTo>
                    <a:pt x="8" y="112"/>
                  </a:lnTo>
                  <a:lnTo>
                    <a:pt x="8" y="66"/>
                  </a:lnTo>
                  <a:lnTo>
                    <a:pt x="4" y="48"/>
                  </a:lnTo>
                  <a:lnTo>
                    <a:pt x="12" y="42"/>
                  </a:lnTo>
                  <a:lnTo>
                    <a:pt x="12" y="26"/>
                  </a:lnTo>
                  <a:lnTo>
                    <a:pt x="33" y="12"/>
                  </a:lnTo>
                  <a:lnTo>
                    <a:pt x="35" y="10"/>
                  </a:lnTo>
                  <a:lnTo>
                    <a:pt x="35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24" name="Freeform 40"/>
            <p:cNvSpPr>
              <a:spLocks/>
            </p:cNvSpPr>
            <p:nvPr/>
          </p:nvSpPr>
          <p:spPr bwMode="gray">
            <a:xfrm>
              <a:off x="4111625" y="3679825"/>
              <a:ext cx="157163" cy="127000"/>
            </a:xfrm>
            <a:custGeom>
              <a:avLst/>
              <a:gdLst>
                <a:gd name="T0" fmla="*/ 0 w 132"/>
                <a:gd name="T1" fmla="*/ 2147483647 h 106"/>
                <a:gd name="T2" fmla="*/ 2147483647 w 132"/>
                <a:gd name="T3" fmla="*/ 2147483647 h 106"/>
                <a:gd name="T4" fmla="*/ 2147483647 w 132"/>
                <a:gd name="T5" fmla="*/ 2147483647 h 106"/>
                <a:gd name="T6" fmla="*/ 2147483647 w 132"/>
                <a:gd name="T7" fmla="*/ 2147483647 h 106"/>
                <a:gd name="T8" fmla="*/ 2147483647 w 132"/>
                <a:gd name="T9" fmla="*/ 2147483647 h 106"/>
                <a:gd name="T10" fmla="*/ 2147483647 w 132"/>
                <a:gd name="T11" fmla="*/ 2147483647 h 106"/>
                <a:gd name="T12" fmla="*/ 2147483647 w 132"/>
                <a:gd name="T13" fmla="*/ 2147483647 h 106"/>
                <a:gd name="T14" fmla="*/ 2147483647 w 132"/>
                <a:gd name="T15" fmla="*/ 2147483647 h 106"/>
                <a:gd name="T16" fmla="*/ 2147483647 w 132"/>
                <a:gd name="T17" fmla="*/ 2147483647 h 106"/>
                <a:gd name="T18" fmla="*/ 2147483647 w 132"/>
                <a:gd name="T19" fmla="*/ 0 h 106"/>
                <a:gd name="T20" fmla="*/ 2147483647 w 132"/>
                <a:gd name="T21" fmla="*/ 0 h 106"/>
                <a:gd name="T22" fmla="*/ 2147483647 w 132"/>
                <a:gd name="T23" fmla="*/ 2147483647 h 106"/>
                <a:gd name="T24" fmla="*/ 2147483647 w 132"/>
                <a:gd name="T25" fmla="*/ 2147483647 h 106"/>
                <a:gd name="T26" fmla="*/ 2147483647 w 132"/>
                <a:gd name="T27" fmla="*/ 2147483647 h 106"/>
                <a:gd name="T28" fmla="*/ 2147483647 w 132"/>
                <a:gd name="T29" fmla="*/ 2147483647 h 106"/>
                <a:gd name="T30" fmla="*/ 2147483647 w 132"/>
                <a:gd name="T31" fmla="*/ 2147483647 h 106"/>
                <a:gd name="T32" fmla="*/ 2147483647 w 132"/>
                <a:gd name="T33" fmla="*/ 2147483647 h 106"/>
                <a:gd name="T34" fmla="*/ 2147483647 w 132"/>
                <a:gd name="T35" fmla="*/ 2147483647 h 106"/>
                <a:gd name="T36" fmla="*/ 0 w 132"/>
                <a:gd name="T37" fmla="*/ 2147483647 h 10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2"/>
                <a:gd name="T58" fmla="*/ 0 h 106"/>
                <a:gd name="T59" fmla="*/ 132 w 132"/>
                <a:gd name="T60" fmla="*/ 106 h 10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2" h="106">
                  <a:moveTo>
                    <a:pt x="0" y="106"/>
                  </a:moveTo>
                  <a:lnTo>
                    <a:pt x="4" y="94"/>
                  </a:lnTo>
                  <a:lnTo>
                    <a:pt x="14" y="78"/>
                  </a:lnTo>
                  <a:lnTo>
                    <a:pt x="20" y="62"/>
                  </a:lnTo>
                  <a:lnTo>
                    <a:pt x="30" y="54"/>
                  </a:lnTo>
                  <a:lnTo>
                    <a:pt x="36" y="38"/>
                  </a:lnTo>
                  <a:lnTo>
                    <a:pt x="46" y="24"/>
                  </a:lnTo>
                  <a:lnTo>
                    <a:pt x="52" y="18"/>
                  </a:lnTo>
                  <a:lnTo>
                    <a:pt x="60" y="8"/>
                  </a:lnTo>
                  <a:lnTo>
                    <a:pt x="64" y="0"/>
                  </a:lnTo>
                  <a:lnTo>
                    <a:pt x="132" y="0"/>
                  </a:lnTo>
                  <a:lnTo>
                    <a:pt x="132" y="28"/>
                  </a:lnTo>
                  <a:lnTo>
                    <a:pt x="82" y="28"/>
                  </a:lnTo>
                  <a:lnTo>
                    <a:pt x="82" y="70"/>
                  </a:lnTo>
                  <a:lnTo>
                    <a:pt x="72" y="70"/>
                  </a:lnTo>
                  <a:lnTo>
                    <a:pt x="64" y="74"/>
                  </a:lnTo>
                  <a:lnTo>
                    <a:pt x="64" y="82"/>
                  </a:lnTo>
                  <a:lnTo>
                    <a:pt x="64" y="106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25" name="Freeform 41"/>
            <p:cNvSpPr>
              <a:spLocks/>
            </p:cNvSpPr>
            <p:nvPr/>
          </p:nvSpPr>
          <p:spPr bwMode="gray">
            <a:xfrm>
              <a:off x="4121150" y="3976688"/>
              <a:ext cx="57150" cy="34925"/>
            </a:xfrm>
            <a:custGeom>
              <a:avLst/>
              <a:gdLst>
                <a:gd name="T0" fmla="*/ 0 w 48"/>
                <a:gd name="T1" fmla="*/ 2147483647 h 28"/>
                <a:gd name="T2" fmla="*/ 2147483647 w 48"/>
                <a:gd name="T3" fmla="*/ 2147483647 h 28"/>
                <a:gd name="T4" fmla="*/ 2147483647 w 48"/>
                <a:gd name="T5" fmla="*/ 0 h 28"/>
                <a:gd name="T6" fmla="*/ 2147483647 w 48"/>
                <a:gd name="T7" fmla="*/ 0 h 28"/>
                <a:gd name="T8" fmla="*/ 2147483647 w 48"/>
                <a:gd name="T9" fmla="*/ 2147483647 h 28"/>
                <a:gd name="T10" fmla="*/ 2147483647 w 48"/>
                <a:gd name="T11" fmla="*/ 2147483647 h 28"/>
                <a:gd name="T12" fmla="*/ 2147483647 w 48"/>
                <a:gd name="T13" fmla="*/ 2147483647 h 28"/>
                <a:gd name="T14" fmla="*/ 2147483647 w 48"/>
                <a:gd name="T15" fmla="*/ 2147483647 h 28"/>
                <a:gd name="T16" fmla="*/ 2147483647 w 48"/>
                <a:gd name="T17" fmla="*/ 2147483647 h 28"/>
                <a:gd name="T18" fmla="*/ 2147483647 w 48"/>
                <a:gd name="T19" fmla="*/ 2147483647 h 28"/>
                <a:gd name="T20" fmla="*/ 2147483647 w 48"/>
                <a:gd name="T21" fmla="*/ 2147483647 h 28"/>
                <a:gd name="T22" fmla="*/ 0 w 48"/>
                <a:gd name="T23" fmla="*/ 2147483647 h 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8"/>
                <a:gd name="T37" fmla="*/ 0 h 28"/>
                <a:gd name="T38" fmla="*/ 48 w 48"/>
                <a:gd name="T39" fmla="*/ 28 h 2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8" h="28">
                  <a:moveTo>
                    <a:pt x="0" y="6"/>
                  </a:moveTo>
                  <a:lnTo>
                    <a:pt x="18" y="4"/>
                  </a:lnTo>
                  <a:lnTo>
                    <a:pt x="22" y="0"/>
                  </a:lnTo>
                  <a:lnTo>
                    <a:pt x="48" y="0"/>
                  </a:lnTo>
                  <a:lnTo>
                    <a:pt x="44" y="10"/>
                  </a:lnTo>
                  <a:lnTo>
                    <a:pt x="42" y="16"/>
                  </a:lnTo>
                  <a:lnTo>
                    <a:pt x="30" y="20"/>
                  </a:lnTo>
                  <a:lnTo>
                    <a:pt x="22" y="28"/>
                  </a:lnTo>
                  <a:lnTo>
                    <a:pt x="16" y="22"/>
                  </a:lnTo>
                  <a:lnTo>
                    <a:pt x="8" y="14"/>
                  </a:lnTo>
                  <a:lnTo>
                    <a:pt x="6" y="12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26" name="Freeform 42"/>
            <p:cNvSpPr>
              <a:spLocks/>
            </p:cNvSpPr>
            <p:nvPr/>
          </p:nvSpPr>
          <p:spPr bwMode="gray">
            <a:xfrm>
              <a:off x="4184650" y="4030663"/>
              <a:ext cx="52388" cy="57150"/>
            </a:xfrm>
            <a:custGeom>
              <a:avLst/>
              <a:gdLst>
                <a:gd name="T0" fmla="*/ 0 w 44"/>
                <a:gd name="T1" fmla="*/ 2147483647 h 48"/>
                <a:gd name="T2" fmla="*/ 2147483647 w 44"/>
                <a:gd name="T3" fmla="*/ 2147483647 h 48"/>
                <a:gd name="T4" fmla="*/ 2147483647 w 44"/>
                <a:gd name="T5" fmla="*/ 2147483647 h 48"/>
                <a:gd name="T6" fmla="*/ 2147483647 w 44"/>
                <a:gd name="T7" fmla="*/ 0 h 48"/>
                <a:gd name="T8" fmla="*/ 2147483647 w 44"/>
                <a:gd name="T9" fmla="*/ 2147483647 h 48"/>
                <a:gd name="T10" fmla="*/ 2147483647 w 44"/>
                <a:gd name="T11" fmla="*/ 2147483647 h 48"/>
                <a:gd name="T12" fmla="*/ 2147483647 w 44"/>
                <a:gd name="T13" fmla="*/ 2147483647 h 48"/>
                <a:gd name="T14" fmla="*/ 2147483647 w 44"/>
                <a:gd name="T15" fmla="*/ 2147483647 h 48"/>
                <a:gd name="T16" fmla="*/ 2147483647 w 44"/>
                <a:gd name="T17" fmla="*/ 2147483647 h 48"/>
                <a:gd name="T18" fmla="*/ 2147483647 w 44"/>
                <a:gd name="T19" fmla="*/ 2147483647 h 48"/>
                <a:gd name="T20" fmla="*/ 2147483647 w 44"/>
                <a:gd name="T21" fmla="*/ 2147483647 h 48"/>
                <a:gd name="T22" fmla="*/ 2147483647 w 44"/>
                <a:gd name="T23" fmla="*/ 2147483647 h 48"/>
                <a:gd name="T24" fmla="*/ 0 w 44"/>
                <a:gd name="T25" fmla="*/ 2147483647 h 48"/>
                <a:gd name="T26" fmla="*/ 0 w 44"/>
                <a:gd name="T27" fmla="*/ 2147483647 h 4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4"/>
                <a:gd name="T43" fmla="*/ 0 h 48"/>
                <a:gd name="T44" fmla="*/ 44 w 44"/>
                <a:gd name="T45" fmla="*/ 48 h 4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4" h="48">
                  <a:moveTo>
                    <a:pt x="0" y="16"/>
                  </a:moveTo>
                  <a:lnTo>
                    <a:pt x="8" y="8"/>
                  </a:lnTo>
                  <a:lnTo>
                    <a:pt x="16" y="2"/>
                  </a:lnTo>
                  <a:lnTo>
                    <a:pt x="30" y="0"/>
                  </a:lnTo>
                  <a:lnTo>
                    <a:pt x="38" y="8"/>
                  </a:lnTo>
                  <a:lnTo>
                    <a:pt x="44" y="16"/>
                  </a:lnTo>
                  <a:lnTo>
                    <a:pt x="42" y="24"/>
                  </a:lnTo>
                  <a:lnTo>
                    <a:pt x="40" y="32"/>
                  </a:lnTo>
                  <a:lnTo>
                    <a:pt x="34" y="40"/>
                  </a:lnTo>
                  <a:lnTo>
                    <a:pt x="24" y="48"/>
                  </a:lnTo>
                  <a:lnTo>
                    <a:pt x="16" y="44"/>
                  </a:lnTo>
                  <a:lnTo>
                    <a:pt x="4" y="32"/>
                  </a:lnTo>
                  <a:lnTo>
                    <a:pt x="0" y="24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27" name="Freeform 43"/>
            <p:cNvSpPr>
              <a:spLocks/>
            </p:cNvSpPr>
            <p:nvPr/>
          </p:nvSpPr>
          <p:spPr bwMode="gray">
            <a:xfrm>
              <a:off x="4111625" y="3679825"/>
              <a:ext cx="234950" cy="258763"/>
            </a:xfrm>
            <a:custGeom>
              <a:avLst/>
              <a:gdLst>
                <a:gd name="T0" fmla="*/ 0 w 198"/>
                <a:gd name="T1" fmla="*/ 2147483647 h 214"/>
                <a:gd name="T2" fmla="*/ 2147483647 w 198"/>
                <a:gd name="T3" fmla="*/ 2147483647 h 214"/>
                <a:gd name="T4" fmla="*/ 2147483647 w 198"/>
                <a:gd name="T5" fmla="*/ 2147483647 h 214"/>
                <a:gd name="T6" fmla="*/ 2147483647 w 198"/>
                <a:gd name="T7" fmla="*/ 2147483647 h 214"/>
                <a:gd name="T8" fmla="*/ 2147483647 w 198"/>
                <a:gd name="T9" fmla="*/ 2147483647 h 214"/>
                <a:gd name="T10" fmla="*/ 2147483647 w 198"/>
                <a:gd name="T11" fmla="*/ 2147483647 h 214"/>
                <a:gd name="T12" fmla="*/ 2147483647 w 198"/>
                <a:gd name="T13" fmla="*/ 2147483647 h 214"/>
                <a:gd name="T14" fmla="*/ 2147483647 w 198"/>
                <a:gd name="T15" fmla="*/ 2147483647 h 214"/>
                <a:gd name="T16" fmla="*/ 2147483647 w 198"/>
                <a:gd name="T17" fmla="*/ 2147483647 h 214"/>
                <a:gd name="T18" fmla="*/ 2147483647 w 198"/>
                <a:gd name="T19" fmla="*/ 0 h 214"/>
                <a:gd name="T20" fmla="*/ 2147483647 w 198"/>
                <a:gd name="T21" fmla="*/ 2147483647 h 214"/>
                <a:gd name="T22" fmla="*/ 2147483647 w 198"/>
                <a:gd name="T23" fmla="*/ 2147483647 h 214"/>
                <a:gd name="T24" fmla="*/ 2147483647 w 198"/>
                <a:gd name="T25" fmla="*/ 2147483647 h 214"/>
                <a:gd name="T26" fmla="*/ 2147483647 w 198"/>
                <a:gd name="T27" fmla="*/ 2147483647 h 214"/>
                <a:gd name="T28" fmla="*/ 2147483647 w 198"/>
                <a:gd name="T29" fmla="*/ 2147483647 h 214"/>
                <a:gd name="T30" fmla="*/ 2147483647 w 198"/>
                <a:gd name="T31" fmla="*/ 2147483647 h 214"/>
                <a:gd name="T32" fmla="*/ 2147483647 w 198"/>
                <a:gd name="T33" fmla="*/ 2147483647 h 214"/>
                <a:gd name="T34" fmla="*/ 2147483647 w 198"/>
                <a:gd name="T35" fmla="*/ 2147483647 h 214"/>
                <a:gd name="T36" fmla="*/ 2147483647 w 198"/>
                <a:gd name="T37" fmla="*/ 2147483647 h 214"/>
                <a:gd name="T38" fmla="*/ 2147483647 w 198"/>
                <a:gd name="T39" fmla="*/ 2147483647 h 214"/>
                <a:gd name="T40" fmla="*/ 2147483647 w 198"/>
                <a:gd name="T41" fmla="*/ 2147483647 h 214"/>
                <a:gd name="T42" fmla="*/ 2147483647 w 198"/>
                <a:gd name="T43" fmla="*/ 2147483647 h 214"/>
                <a:gd name="T44" fmla="*/ 2147483647 w 198"/>
                <a:gd name="T45" fmla="*/ 2147483647 h 214"/>
                <a:gd name="T46" fmla="*/ 2147483647 w 198"/>
                <a:gd name="T47" fmla="*/ 2147483647 h 214"/>
                <a:gd name="T48" fmla="*/ 2147483647 w 198"/>
                <a:gd name="T49" fmla="*/ 2147483647 h 214"/>
                <a:gd name="T50" fmla="*/ 2147483647 w 198"/>
                <a:gd name="T51" fmla="*/ 2147483647 h 214"/>
                <a:gd name="T52" fmla="*/ 2147483647 w 198"/>
                <a:gd name="T53" fmla="*/ 2147483647 h 214"/>
                <a:gd name="T54" fmla="*/ 2147483647 w 198"/>
                <a:gd name="T55" fmla="*/ 2147483647 h 214"/>
                <a:gd name="T56" fmla="*/ 2147483647 w 198"/>
                <a:gd name="T57" fmla="*/ 2147483647 h 214"/>
                <a:gd name="T58" fmla="*/ 2147483647 w 198"/>
                <a:gd name="T59" fmla="*/ 2147483647 h 214"/>
                <a:gd name="T60" fmla="*/ 0 w 198"/>
                <a:gd name="T61" fmla="*/ 2147483647 h 214"/>
                <a:gd name="T62" fmla="*/ 0 w 198"/>
                <a:gd name="T63" fmla="*/ 2147483647 h 21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8"/>
                <a:gd name="T97" fmla="*/ 0 h 214"/>
                <a:gd name="T98" fmla="*/ 198 w 198"/>
                <a:gd name="T99" fmla="*/ 214 h 21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8" h="214">
                  <a:moveTo>
                    <a:pt x="0" y="106"/>
                  </a:moveTo>
                  <a:lnTo>
                    <a:pt x="64" y="106"/>
                  </a:lnTo>
                  <a:lnTo>
                    <a:pt x="64" y="82"/>
                  </a:lnTo>
                  <a:lnTo>
                    <a:pt x="64" y="74"/>
                  </a:lnTo>
                  <a:lnTo>
                    <a:pt x="68" y="72"/>
                  </a:lnTo>
                  <a:lnTo>
                    <a:pt x="72" y="70"/>
                  </a:lnTo>
                  <a:lnTo>
                    <a:pt x="82" y="70"/>
                  </a:lnTo>
                  <a:lnTo>
                    <a:pt x="82" y="28"/>
                  </a:lnTo>
                  <a:lnTo>
                    <a:pt x="132" y="28"/>
                  </a:lnTo>
                  <a:lnTo>
                    <a:pt x="132" y="0"/>
                  </a:lnTo>
                  <a:lnTo>
                    <a:pt x="198" y="48"/>
                  </a:lnTo>
                  <a:lnTo>
                    <a:pt x="168" y="48"/>
                  </a:lnTo>
                  <a:lnTo>
                    <a:pt x="180" y="184"/>
                  </a:lnTo>
                  <a:lnTo>
                    <a:pt x="186" y="192"/>
                  </a:lnTo>
                  <a:lnTo>
                    <a:pt x="184" y="202"/>
                  </a:lnTo>
                  <a:lnTo>
                    <a:pt x="84" y="200"/>
                  </a:lnTo>
                  <a:lnTo>
                    <a:pt x="78" y="214"/>
                  </a:lnTo>
                  <a:lnTo>
                    <a:pt x="68" y="206"/>
                  </a:lnTo>
                  <a:lnTo>
                    <a:pt x="60" y="194"/>
                  </a:lnTo>
                  <a:lnTo>
                    <a:pt x="52" y="188"/>
                  </a:lnTo>
                  <a:lnTo>
                    <a:pt x="40" y="182"/>
                  </a:lnTo>
                  <a:lnTo>
                    <a:pt x="26" y="182"/>
                  </a:lnTo>
                  <a:lnTo>
                    <a:pt x="12" y="184"/>
                  </a:lnTo>
                  <a:lnTo>
                    <a:pt x="12" y="172"/>
                  </a:lnTo>
                  <a:lnTo>
                    <a:pt x="18" y="152"/>
                  </a:lnTo>
                  <a:lnTo>
                    <a:pt x="12" y="144"/>
                  </a:lnTo>
                  <a:lnTo>
                    <a:pt x="8" y="138"/>
                  </a:lnTo>
                  <a:lnTo>
                    <a:pt x="12" y="130"/>
                  </a:lnTo>
                  <a:lnTo>
                    <a:pt x="12" y="122"/>
                  </a:lnTo>
                  <a:lnTo>
                    <a:pt x="8" y="116"/>
                  </a:lnTo>
                  <a:lnTo>
                    <a:pt x="0" y="112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28" name="Freeform 44"/>
            <p:cNvSpPr>
              <a:spLocks/>
            </p:cNvSpPr>
            <p:nvPr/>
          </p:nvSpPr>
          <p:spPr bwMode="gray">
            <a:xfrm>
              <a:off x="4148138" y="3976688"/>
              <a:ext cx="136525" cy="107950"/>
            </a:xfrm>
            <a:custGeom>
              <a:avLst/>
              <a:gdLst>
                <a:gd name="T0" fmla="*/ 2147483647 w 116"/>
                <a:gd name="T1" fmla="*/ 2147483647 h 88"/>
                <a:gd name="T2" fmla="*/ 2147483647 w 116"/>
                <a:gd name="T3" fmla="*/ 2147483647 h 88"/>
                <a:gd name="T4" fmla="*/ 2147483647 w 116"/>
                <a:gd name="T5" fmla="*/ 2147483647 h 88"/>
                <a:gd name="T6" fmla="*/ 2147483647 w 116"/>
                <a:gd name="T7" fmla="*/ 2147483647 h 88"/>
                <a:gd name="T8" fmla="*/ 2147483647 w 116"/>
                <a:gd name="T9" fmla="*/ 2147483647 h 88"/>
                <a:gd name="T10" fmla="*/ 2147483647 w 116"/>
                <a:gd name="T11" fmla="*/ 2147483647 h 88"/>
                <a:gd name="T12" fmla="*/ 2147483647 w 116"/>
                <a:gd name="T13" fmla="*/ 2147483647 h 88"/>
                <a:gd name="T14" fmla="*/ 2147483647 w 116"/>
                <a:gd name="T15" fmla="*/ 2147483647 h 88"/>
                <a:gd name="T16" fmla="*/ 2147483647 w 116"/>
                <a:gd name="T17" fmla="*/ 2147483647 h 88"/>
                <a:gd name="T18" fmla="*/ 2147483647 w 116"/>
                <a:gd name="T19" fmla="*/ 2147483647 h 88"/>
                <a:gd name="T20" fmla="*/ 2147483647 w 116"/>
                <a:gd name="T21" fmla="*/ 2147483647 h 88"/>
                <a:gd name="T22" fmla="*/ 2147483647 w 116"/>
                <a:gd name="T23" fmla="*/ 2147483647 h 88"/>
                <a:gd name="T24" fmla="*/ 2147483647 w 116"/>
                <a:gd name="T25" fmla="*/ 2147483647 h 88"/>
                <a:gd name="T26" fmla="*/ 2147483647 w 116"/>
                <a:gd name="T27" fmla="*/ 2147483647 h 88"/>
                <a:gd name="T28" fmla="*/ 2147483647 w 116"/>
                <a:gd name="T29" fmla="*/ 2147483647 h 88"/>
                <a:gd name="T30" fmla="*/ 2147483647 w 116"/>
                <a:gd name="T31" fmla="*/ 2147483647 h 88"/>
                <a:gd name="T32" fmla="*/ 2147483647 w 116"/>
                <a:gd name="T33" fmla="*/ 2147483647 h 88"/>
                <a:gd name="T34" fmla="*/ 2147483647 w 116"/>
                <a:gd name="T35" fmla="*/ 2147483647 h 88"/>
                <a:gd name="T36" fmla="*/ 2147483647 w 116"/>
                <a:gd name="T37" fmla="*/ 2147483647 h 88"/>
                <a:gd name="T38" fmla="*/ 2147483647 w 116"/>
                <a:gd name="T39" fmla="*/ 2147483647 h 88"/>
                <a:gd name="T40" fmla="*/ 2147483647 w 116"/>
                <a:gd name="T41" fmla="*/ 2147483647 h 88"/>
                <a:gd name="T42" fmla="*/ 2147483647 w 116"/>
                <a:gd name="T43" fmla="*/ 2147483647 h 88"/>
                <a:gd name="T44" fmla="*/ 2147483647 w 116"/>
                <a:gd name="T45" fmla="*/ 2147483647 h 88"/>
                <a:gd name="T46" fmla="*/ 2147483647 w 116"/>
                <a:gd name="T47" fmla="*/ 2147483647 h 88"/>
                <a:gd name="T48" fmla="*/ 2147483647 w 116"/>
                <a:gd name="T49" fmla="*/ 2147483647 h 88"/>
                <a:gd name="T50" fmla="*/ 2147483647 w 116"/>
                <a:gd name="T51" fmla="*/ 2147483647 h 88"/>
                <a:gd name="T52" fmla="*/ 2147483647 w 116"/>
                <a:gd name="T53" fmla="*/ 2147483647 h 88"/>
                <a:gd name="T54" fmla="*/ 2147483647 w 116"/>
                <a:gd name="T55" fmla="*/ 2147483647 h 88"/>
                <a:gd name="T56" fmla="*/ 2147483647 w 116"/>
                <a:gd name="T57" fmla="*/ 2147483647 h 88"/>
                <a:gd name="T58" fmla="*/ 2147483647 w 116"/>
                <a:gd name="T59" fmla="*/ 2147483647 h 88"/>
                <a:gd name="T60" fmla="*/ 0 w 116"/>
                <a:gd name="T61" fmla="*/ 2147483647 h 88"/>
                <a:gd name="T62" fmla="*/ 2147483647 w 116"/>
                <a:gd name="T63" fmla="*/ 2147483647 h 88"/>
                <a:gd name="T64" fmla="*/ 2147483647 w 116"/>
                <a:gd name="T65" fmla="*/ 2147483647 h 88"/>
                <a:gd name="T66" fmla="*/ 2147483647 w 116"/>
                <a:gd name="T67" fmla="*/ 2147483647 h 88"/>
                <a:gd name="T68" fmla="*/ 2147483647 w 116"/>
                <a:gd name="T69" fmla="*/ 0 h 88"/>
                <a:gd name="T70" fmla="*/ 2147483647 w 116"/>
                <a:gd name="T71" fmla="*/ 0 h 88"/>
                <a:gd name="T72" fmla="*/ 2147483647 w 116"/>
                <a:gd name="T73" fmla="*/ 2147483647 h 88"/>
                <a:gd name="T74" fmla="*/ 2147483647 w 116"/>
                <a:gd name="T75" fmla="*/ 2147483647 h 88"/>
                <a:gd name="T76" fmla="*/ 2147483647 w 116"/>
                <a:gd name="T77" fmla="*/ 2147483647 h 8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16"/>
                <a:gd name="T118" fmla="*/ 0 h 88"/>
                <a:gd name="T119" fmla="*/ 116 w 116"/>
                <a:gd name="T120" fmla="*/ 88 h 8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16" h="88">
                  <a:moveTo>
                    <a:pt x="60" y="6"/>
                  </a:moveTo>
                  <a:lnTo>
                    <a:pt x="60" y="8"/>
                  </a:lnTo>
                  <a:lnTo>
                    <a:pt x="72" y="12"/>
                  </a:lnTo>
                  <a:lnTo>
                    <a:pt x="84" y="8"/>
                  </a:lnTo>
                  <a:lnTo>
                    <a:pt x="98" y="6"/>
                  </a:lnTo>
                  <a:lnTo>
                    <a:pt x="100" y="14"/>
                  </a:lnTo>
                  <a:lnTo>
                    <a:pt x="106" y="24"/>
                  </a:lnTo>
                  <a:lnTo>
                    <a:pt x="112" y="38"/>
                  </a:lnTo>
                  <a:lnTo>
                    <a:pt x="110" y="46"/>
                  </a:lnTo>
                  <a:lnTo>
                    <a:pt x="112" y="50"/>
                  </a:lnTo>
                  <a:lnTo>
                    <a:pt x="114" y="54"/>
                  </a:lnTo>
                  <a:lnTo>
                    <a:pt x="116" y="68"/>
                  </a:lnTo>
                  <a:lnTo>
                    <a:pt x="110" y="70"/>
                  </a:lnTo>
                  <a:lnTo>
                    <a:pt x="112" y="80"/>
                  </a:lnTo>
                  <a:lnTo>
                    <a:pt x="106" y="84"/>
                  </a:lnTo>
                  <a:lnTo>
                    <a:pt x="100" y="82"/>
                  </a:lnTo>
                  <a:lnTo>
                    <a:pt x="96" y="88"/>
                  </a:lnTo>
                  <a:lnTo>
                    <a:pt x="90" y="86"/>
                  </a:lnTo>
                  <a:lnTo>
                    <a:pt x="88" y="72"/>
                  </a:lnTo>
                  <a:lnTo>
                    <a:pt x="82" y="70"/>
                  </a:lnTo>
                  <a:lnTo>
                    <a:pt x="74" y="68"/>
                  </a:lnTo>
                  <a:lnTo>
                    <a:pt x="76" y="60"/>
                  </a:lnTo>
                  <a:lnTo>
                    <a:pt x="70" y="52"/>
                  </a:lnTo>
                  <a:lnTo>
                    <a:pt x="62" y="44"/>
                  </a:lnTo>
                  <a:lnTo>
                    <a:pt x="48" y="46"/>
                  </a:lnTo>
                  <a:lnTo>
                    <a:pt x="40" y="52"/>
                  </a:lnTo>
                  <a:lnTo>
                    <a:pt x="32" y="60"/>
                  </a:lnTo>
                  <a:lnTo>
                    <a:pt x="24" y="50"/>
                  </a:lnTo>
                  <a:lnTo>
                    <a:pt x="14" y="40"/>
                  </a:lnTo>
                  <a:lnTo>
                    <a:pt x="6" y="38"/>
                  </a:lnTo>
                  <a:lnTo>
                    <a:pt x="0" y="28"/>
                  </a:lnTo>
                  <a:lnTo>
                    <a:pt x="8" y="20"/>
                  </a:lnTo>
                  <a:lnTo>
                    <a:pt x="20" y="16"/>
                  </a:lnTo>
                  <a:lnTo>
                    <a:pt x="22" y="10"/>
                  </a:lnTo>
                  <a:lnTo>
                    <a:pt x="26" y="0"/>
                  </a:lnTo>
                  <a:lnTo>
                    <a:pt x="32" y="0"/>
                  </a:lnTo>
                  <a:lnTo>
                    <a:pt x="38" y="4"/>
                  </a:lnTo>
                  <a:lnTo>
                    <a:pt x="50" y="4"/>
                  </a:lnTo>
                  <a:lnTo>
                    <a:pt x="60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29" name="Freeform 45"/>
            <p:cNvSpPr>
              <a:spLocks/>
            </p:cNvSpPr>
            <p:nvPr/>
          </p:nvSpPr>
          <p:spPr bwMode="gray">
            <a:xfrm>
              <a:off x="4213225" y="4059238"/>
              <a:ext cx="79375" cy="79375"/>
            </a:xfrm>
            <a:custGeom>
              <a:avLst/>
              <a:gdLst>
                <a:gd name="T0" fmla="*/ 2147483647 w 66"/>
                <a:gd name="T1" fmla="*/ 2147483647 h 66"/>
                <a:gd name="T2" fmla="*/ 2147483647 w 66"/>
                <a:gd name="T3" fmla="*/ 2147483647 h 66"/>
                <a:gd name="T4" fmla="*/ 2147483647 w 66"/>
                <a:gd name="T5" fmla="*/ 2147483647 h 66"/>
                <a:gd name="T6" fmla="*/ 2147483647 w 66"/>
                <a:gd name="T7" fmla="*/ 2147483647 h 66"/>
                <a:gd name="T8" fmla="*/ 2147483647 w 66"/>
                <a:gd name="T9" fmla="*/ 2147483647 h 66"/>
                <a:gd name="T10" fmla="*/ 2147483647 w 66"/>
                <a:gd name="T11" fmla="*/ 2147483647 h 66"/>
                <a:gd name="T12" fmla="*/ 2147483647 w 66"/>
                <a:gd name="T13" fmla="*/ 2147483647 h 66"/>
                <a:gd name="T14" fmla="*/ 2147483647 w 66"/>
                <a:gd name="T15" fmla="*/ 2147483647 h 66"/>
                <a:gd name="T16" fmla="*/ 2147483647 w 66"/>
                <a:gd name="T17" fmla="*/ 2147483647 h 66"/>
                <a:gd name="T18" fmla="*/ 2147483647 w 66"/>
                <a:gd name="T19" fmla="*/ 2147483647 h 66"/>
                <a:gd name="T20" fmla="*/ 2147483647 w 66"/>
                <a:gd name="T21" fmla="*/ 2147483647 h 66"/>
                <a:gd name="T22" fmla="*/ 2147483647 w 66"/>
                <a:gd name="T23" fmla="*/ 2147483647 h 66"/>
                <a:gd name="T24" fmla="*/ 2147483647 w 66"/>
                <a:gd name="T25" fmla="*/ 2147483647 h 66"/>
                <a:gd name="T26" fmla="*/ 0 w 66"/>
                <a:gd name="T27" fmla="*/ 2147483647 h 66"/>
                <a:gd name="T28" fmla="*/ 2147483647 w 66"/>
                <a:gd name="T29" fmla="*/ 2147483647 h 66"/>
                <a:gd name="T30" fmla="*/ 2147483647 w 66"/>
                <a:gd name="T31" fmla="*/ 0 h 66"/>
                <a:gd name="T32" fmla="*/ 2147483647 w 66"/>
                <a:gd name="T33" fmla="*/ 0 h 66"/>
                <a:gd name="T34" fmla="*/ 2147483647 w 66"/>
                <a:gd name="T35" fmla="*/ 2147483647 h 66"/>
                <a:gd name="T36" fmla="*/ 2147483647 w 66"/>
                <a:gd name="T37" fmla="*/ 2147483647 h 66"/>
                <a:gd name="T38" fmla="*/ 2147483647 w 66"/>
                <a:gd name="T39" fmla="*/ 2147483647 h 66"/>
                <a:gd name="T40" fmla="*/ 2147483647 w 66"/>
                <a:gd name="T41" fmla="*/ 2147483647 h 66"/>
                <a:gd name="T42" fmla="*/ 2147483647 w 66"/>
                <a:gd name="T43" fmla="*/ 2147483647 h 6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6"/>
                <a:gd name="T67" fmla="*/ 0 h 66"/>
                <a:gd name="T68" fmla="*/ 66 w 66"/>
                <a:gd name="T69" fmla="*/ 66 h 6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6" h="66">
                  <a:moveTo>
                    <a:pt x="50" y="16"/>
                  </a:moveTo>
                  <a:lnTo>
                    <a:pt x="50" y="26"/>
                  </a:lnTo>
                  <a:lnTo>
                    <a:pt x="50" y="34"/>
                  </a:lnTo>
                  <a:lnTo>
                    <a:pt x="58" y="36"/>
                  </a:lnTo>
                  <a:lnTo>
                    <a:pt x="64" y="40"/>
                  </a:lnTo>
                  <a:lnTo>
                    <a:pt x="66" y="46"/>
                  </a:lnTo>
                  <a:lnTo>
                    <a:pt x="66" y="54"/>
                  </a:lnTo>
                  <a:lnTo>
                    <a:pt x="62" y="66"/>
                  </a:lnTo>
                  <a:lnTo>
                    <a:pt x="50" y="62"/>
                  </a:lnTo>
                  <a:lnTo>
                    <a:pt x="38" y="54"/>
                  </a:lnTo>
                  <a:lnTo>
                    <a:pt x="30" y="44"/>
                  </a:lnTo>
                  <a:lnTo>
                    <a:pt x="18" y="36"/>
                  </a:lnTo>
                  <a:lnTo>
                    <a:pt x="8" y="32"/>
                  </a:lnTo>
                  <a:lnTo>
                    <a:pt x="0" y="24"/>
                  </a:lnTo>
                  <a:lnTo>
                    <a:pt x="16" y="8"/>
                  </a:lnTo>
                  <a:lnTo>
                    <a:pt x="18" y="0"/>
                  </a:lnTo>
                  <a:lnTo>
                    <a:pt x="24" y="0"/>
                  </a:lnTo>
                  <a:lnTo>
                    <a:pt x="32" y="4"/>
                  </a:lnTo>
                  <a:lnTo>
                    <a:pt x="34" y="18"/>
                  </a:lnTo>
                  <a:lnTo>
                    <a:pt x="40" y="20"/>
                  </a:lnTo>
                  <a:lnTo>
                    <a:pt x="44" y="14"/>
                  </a:lnTo>
                  <a:lnTo>
                    <a:pt x="50" y="1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30" name="Freeform 46"/>
            <p:cNvSpPr>
              <a:spLocks/>
            </p:cNvSpPr>
            <p:nvPr/>
          </p:nvSpPr>
          <p:spPr bwMode="gray">
            <a:xfrm>
              <a:off x="4684713" y="3765550"/>
              <a:ext cx="200025" cy="312738"/>
            </a:xfrm>
            <a:custGeom>
              <a:avLst/>
              <a:gdLst>
                <a:gd name="T0" fmla="*/ 2147483647 w 168"/>
                <a:gd name="T1" fmla="*/ 2147483647 h 258"/>
                <a:gd name="T2" fmla="*/ 2147483647 w 168"/>
                <a:gd name="T3" fmla="*/ 2147483647 h 258"/>
                <a:gd name="T4" fmla="*/ 2147483647 w 168"/>
                <a:gd name="T5" fmla="*/ 2147483647 h 258"/>
                <a:gd name="T6" fmla="*/ 2147483647 w 168"/>
                <a:gd name="T7" fmla="*/ 2147483647 h 258"/>
                <a:gd name="T8" fmla="*/ 2147483647 w 168"/>
                <a:gd name="T9" fmla="*/ 2147483647 h 258"/>
                <a:gd name="T10" fmla="*/ 2147483647 w 168"/>
                <a:gd name="T11" fmla="*/ 2147483647 h 258"/>
                <a:gd name="T12" fmla="*/ 2147483647 w 168"/>
                <a:gd name="T13" fmla="*/ 2147483647 h 258"/>
                <a:gd name="T14" fmla="*/ 2147483647 w 168"/>
                <a:gd name="T15" fmla="*/ 2147483647 h 258"/>
                <a:gd name="T16" fmla="*/ 2147483647 w 168"/>
                <a:gd name="T17" fmla="*/ 2147483647 h 258"/>
                <a:gd name="T18" fmla="*/ 2147483647 w 168"/>
                <a:gd name="T19" fmla="*/ 2147483647 h 258"/>
                <a:gd name="T20" fmla="*/ 2147483647 w 168"/>
                <a:gd name="T21" fmla="*/ 2147483647 h 258"/>
                <a:gd name="T22" fmla="*/ 2147483647 w 168"/>
                <a:gd name="T23" fmla="*/ 2147483647 h 258"/>
                <a:gd name="T24" fmla="*/ 2147483647 w 168"/>
                <a:gd name="T25" fmla="*/ 2147483647 h 258"/>
                <a:gd name="T26" fmla="*/ 2147483647 w 168"/>
                <a:gd name="T27" fmla="*/ 2147483647 h 258"/>
                <a:gd name="T28" fmla="*/ 2147483647 w 168"/>
                <a:gd name="T29" fmla="*/ 2147483647 h 258"/>
                <a:gd name="T30" fmla="*/ 2147483647 w 168"/>
                <a:gd name="T31" fmla="*/ 2147483647 h 258"/>
                <a:gd name="T32" fmla="*/ 2147483647 w 168"/>
                <a:gd name="T33" fmla="*/ 2147483647 h 258"/>
                <a:gd name="T34" fmla="*/ 2147483647 w 168"/>
                <a:gd name="T35" fmla="*/ 2147483647 h 258"/>
                <a:gd name="T36" fmla="*/ 2147483647 w 168"/>
                <a:gd name="T37" fmla="*/ 2147483647 h 258"/>
                <a:gd name="T38" fmla="*/ 0 w 168"/>
                <a:gd name="T39" fmla="*/ 2147483647 h 258"/>
                <a:gd name="T40" fmla="*/ 2147483647 w 168"/>
                <a:gd name="T41" fmla="*/ 2147483647 h 258"/>
                <a:gd name="T42" fmla="*/ 2147483647 w 168"/>
                <a:gd name="T43" fmla="*/ 2147483647 h 258"/>
                <a:gd name="T44" fmla="*/ 2147483647 w 168"/>
                <a:gd name="T45" fmla="*/ 2147483647 h 258"/>
                <a:gd name="T46" fmla="*/ 2147483647 w 168"/>
                <a:gd name="T47" fmla="*/ 2147483647 h 258"/>
                <a:gd name="T48" fmla="*/ 2147483647 w 168"/>
                <a:gd name="T49" fmla="*/ 0 h 258"/>
                <a:gd name="T50" fmla="*/ 2147483647 w 168"/>
                <a:gd name="T51" fmla="*/ 2147483647 h 258"/>
                <a:gd name="T52" fmla="*/ 2147483647 w 168"/>
                <a:gd name="T53" fmla="*/ 2147483647 h 25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68"/>
                <a:gd name="T82" fmla="*/ 0 h 258"/>
                <a:gd name="T83" fmla="*/ 168 w 168"/>
                <a:gd name="T84" fmla="*/ 258 h 25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68" h="258">
                  <a:moveTo>
                    <a:pt x="166" y="128"/>
                  </a:moveTo>
                  <a:lnTo>
                    <a:pt x="152" y="130"/>
                  </a:lnTo>
                  <a:lnTo>
                    <a:pt x="148" y="142"/>
                  </a:lnTo>
                  <a:lnTo>
                    <a:pt x="136" y="170"/>
                  </a:lnTo>
                  <a:lnTo>
                    <a:pt x="144" y="178"/>
                  </a:lnTo>
                  <a:lnTo>
                    <a:pt x="148" y="204"/>
                  </a:lnTo>
                  <a:lnTo>
                    <a:pt x="136" y="206"/>
                  </a:lnTo>
                  <a:lnTo>
                    <a:pt x="112" y="230"/>
                  </a:lnTo>
                  <a:lnTo>
                    <a:pt x="88" y="234"/>
                  </a:lnTo>
                  <a:lnTo>
                    <a:pt x="86" y="246"/>
                  </a:lnTo>
                  <a:lnTo>
                    <a:pt x="40" y="258"/>
                  </a:lnTo>
                  <a:lnTo>
                    <a:pt x="30" y="246"/>
                  </a:lnTo>
                  <a:lnTo>
                    <a:pt x="10" y="226"/>
                  </a:lnTo>
                  <a:lnTo>
                    <a:pt x="12" y="216"/>
                  </a:lnTo>
                  <a:lnTo>
                    <a:pt x="32" y="216"/>
                  </a:lnTo>
                  <a:lnTo>
                    <a:pt x="26" y="206"/>
                  </a:lnTo>
                  <a:lnTo>
                    <a:pt x="24" y="182"/>
                  </a:lnTo>
                  <a:lnTo>
                    <a:pt x="16" y="170"/>
                  </a:lnTo>
                  <a:lnTo>
                    <a:pt x="2" y="156"/>
                  </a:lnTo>
                  <a:lnTo>
                    <a:pt x="0" y="144"/>
                  </a:lnTo>
                  <a:lnTo>
                    <a:pt x="32" y="106"/>
                  </a:lnTo>
                  <a:lnTo>
                    <a:pt x="36" y="66"/>
                  </a:lnTo>
                  <a:lnTo>
                    <a:pt x="40" y="50"/>
                  </a:lnTo>
                  <a:lnTo>
                    <a:pt x="28" y="6"/>
                  </a:lnTo>
                  <a:lnTo>
                    <a:pt x="34" y="0"/>
                  </a:lnTo>
                  <a:lnTo>
                    <a:pt x="168" y="54"/>
                  </a:lnTo>
                  <a:lnTo>
                    <a:pt x="166" y="12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31" name="Freeform 47"/>
            <p:cNvSpPr>
              <a:spLocks/>
            </p:cNvSpPr>
            <p:nvPr/>
          </p:nvSpPr>
          <p:spPr bwMode="gray">
            <a:xfrm>
              <a:off x="4435475" y="3762375"/>
              <a:ext cx="296863" cy="233363"/>
            </a:xfrm>
            <a:custGeom>
              <a:avLst/>
              <a:gdLst>
                <a:gd name="T0" fmla="*/ 2147483647 w 251"/>
                <a:gd name="T1" fmla="*/ 2147483647 h 194"/>
                <a:gd name="T2" fmla="*/ 2147483647 w 251"/>
                <a:gd name="T3" fmla="*/ 2147483647 h 194"/>
                <a:gd name="T4" fmla="*/ 2147483647 w 251"/>
                <a:gd name="T5" fmla="*/ 2147483647 h 194"/>
                <a:gd name="T6" fmla="*/ 2147483647 w 251"/>
                <a:gd name="T7" fmla="*/ 2147483647 h 194"/>
                <a:gd name="T8" fmla="*/ 2147483647 w 251"/>
                <a:gd name="T9" fmla="*/ 2147483647 h 194"/>
                <a:gd name="T10" fmla="*/ 2147483647 w 251"/>
                <a:gd name="T11" fmla="*/ 2147483647 h 194"/>
                <a:gd name="T12" fmla="*/ 2147483647 w 251"/>
                <a:gd name="T13" fmla="*/ 2147483647 h 194"/>
                <a:gd name="T14" fmla="*/ 2147483647 w 251"/>
                <a:gd name="T15" fmla="*/ 0 h 194"/>
                <a:gd name="T16" fmla="*/ 2147483647 w 251"/>
                <a:gd name="T17" fmla="*/ 2147483647 h 194"/>
                <a:gd name="T18" fmla="*/ 2147483647 w 251"/>
                <a:gd name="T19" fmla="*/ 2147483647 h 194"/>
                <a:gd name="T20" fmla="*/ 2147483647 w 251"/>
                <a:gd name="T21" fmla="*/ 2147483647 h 194"/>
                <a:gd name="T22" fmla="*/ 2147483647 w 251"/>
                <a:gd name="T23" fmla="*/ 2147483647 h 194"/>
                <a:gd name="T24" fmla="*/ 2147483647 w 251"/>
                <a:gd name="T25" fmla="*/ 2147483647 h 194"/>
                <a:gd name="T26" fmla="*/ 2147483647 w 251"/>
                <a:gd name="T27" fmla="*/ 2147483647 h 194"/>
                <a:gd name="T28" fmla="*/ 2147483647 w 251"/>
                <a:gd name="T29" fmla="*/ 2147483647 h 194"/>
                <a:gd name="T30" fmla="*/ 2147483647 w 251"/>
                <a:gd name="T31" fmla="*/ 2147483647 h 194"/>
                <a:gd name="T32" fmla="*/ 2147483647 w 251"/>
                <a:gd name="T33" fmla="*/ 2147483647 h 194"/>
                <a:gd name="T34" fmla="*/ 2147483647 w 251"/>
                <a:gd name="T35" fmla="*/ 2147483647 h 194"/>
                <a:gd name="T36" fmla="*/ 2147483647 w 251"/>
                <a:gd name="T37" fmla="*/ 2147483647 h 194"/>
                <a:gd name="T38" fmla="*/ 2147483647 w 251"/>
                <a:gd name="T39" fmla="*/ 2147483647 h 194"/>
                <a:gd name="T40" fmla="*/ 2147483647 w 251"/>
                <a:gd name="T41" fmla="*/ 2147483647 h 194"/>
                <a:gd name="T42" fmla="*/ 2147483647 w 251"/>
                <a:gd name="T43" fmla="*/ 2147483647 h 194"/>
                <a:gd name="T44" fmla="*/ 2147483647 w 251"/>
                <a:gd name="T45" fmla="*/ 2147483647 h 194"/>
                <a:gd name="T46" fmla="*/ 2147483647 w 251"/>
                <a:gd name="T47" fmla="*/ 2147483647 h 194"/>
                <a:gd name="T48" fmla="*/ 2147483647 w 251"/>
                <a:gd name="T49" fmla="*/ 2147483647 h 194"/>
                <a:gd name="T50" fmla="*/ 2147483647 w 251"/>
                <a:gd name="T51" fmla="*/ 2147483647 h 194"/>
                <a:gd name="T52" fmla="*/ 2147483647 w 251"/>
                <a:gd name="T53" fmla="*/ 2147483647 h 194"/>
                <a:gd name="T54" fmla="*/ 2147483647 w 251"/>
                <a:gd name="T55" fmla="*/ 2147483647 h 194"/>
                <a:gd name="T56" fmla="*/ 2147483647 w 251"/>
                <a:gd name="T57" fmla="*/ 2147483647 h 194"/>
                <a:gd name="T58" fmla="*/ 2147483647 w 251"/>
                <a:gd name="T59" fmla="*/ 2147483647 h 194"/>
                <a:gd name="T60" fmla="*/ 2147483647 w 251"/>
                <a:gd name="T61" fmla="*/ 2147483647 h 194"/>
                <a:gd name="T62" fmla="*/ 2147483647 w 251"/>
                <a:gd name="T63" fmla="*/ 2147483647 h 194"/>
                <a:gd name="T64" fmla="*/ 0 w 251"/>
                <a:gd name="T65" fmla="*/ 2147483647 h 194"/>
                <a:gd name="T66" fmla="*/ 2147483647 w 251"/>
                <a:gd name="T67" fmla="*/ 2147483647 h 19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1"/>
                <a:gd name="T103" fmla="*/ 0 h 194"/>
                <a:gd name="T104" fmla="*/ 251 w 251"/>
                <a:gd name="T105" fmla="*/ 194 h 19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1" h="194">
                  <a:moveTo>
                    <a:pt x="4" y="142"/>
                  </a:moveTo>
                  <a:lnTo>
                    <a:pt x="18" y="142"/>
                  </a:lnTo>
                  <a:lnTo>
                    <a:pt x="52" y="136"/>
                  </a:lnTo>
                  <a:lnTo>
                    <a:pt x="64" y="118"/>
                  </a:lnTo>
                  <a:lnTo>
                    <a:pt x="66" y="76"/>
                  </a:lnTo>
                  <a:lnTo>
                    <a:pt x="86" y="72"/>
                  </a:lnTo>
                  <a:lnTo>
                    <a:pt x="124" y="40"/>
                  </a:lnTo>
                  <a:lnTo>
                    <a:pt x="191" y="0"/>
                  </a:lnTo>
                  <a:lnTo>
                    <a:pt x="199" y="2"/>
                  </a:lnTo>
                  <a:lnTo>
                    <a:pt x="207" y="4"/>
                  </a:lnTo>
                  <a:lnTo>
                    <a:pt x="217" y="8"/>
                  </a:lnTo>
                  <a:lnTo>
                    <a:pt x="227" y="16"/>
                  </a:lnTo>
                  <a:lnTo>
                    <a:pt x="239" y="10"/>
                  </a:lnTo>
                  <a:lnTo>
                    <a:pt x="251" y="54"/>
                  </a:lnTo>
                  <a:lnTo>
                    <a:pt x="247" y="70"/>
                  </a:lnTo>
                  <a:lnTo>
                    <a:pt x="243" y="110"/>
                  </a:lnTo>
                  <a:lnTo>
                    <a:pt x="211" y="148"/>
                  </a:lnTo>
                  <a:lnTo>
                    <a:pt x="213" y="160"/>
                  </a:lnTo>
                  <a:lnTo>
                    <a:pt x="191" y="174"/>
                  </a:lnTo>
                  <a:lnTo>
                    <a:pt x="156" y="170"/>
                  </a:lnTo>
                  <a:lnTo>
                    <a:pt x="150" y="178"/>
                  </a:lnTo>
                  <a:lnTo>
                    <a:pt x="122" y="168"/>
                  </a:lnTo>
                  <a:lnTo>
                    <a:pt x="112" y="174"/>
                  </a:lnTo>
                  <a:lnTo>
                    <a:pt x="96" y="162"/>
                  </a:lnTo>
                  <a:lnTo>
                    <a:pt x="66" y="162"/>
                  </a:lnTo>
                  <a:lnTo>
                    <a:pt x="54" y="194"/>
                  </a:lnTo>
                  <a:lnTo>
                    <a:pt x="44" y="184"/>
                  </a:lnTo>
                  <a:lnTo>
                    <a:pt x="30" y="186"/>
                  </a:lnTo>
                  <a:lnTo>
                    <a:pt x="16" y="178"/>
                  </a:lnTo>
                  <a:lnTo>
                    <a:pt x="12" y="176"/>
                  </a:lnTo>
                  <a:lnTo>
                    <a:pt x="14" y="170"/>
                  </a:lnTo>
                  <a:lnTo>
                    <a:pt x="4" y="158"/>
                  </a:lnTo>
                  <a:lnTo>
                    <a:pt x="0" y="150"/>
                  </a:lnTo>
                  <a:lnTo>
                    <a:pt x="4" y="14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32" name="Freeform 48"/>
            <p:cNvSpPr>
              <a:spLocks/>
            </p:cNvSpPr>
            <p:nvPr/>
          </p:nvSpPr>
          <p:spPr bwMode="gray">
            <a:xfrm>
              <a:off x="4708525" y="4014788"/>
              <a:ext cx="239713" cy="153987"/>
            </a:xfrm>
            <a:custGeom>
              <a:avLst/>
              <a:gdLst>
                <a:gd name="T0" fmla="*/ 2147483647 w 202"/>
                <a:gd name="T1" fmla="*/ 2147483647 h 128"/>
                <a:gd name="T2" fmla="*/ 2147483647 w 202"/>
                <a:gd name="T3" fmla="*/ 2147483647 h 128"/>
                <a:gd name="T4" fmla="*/ 2147483647 w 202"/>
                <a:gd name="T5" fmla="*/ 2147483647 h 128"/>
                <a:gd name="T6" fmla="*/ 2147483647 w 202"/>
                <a:gd name="T7" fmla="*/ 2147483647 h 128"/>
                <a:gd name="T8" fmla="*/ 2147483647 w 202"/>
                <a:gd name="T9" fmla="*/ 2147483647 h 128"/>
                <a:gd name="T10" fmla="*/ 2147483647 w 202"/>
                <a:gd name="T11" fmla="*/ 0 h 128"/>
                <a:gd name="T12" fmla="*/ 2147483647 w 202"/>
                <a:gd name="T13" fmla="*/ 2147483647 h 128"/>
                <a:gd name="T14" fmla="*/ 2147483647 w 202"/>
                <a:gd name="T15" fmla="*/ 2147483647 h 128"/>
                <a:gd name="T16" fmla="*/ 2147483647 w 202"/>
                <a:gd name="T17" fmla="*/ 2147483647 h 128"/>
                <a:gd name="T18" fmla="*/ 2147483647 w 202"/>
                <a:gd name="T19" fmla="*/ 2147483647 h 128"/>
                <a:gd name="T20" fmla="*/ 2147483647 w 202"/>
                <a:gd name="T21" fmla="*/ 2147483647 h 128"/>
                <a:gd name="T22" fmla="*/ 2147483647 w 202"/>
                <a:gd name="T23" fmla="*/ 2147483647 h 128"/>
                <a:gd name="T24" fmla="*/ 2147483647 w 202"/>
                <a:gd name="T25" fmla="*/ 2147483647 h 128"/>
                <a:gd name="T26" fmla="*/ 2147483647 w 202"/>
                <a:gd name="T27" fmla="*/ 2147483647 h 128"/>
                <a:gd name="T28" fmla="*/ 2147483647 w 202"/>
                <a:gd name="T29" fmla="*/ 2147483647 h 128"/>
                <a:gd name="T30" fmla="*/ 2147483647 w 202"/>
                <a:gd name="T31" fmla="*/ 2147483647 h 128"/>
                <a:gd name="T32" fmla="*/ 2147483647 w 202"/>
                <a:gd name="T33" fmla="*/ 2147483647 h 128"/>
                <a:gd name="T34" fmla="*/ 2147483647 w 202"/>
                <a:gd name="T35" fmla="*/ 2147483647 h 128"/>
                <a:gd name="T36" fmla="*/ 2147483647 w 202"/>
                <a:gd name="T37" fmla="*/ 2147483647 h 128"/>
                <a:gd name="T38" fmla="*/ 2147483647 w 202"/>
                <a:gd name="T39" fmla="*/ 2147483647 h 128"/>
                <a:gd name="T40" fmla="*/ 2147483647 w 202"/>
                <a:gd name="T41" fmla="*/ 2147483647 h 128"/>
                <a:gd name="T42" fmla="*/ 2147483647 w 202"/>
                <a:gd name="T43" fmla="*/ 2147483647 h 128"/>
                <a:gd name="T44" fmla="*/ 0 w 202"/>
                <a:gd name="T45" fmla="*/ 2147483647 h 128"/>
                <a:gd name="T46" fmla="*/ 0 w 202"/>
                <a:gd name="T47" fmla="*/ 2147483647 h 128"/>
                <a:gd name="T48" fmla="*/ 2147483647 w 202"/>
                <a:gd name="T49" fmla="*/ 2147483647 h 12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02"/>
                <a:gd name="T76" fmla="*/ 0 h 128"/>
                <a:gd name="T77" fmla="*/ 202 w 202"/>
                <a:gd name="T78" fmla="*/ 128 h 12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02" h="128">
                  <a:moveTo>
                    <a:pt x="20" y="54"/>
                  </a:moveTo>
                  <a:lnTo>
                    <a:pt x="66" y="42"/>
                  </a:lnTo>
                  <a:lnTo>
                    <a:pt x="68" y="30"/>
                  </a:lnTo>
                  <a:lnTo>
                    <a:pt x="92" y="26"/>
                  </a:lnTo>
                  <a:lnTo>
                    <a:pt x="116" y="2"/>
                  </a:lnTo>
                  <a:lnTo>
                    <a:pt x="128" y="0"/>
                  </a:lnTo>
                  <a:lnTo>
                    <a:pt x="140" y="8"/>
                  </a:lnTo>
                  <a:lnTo>
                    <a:pt x="142" y="22"/>
                  </a:lnTo>
                  <a:lnTo>
                    <a:pt x="142" y="34"/>
                  </a:lnTo>
                  <a:lnTo>
                    <a:pt x="180" y="60"/>
                  </a:lnTo>
                  <a:lnTo>
                    <a:pt x="202" y="92"/>
                  </a:lnTo>
                  <a:lnTo>
                    <a:pt x="172" y="90"/>
                  </a:lnTo>
                  <a:lnTo>
                    <a:pt x="138" y="100"/>
                  </a:lnTo>
                  <a:lnTo>
                    <a:pt x="126" y="108"/>
                  </a:lnTo>
                  <a:lnTo>
                    <a:pt x="104" y="106"/>
                  </a:lnTo>
                  <a:lnTo>
                    <a:pt x="92" y="102"/>
                  </a:lnTo>
                  <a:lnTo>
                    <a:pt x="78" y="88"/>
                  </a:lnTo>
                  <a:lnTo>
                    <a:pt x="64" y="104"/>
                  </a:lnTo>
                  <a:lnTo>
                    <a:pt x="62" y="118"/>
                  </a:lnTo>
                  <a:lnTo>
                    <a:pt x="32" y="116"/>
                  </a:lnTo>
                  <a:lnTo>
                    <a:pt x="24" y="128"/>
                  </a:lnTo>
                  <a:lnTo>
                    <a:pt x="10" y="112"/>
                  </a:lnTo>
                  <a:lnTo>
                    <a:pt x="0" y="86"/>
                  </a:lnTo>
                  <a:lnTo>
                    <a:pt x="0" y="70"/>
                  </a:lnTo>
                  <a:lnTo>
                    <a:pt x="20" y="5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33" name="Freeform 49"/>
            <p:cNvSpPr>
              <a:spLocks/>
            </p:cNvSpPr>
            <p:nvPr/>
          </p:nvSpPr>
          <p:spPr bwMode="gray">
            <a:xfrm>
              <a:off x="4846638" y="3775075"/>
              <a:ext cx="314325" cy="373063"/>
            </a:xfrm>
            <a:custGeom>
              <a:avLst/>
              <a:gdLst>
                <a:gd name="T0" fmla="*/ 2147483647 w 264"/>
                <a:gd name="T1" fmla="*/ 2147483647 h 308"/>
                <a:gd name="T2" fmla="*/ 2147483647 w 264"/>
                <a:gd name="T3" fmla="*/ 0 h 308"/>
                <a:gd name="T4" fmla="*/ 2147483647 w 264"/>
                <a:gd name="T5" fmla="*/ 0 h 308"/>
                <a:gd name="T6" fmla="*/ 2147483647 w 264"/>
                <a:gd name="T7" fmla="*/ 2147483647 h 308"/>
                <a:gd name="T8" fmla="*/ 2147483647 w 264"/>
                <a:gd name="T9" fmla="*/ 2147483647 h 308"/>
                <a:gd name="T10" fmla="*/ 2147483647 w 264"/>
                <a:gd name="T11" fmla="*/ 2147483647 h 308"/>
                <a:gd name="T12" fmla="*/ 2147483647 w 264"/>
                <a:gd name="T13" fmla="*/ 2147483647 h 308"/>
                <a:gd name="T14" fmla="*/ 2147483647 w 264"/>
                <a:gd name="T15" fmla="*/ 2147483647 h 308"/>
                <a:gd name="T16" fmla="*/ 2147483647 w 264"/>
                <a:gd name="T17" fmla="*/ 2147483647 h 308"/>
                <a:gd name="T18" fmla="*/ 2147483647 w 264"/>
                <a:gd name="T19" fmla="*/ 2147483647 h 308"/>
                <a:gd name="T20" fmla="*/ 2147483647 w 264"/>
                <a:gd name="T21" fmla="*/ 2147483647 h 308"/>
                <a:gd name="T22" fmla="*/ 2147483647 w 264"/>
                <a:gd name="T23" fmla="*/ 2147483647 h 308"/>
                <a:gd name="T24" fmla="*/ 2147483647 w 264"/>
                <a:gd name="T25" fmla="*/ 2147483647 h 308"/>
                <a:gd name="T26" fmla="*/ 2147483647 w 264"/>
                <a:gd name="T27" fmla="*/ 2147483647 h 308"/>
                <a:gd name="T28" fmla="*/ 2147483647 w 264"/>
                <a:gd name="T29" fmla="*/ 2147483647 h 308"/>
                <a:gd name="T30" fmla="*/ 2147483647 w 264"/>
                <a:gd name="T31" fmla="*/ 2147483647 h 308"/>
                <a:gd name="T32" fmla="*/ 2147483647 w 264"/>
                <a:gd name="T33" fmla="*/ 2147483647 h 308"/>
                <a:gd name="T34" fmla="*/ 2147483647 w 264"/>
                <a:gd name="T35" fmla="*/ 2147483647 h 308"/>
                <a:gd name="T36" fmla="*/ 2147483647 w 264"/>
                <a:gd name="T37" fmla="*/ 2147483647 h 308"/>
                <a:gd name="T38" fmla="*/ 2147483647 w 264"/>
                <a:gd name="T39" fmla="*/ 2147483647 h 308"/>
                <a:gd name="T40" fmla="*/ 2147483647 w 264"/>
                <a:gd name="T41" fmla="*/ 2147483647 h 308"/>
                <a:gd name="T42" fmla="*/ 2147483647 w 264"/>
                <a:gd name="T43" fmla="*/ 2147483647 h 308"/>
                <a:gd name="T44" fmla="*/ 2147483647 w 264"/>
                <a:gd name="T45" fmla="*/ 2147483647 h 308"/>
                <a:gd name="T46" fmla="*/ 2147483647 w 264"/>
                <a:gd name="T47" fmla="*/ 2147483647 h 308"/>
                <a:gd name="T48" fmla="*/ 2147483647 w 264"/>
                <a:gd name="T49" fmla="*/ 2147483647 h 308"/>
                <a:gd name="T50" fmla="*/ 2147483647 w 264"/>
                <a:gd name="T51" fmla="*/ 2147483647 h 308"/>
                <a:gd name="T52" fmla="*/ 2147483647 w 264"/>
                <a:gd name="T53" fmla="*/ 2147483647 h 308"/>
                <a:gd name="T54" fmla="*/ 2147483647 w 264"/>
                <a:gd name="T55" fmla="*/ 2147483647 h 308"/>
                <a:gd name="T56" fmla="*/ 2147483647 w 264"/>
                <a:gd name="T57" fmla="*/ 2147483647 h 308"/>
                <a:gd name="T58" fmla="*/ 2147483647 w 264"/>
                <a:gd name="T59" fmla="*/ 2147483647 h 308"/>
                <a:gd name="T60" fmla="*/ 2147483647 w 264"/>
                <a:gd name="T61" fmla="*/ 2147483647 h 308"/>
                <a:gd name="T62" fmla="*/ 0 w 264"/>
                <a:gd name="T63" fmla="*/ 2147483647 h 308"/>
                <a:gd name="T64" fmla="*/ 2147483647 w 264"/>
                <a:gd name="T65" fmla="*/ 2147483647 h 308"/>
                <a:gd name="T66" fmla="*/ 2147483647 w 264"/>
                <a:gd name="T67" fmla="*/ 2147483647 h 308"/>
                <a:gd name="T68" fmla="*/ 2147483647 w 264"/>
                <a:gd name="T69" fmla="*/ 2147483647 h 308"/>
                <a:gd name="T70" fmla="*/ 2147483647 w 264"/>
                <a:gd name="T71" fmla="*/ 2147483647 h 308"/>
                <a:gd name="T72" fmla="*/ 2147483647 w 264"/>
                <a:gd name="T73" fmla="*/ 2147483647 h 308"/>
                <a:gd name="T74" fmla="*/ 2147483647 w 264"/>
                <a:gd name="T75" fmla="*/ 2147483647 h 308"/>
                <a:gd name="T76" fmla="*/ 2147483647 w 264"/>
                <a:gd name="T77" fmla="*/ 2147483647 h 30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64"/>
                <a:gd name="T118" fmla="*/ 0 h 308"/>
                <a:gd name="T119" fmla="*/ 264 w 264"/>
                <a:gd name="T120" fmla="*/ 308 h 30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64" h="308">
                  <a:moveTo>
                    <a:pt x="188" y="20"/>
                  </a:moveTo>
                  <a:lnTo>
                    <a:pt x="208" y="0"/>
                  </a:lnTo>
                  <a:lnTo>
                    <a:pt x="216" y="0"/>
                  </a:lnTo>
                  <a:lnTo>
                    <a:pt x="238" y="18"/>
                  </a:lnTo>
                  <a:lnTo>
                    <a:pt x="242" y="32"/>
                  </a:lnTo>
                  <a:lnTo>
                    <a:pt x="240" y="60"/>
                  </a:lnTo>
                  <a:lnTo>
                    <a:pt x="264" y="86"/>
                  </a:lnTo>
                  <a:lnTo>
                    <a:pt x="236" y="98"/>
                  </a:lnTo>
                  <a:lnTo>
                    <a:pt x="230" y="128"/>
                  </a:lnTo>
                  <a:lnTo>
                    <a:pt x="230" y="142"/>
                  </a:lnTo>
                  <a:lnTo>
                    <a:pt x="206" y="180"/>
                  </a:lnTo>
                  <a:lnTo>
                    <a:pt x="206" y="196"/>
                  </a:lnTo>
                  <a:lnTo>
                    <a:pt x="194" y="198"/>
                  </a:lnTo>
                  <a:lnTo>
                    <a:pt x="194" y="234"/>
                  </a:lnTo>
                  <a:lnTo>
                    <a:pt x="174" y="234"/>
                  </a:lnTo>
                  <a:lnTo>
                    <a:pt x="178" y="248"/>
                  </a:lnTo>
                  <a:lnTo>
                    <a:pt x="188" y="250"/>
                  </a:lnTo>
                  <a:lnTo>
                    <a:pt x="212" y="282"/>
                  </a:lnTo>
                  <a:lnTo>
                    <a:pt x="218" y="282"/>
                  </a:lnTo>
                  <a:lnTo>
                    <a:pt x="218" y="296"/>
                  </a:lnTo>
                  <a:lnTo>
                    <a:pt x="198" y="296"/>
                  </a:lnTo>
                  <a:lnTo>
                    <a:pt x="190" y="304"/>
                  </a:lnTo>
                  <a:lnTo>
                    <a:pt x="138" y="308"/>
                  </a:lnTo>
                  <a:lnTo>
                    <a:pt x="122" y="296"/>
                  </a:lnTo>
                  <a:lnTo>
                    <a:pt x="94" y="298"/>
                  </a:lnTo>
                  <a:lnTo>
                    <a:pt x="86" y="288"/>
                  </a:lnTo>
                  <a:lnTo>
                    <a:pt x="64" y="256"/>
                  </a:lnTo>
                  <a:lnTo>
                    <a:pt x="26" y="230"/>
                  </a:lnTo>
                  <a:lnTo>
                    <a:pt x="24" y="204"/>
                  </a:lnTo>
                  <a:lnTo>
                    <a:pt x="12" y="196"/>
                  </a:lnTo>
                  <a:lnTo>
                    <a:pt x="8" y="170"/>
                  </a:lnTo>
                  <a:lnTo>
                    <a:pt x="0" y="162"/>
                  </a:lnTo>
                  <a:lnTo>
                    <a:pt x="16" y="122"/>
                  </a:lnTo>
                  <a:lnTo>
                    <a:pt x="30" y="120"/>
                  </a:lnTo>
                  <a:lnTo>
                    <a:pt x="32" y="46"/>
                  </a:lnTo>
                  <a:lnTo>
                    <a:pt x="50" y="46"/>
                  </a:lnTo>
                  <a:lnTo>
                    <a:pt x="50" y="12"/>
                  </a:lnTo>
                  <a:lnTo>
                    <a:pt x="178" y="14"/>
                  </a:lnTo>
                  <a:lnTo>
                    <a:pt x="188" y="2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34" name="Freeform 50"/>
            <p:cNvSpPr>
              <a:spLocks/>
            </p:cNvSpPr>
            <p:nvPr/>
          </p:nvSpPr>
          <p:spPr bwMode="gray">
            <a:xfrm>
              <a:off x="5119688" y="3879850"/>
              <a:ext cx="119062" cy="104775"/>
            </a:xfrm>
            <a:custGeom>
              <a:avLst/>
              <a:gdLst>
                <a:gd name="T0" fmla="*/ 2147483647 w 100"/>
                <a:gd name="T1" fmla="*/ 0 h 86"/>
                <a:gd name="T2" fmla="*/ 2147483647 w 100"/>
                <a:gd name="T3" fmla="*/ 2147483647 h 86"/>
                <a:gd name="T4" fmla="*/ 2147483647 w 100"/>
                <a:gd name="T5" fmla="*/ 2147483647 h 86"/>
                <a:gd name="T6" fmla="*/ 2147483647 w 100"/>
                <a:gd name="T7" fmla="*/ 2147483647 h 86"/>
                <a:gd name="T8" fmla="*/ 2147483647 w 100"/>
                <a:gd name="T9" fmla="*/ 2147483647 h 86"/>
                <a:gd name="T10" fmla="*/ 2147483647 w 100"/>
                <a:gd name="T11" fmla="*/ 2147483647 h 86"/>
                <a:gd name="T12" fmla="*/ 2147483647 w 100"/>
                <a:gd name="T13" fmla="*/ 2147483647 h 86"/>
                <a:gd name="T14" fmla="*/ 2147483647 w 100"/>
                <a:gd name="T15" fmla="*/ 2147483647 h 86"/>
                <a:gd name="T16" fmla="*/ 2147483647 w 100"/>
                <a:gd name="T17" fmla="*/ 2147483647 h 86"/>
                <a:gd name="T18" fmla="*/ 2147483647 w 100"/>
                <a:gd name="T19" fmla="*/ 2147483647 h 86"/>
                <a:gd name="T20" fmla="*/ 2147483647 w 100"/>
                <a:gd name="T21" fmla="*/ 2147483647 h 86"/>
                <a:gd name="T22" fmla="*/ 0 w 100"/>
                <a:gd name="T23" fmla="*/ 2147483647 h 86"/>
                <a:gd name="T24" fmla="*/ 0 w 100"/>
                <a:gd name="T25" fmla="*/ 2147483647 h 86"/>
                <a:gd name="T26" fmla="*/ 2147483647 w 100"/>
                <a:gd name="T27" fmla="*/ 2147483647 h 86"/>
                <a:gd name="T28" fmla="*/ 2147483647 w 100"/>
                <a:gd name="T29" fmla="*/ 2147483647 h 86"/>
                <a:gd name="T30" fmla="*/ 2147483647 w 100"/>
                <a:gd name="T31" fmla="*/ 0 h 8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0"/>
                <a:gd name="T49" fmla="*/ 0 h 86"/>
                <a:gd name="T50" fmla="*/ 100 w 100"/>
                <a:gd name="T51" fmla="*/ 86 h 8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0" h="86">
                  <a:moveTo>
                    <a:pt x="34" y="0"/>
                  </a:moveTo>
                  <a:lnTo>
                    <a:pt x="42" y="12"/>
                  </a:lnTo>
                  <a:lnTo>
                    <a:pt x="48" y="26"/>
                  </a:lnTo>
                  <a:lnTo>
                    <a:pt x="50" y="44"/>
                  </a:lnTo>
                  <a:lnTo>
                    <a:pt x="64" y="44"/>
                  </a:lnTo>
                  <a:lnTo>
                    <a:pt x="100" y="76"/>
                  </a:lnTo>
                  <a:lnTo>
                    <a:pt x="94" y="86"/>
                  </a:lnTo>
                  <a:lnTo>
                    <a:pt x="76" y="68"/>
                  </a:lnTo>
                  <a:lnTo>
                    <a:pt x="58" y="52"/>
                  </a:lnTo>
                  <a:lnTo>
                    <a:pt x="24" y="50"/>
                  </a:lnTo>
                  <a:lnTo>
                    <a:pt x="22" y="56"/>
                  </a:lnTo>
                  <a:lnTo>
                    <a:pt x="0" y="56"/>
                  </a:lnTo>
                  <a:lnTo>
                    <a:pt x="0" y="42"/>
                  </a:lnTo>
                  <a:lnTo>
                    <a:pt x="4" y="28"/>
                  </a:lnTo>
                  <a:lnTo>
                    <a:pt x="6" y="12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35" name="Freeform 51"/>
            <p:cNvSpPr>
              <a:spLocks/>
            </p:cNvSpPr>
            <p:nvPr/>
          </p:nvSpPr>
          <p:spPr bwMode="gray">
            <a:xfrm>
              <a:off x="5221288" y="3973513"/>
              <a:ext cx="26987" cy="41275"/>
            </a:xfrm>
            <a:custGeom>
              <a:avLst/>
              <a:gdLst>
                <a:gd name="T0" fmla="*/ 2147483647 w 22"/>
                <a:gd name="T1" fmla="*/ 2147483647 h 34"/>
                <a:gd name="T2" fmla="*/ 2147483647 w 22"/>
                <a:gd name="T3" fmla="*/ 2147483647 h 34"/>
                <a:gd name="T4" fmla="*/ 2147483647 w 22"/>
                <a:gd name="T5" fmla="*/ 2147483647 h 34"/>
                <a:gd name="T6" fmla="*/ 0 w 22"/>
                <a:gd name="T7" fmla="*/ 2147483647 h 34"/>
                <a:gd name="T8" fmla="*/ 0 w 22"/>
                <a:gd name="T9" fmla="*/ 2147483647 h 34"/>
                <a:gd name="T10" fmla="*/ 2147483647 w 22"/>
                <a:gd name="T11" fmla="*/ 2147483647 h 34"/>
                <a:gd name="T12" fmla="*/ 2147483647 w 22"/>
                <a:gd name="T13" fmla="*/ 0 h 34"/>
                <a:gd name="T14" fmla="*/ 2147483647 w 22"/>
                <a:gd name="T15" fmla="*/ 2147483647 h 3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34"/>
                <a:gd name="T26" fmla="*/ 22 w 22"/>
                <a:gd name="T27" fmla="*/ 34 h 3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34">
                  <a:moveTo>
                    <a:pt x="22" y="16"/>
                  </a:moveTo>
                  <a:lnTo>
                    <a:pt x="14" y="22"/>
                  </a:lnTo>
                  <a:lnTo>
                    <a:pt x="16" y="34"/>
                  </a:lnTo>
                  <a:lnTo>
                    <a:pt x="0" y="32"/>
                  </a:lnTo>
                  <a:lnTo>
                    <a:pt x="0" y="20"/>
                  </a:lnTo>
                  <a:lnTo>
                    <a:pt x="8" y="10"/>
                  </a:lnTo>
                  <a:lnTo>
                    <a:pt x="14" y="0"/>
                  </a:lnTo>
                  <a:lnTo>
                    <a:pt x="22" y="1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36" name="Freeform 52"/>
            <p:cNvSpPr>
              <a:spLocks/>
            </p:cNvSpPr>
            <p:nvPr/>
          </p:nvSpPr>
          <p:spPr bwMode="gray">
            <a:xfrm>
              <a:off x="5202238" y="3994150"/>
              <a:ext cx="196850" cy="261938"/>
            </a:xfrm>
            <a:custGeom>
              <a:avLst/>
              <a:gdLst>
                <a:gd name="T0" fmla="*/ 2147483647 w 166"/>
                <a:gd name="T1" fmla="*/ 2147483647 h 216"/>
                <a:gd name="T2" fmla="*/ 2147483647 w 166"/>
                <a:gd name="T3" fmla="*/ 2147483647 h 216"/>
                <a:gd name="T4" fmla="*/ 2147483647 w 166"/>
                <a:gd name="T5" fmla="*/ 2147483647 h 216"/>
                <a:gd name="T6" fmla="*/ 2147483647 w 166"/>
                <a:gd name="T7" fmla="*/ 0 h 216"/>
                <a:gd name="T8" fmla="*/ 2147483647 w 166"/>
                <a:gd name="T9" fmla="*/ 2147483647 h 216"/>
                <a:gd name="T10" fmla="*/ 2147483647 w 166"/>
                <a:gd name="T11" fmla="*/ 2147483647 h 216"/>
                <a:gd name="T12" fmla="*/ 2147483647 w 166"/>
                <a:gd name="T13" fmla="*/ 2147483647 h 216"/>
                <a:gd name="T14" fmla="*/ 2147483647 w 166"/>
                <a:gd name="T15" fmla="*/ 2147483647 h 216"/>
                <a:gd name="T16" fmla="*/ 2147483647 w 166"/>
                <a:gd name="T17" fmla="*/ 2147483647 h 216"/>
                <a:gd name="T18" fmla="*/ 2147483647 w 166"/>
                <a:gd name="T19" fmla="*/ 2147483647 h 216"/>
                <a:gd name="T20" fmla="*/ 0 w 166"/>
                <a:gd name="T21" fmla="*/ 2147483647 h 216"/>
                <a:gd name="T22" fmla="*/ 2147483647 w 166"/>
                <a:gd name="T23" fmla="*/ 2147483647 h 216"/>
                <a:gd name="T24" fmla="*/ 2147483647 w 166"/>
                <a:gd name="T25" fmla="*/ 2147483647 h 216"/>
                <a:gd name="T26" fmla="*/ 2147483647 w 166"/>
                <a:gd name="T27" fmla="*/ 2147483647 h 216"/>
                <a:gd name="T28" fmla="*/ 2147483647 w 166"/>
                <a:gd name="T29" fmla="*/ 2147483647 h 216"/>
                <a:gd name="T30" fmla="*/ 2147483647 w 166"/>
                <a:gd name="T31" fmla="*/ 2147483647 h 216"/>
                <a:gd name="T32" fmla="*/ 2147483647 w 166"/>
                <a:gd name="T33" fmla="*/ 2147483647 h 216"/>
                <a:gd name="T34" fmla="*/ 2147483647 w 166"/>
                <a:gd name="T35" fmla="*/ 2147483647 h 216"/>
                <a:gd name="T36" fmla="*/ 2147483647 w 166"/>
                <a:gd name="T37" fmla="*/ 2147483647 h 216"/>
                <a:gd name="T38" fmla="*/ 2147483647 w 166"/>
                <a:gd name="T39" fmla="*/ 2147483647 h 216"/>
                <a:gd name="T40" fmla="*/ 2147483647 w 166"/>
                <a:gd name="T41" fmla="*/ 2147483647 h 21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66"/>
                <a:gd name="T64" fmla="*/ 0 h 216"/>
                <a:gd name="T65" fmla="*/ 166 w 166"/>
                <a:gd name="T66" fmla="*/ 216 h 21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66" h="216">
                  <a:moveTo>
                    <a:pt x="60" y="26"/>
                  </a:moveTo>
                  <a:lnTo>
                    <a:pt x="78" y="18"/>
                  </a:lnTo>
                  <a:lnTo>
                    <a:pt x="146" y="8"/>
                  </a:lnTo>
                  <a:lnTo>
                    <a:pt x="164" y="0"/>
                  </a:lnTo>
                  <a:lnTo>
                    <a:pt x="166" y="22"/>
                  </a:lnTo>
                  <a:lnTo>
                    <a:pt x="158" y="30"/>
                  </a:lnTo>
                  <a:lnTo>
                    <a:pt x="132" y="80"/>
                  </a:lnTo>
                  <a:lnTo>
                    <a:pt x="80" y="152"/>
                  </a:lnTo>
                  <a:lnTo>
                    <a:pt x="12" y="216"/>
                  </a:lnTo>
                  <a:lnTo>
                    <a:pt x="2" y="202"/>
                  </a:lnTo>
                  <a:lnTo>
                    <a:pt x="0" y="146"/>
                  </a:lnTo>
                  <a:lnTo>
                    <a:pt x="16" y="136"/>
                  </a:lnTo>
                  <a:lnTo>
                    <a:pt x="16" y="126"/>
                  </a:lnTo>
                  <a:lnTo>
                    <a:pt x="40" y="112"/>
                  </a:lnTo>
                  <a:lnTo>
                    <a:pt x="66" y="108"/>
                  </a:lnTo>
                  <a:lnTo>
                    <a:pt x="108" y="62"/>
                  </a:lnTo>
                  <a:lnTo>
                    <a:pt x="52" y="48"/>
                  </a:lnTo>
                  <a:lnTo>
                    <a:pt x="32" y="26"/>
                  </a:lnTo>
                  <a:lnTo>
                    <a:pt x="32" y="16"/>
                  </a:lnTo>
                  <a:lnTo>
                    <a:pt x="40" y="8"/>
                  </a:lnTo>
                  <a:lnTo>
                    <a:pt x="60" y="2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37" name="Freeform 53"/>
            <p:cNvSpPr>
              <a:spLocks/>
            </p:cNvSpPr>
            <p:nvPr/>
          </p:nvSpPr>
          <p:spPr bwMode="gray">
            <a:xfrm>
              <a:off x="5053013" y="3941763"/>
              <a:ext cx="277812" cy="214312"/>
            </a:xfrm>
            <a:custGeom>
              <a:avLst/>
              <a:gdLst>
                <a:gd name="T0" fmla="*/ 2147483647 w 234"/>
                <a:gd name="T1" fmla="*/ 2147483647 h 178"/>
                <a:gd name="T2" fmla="*/ 2147483647 w 234"/>
                <a:gd name="T3" fmla="*/ 2147483647 h 178"/>
                <a:gd name="T4" fmla="*/ 2147483647 w 234"/>
                <a:gd name="T5" fmla="*/ 0 h 178"/>
                <a:gd name="T6" fmla="*/ 2147483647 w 234"/>
                <a:gd name="T7" fmla="*/ 2147483647 h 178"/>
                <a:gd name="T8" fmla="*/ 2147483647 w 234"/>
                <a:gd name="T9" fmla="*/ 2147483647 h 178"/>
                <a:gd name="T10" fmla="*/ 2147483647 w 234"/>
                <a:gd name="T11" fmla="*/ 2147483647 h 178"/>
                <a:gd name="T12" fmla="*/ 2147483647 w 234"/>
                <a:gd name="T13" fmla="*/ 2147483647 h 178"/>
                <a:gd name="T14" fmla="*/ 2147483647 w 234"/>
                <a:gd name="T15" fmla="*/ 2147483647 h 178"/>
                <a:gd name="T16" fmla="*/ 2147483647 w 234"/>
                <a:gd name="T17" fmla="*/ 2147483647 h 178"/>
                <a:gd name="T18" fmla="*/ 2147483647 w 234"/>
                <a:gd name="T19" fmla="*/ 2147483647 h 178"/>
                <a:gd name="T20" fmla="*/ 2147483647 w 234"/>
                <a:gd name="T21" fmla="*/ 2147483647 h 178"/>
                <a:gd name="T22" fmla="*/ 2147483647 w 234"/>
                <a:gd name="T23" fmla="*/ 2147483647 h 178"/>
                <a:gd name="T24" fmla="*/ 2147483647 w 234"/>
                <a:gd name="T25" fmla="*/ 2147483647 h 178"/>
                <a:gd name="T26" fmla="*/ 2147483647 w 234"/>
                <a:gd name="T27" fmla="*/ 2147483647 h 178"/>
                <a:gd name="T28" fmla="*/ 2147483647 w 234"/>
                <a:gd name="T29" fmla="*/ 2147483647 h 178"/>
                <a:gd name="T30" fmla="*/ 2147483647 w 234"/>
                <a:gd name="T31" fmla="*/ 2147483647 h 178"/>
                <a:gd name="T32" fmla="*/ 2147483647 w 234"/>
                <a:gd name="T33" fmla="*/ 2147483647 h 178"/>
                <a:gd name="T34" fmla="*/ 2147483647 w 234"/>
                <a:gd name="T35" fmla="*/ 2147483647 h 178"/>
                <a:gd name="T36" fmla="*/ 2147483647 w 234"/>
                <a:gd name="T37" fmla="*/ 2147483647 h 178"/>
                <a:gd name="T38" fmla="*/ 2147483647 w 234"/>
                <a:gd name="T39" fmla="*/ 2147483647 h 178"/>
                <a:gd name="T40" fmla="*/ 2147483647 w 234"/>
                <a:gd name="T41" fmla="*/ 2147483647 h 178"/>
                <a:gd name="T42" fmla="*/ 2147483647 w 234"/>
                <a:gd name="T43" fmla="*/ 2147483647 h 178"/>
                <a:gd name="T44" fmla="*/ 2147483647 w 234"/>
                <a:gd name="T45" fmla="*/ 2147483647 h 178"/>
                <a:gd name="T46" fmla="*/ 0 w 234"/>
                <a:gd name="T47" fmla="*/ 2147483647 h 178"/>
                <a:gd name="T48" fmla="*/ 2147483647 w 234"/>
                <a:gd name="T49" fmla="*/ 2147483647 h 178"/>
                <a:gd name="T50" fmla="*/ 2147483647 w 234"/>
                <a:gd name="T51" fmla="*/ 2147483647 h 178"/>
                <a:gd name="T52" fmla="*/ 2147483647 w 234"/>
                <a:gd name="T53" fmla="*/ 2147483647 h 178"/>
                <a:gd name="T54" fmla="*/ 2147483647 w 234"/>
                <a:gd name="T55" fmla="*/ 2147483647 h 178"/>
                <a:gd name="T56" fmla="*/ 2147483647 w 234"/>
                <a:gd name="T57" fmla="*/ 2147483647 h 17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34"/>
                <a:gd name="T88" fmla="*/ 0 h 178"/>
                <a:gd name="T89" fmla="*/ 234 w 234"/>
                <a:gd name="T90" fmla="*/ 178 h 17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34" h="178">
                  <a:moveTo>
                    <a:pt x="56" y="6"/>
                  </a:moveTo>
                  <a:lnTo>
                    <a:pt x="78" y="6"/>
                  </a:lnTo>
                  <a:lnTo>
                    <a:pt x="80" y="0"/>
                  </a:lnTo>
                  <a:lnTo>
                    <a:pt x="114" y="2"/>
                  </a:lnTo>
                  <a:lnTo>
                    <a:pt x="150" y="36"/>
                  </a:lnTo>
                  <a:lnTo>
                    <a:pt x="142" y="46"/>
                  </a:lnTo>
                  <a:lnTo>
                    <a:pt x="142" y="58"/>
                  </a:lnTo>
                  <a:lnTo>
                    <a:pt x="158" y="60"/>
                  </a:lnTo>
                  <a:lnTo>
                    <a:pt x="158" y="70"/>
                  </a:lnTo>
                  <a:lnTo>
                    <a:pt x="178" y="92"/>
                  </a:lnTo>
                  <a:lnTo>
                    <a:pt x="234" y="106"/>
                  </a:lnTo>
                  <a:lnTo>
                    <a:pt x="192" y="152"/>
                  </a:lnTo>
                  <a:lnTo>
                    <a:pt x="166" y="156"/>
                  </a:lnTo>
                  <a:lnTo>
                    <a:pt x="142" y="170"/>
                  </a:lnTo>
                  <a:lnTo>
                    <a:pt x="130" y="174"/>
                  </a:lnTo>
                  <a:lnTo>
                    <a:pt x="124" y="166"/>
                  </a:lnTo>
                  <a:lnTo>
                    <a:pt x="104" y="178"/>
                  </a:lnTo>
                  <a:lnTo>
                    <a:pt x="80" y="176"/>
                  </a:lnTo>
                  <a:lnTo>
                    <a:pt x="44" y="160"/>
                  </a:lnTo>
                  <a:lnTo>
                    <a:pt x="44" y="146"/>
                  </a:lnTo>
                  <a:lnTo>
                    <a:pt x="38" y="146"/>
                  </a:lnTo>
                  <a:lnTo>
                    <a:pt x="14" y="114"/>
                  </a:lnTo>
                  <a:lnTo>
                    <a:pt x="4" y="112"/>
                  </a:lnTo>
                  <a:lnTo>
                    <a:pt x="0" y="98"/>
                  </a:lnTo>
                  <a:lnTo>
                    <a:pt x="20" y="98"/>
                  </a:lnTo>
                  <a:lnTo>
                    <a:pt x="20" y="62"/>
                  </a:lnTo>
                  <a:lnTo>
                    <a:pt x="32" y="60"/>
                  </a:lnTo>
                  <a:lnTo>
                    <a:pt x="32" y="44"/>
                  </a:lnTo>
                  <a:lnTo>
                    <a:pt x="56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38" name="Freeform 54"/>
            <p:cNvSpPr>
              <a:spLocks/>
            </p:cNvSpPr>
            <p:nvPr/>
          </p:nvSpPr>
          <p:spPr bwMode="gray">
            <a:xfrm>
              <a:off x="4595813" y="3973513"/>
              <a:ext cx="141287" cy="214312"/>
            </a:xfrm>
            <a:custGeom>
              <a:avLst/>
              <a:gdLst>
                <a:gd name="T0" fmla="*/ 2147483647 w 119"/>
                <a:gd name="T1" fmla="*/ 0 h 178"/>
                <a:gd name="T2" fmla="*/ 2147483647 w 119"/>
                <a:gd name="T3" fmla="*/ 2147483647 h 178"/>
                <a:gd name="T4" fmla="*/ 2147483647 w 119"/>
                <a:gd name="T5" fmla="*/ 2147483647 h 178"/>
                <a:gd name="T6" fmla="*/ 2147483647 w 119"/>
                <a:gd name="T7" fmla="*/ 2147483647 h 178"/>
                <a:gd name="T8" fmla="*/ 2147483647 w 119"/>
                <a:gd name="T9" fmla="*/ 2147483647 h 178"/>
                <a:gd name="T10" fmla="*/ 2147483647 w 119"/>
                <a:gd name="T11" fmla="*/ 2147483647 h 178"/>
                <a:gd name="T12" fmla="*/ 2147483647 w 119"/>
                <a:gd name="T13" fmla="*/ 2147483647 h 178"/>
                <a:gd name="T14" fmla="*/ 2147483647 w 119"/>
                <a:gd name="T15" fmla="*/ 2147483647 h 178"/>
                <a:gd name="T16" fmla="*/ 2147483647 w 119"/>
                <a:gd name="T17" fmla="*/ 2147483647 h 178"/>
                <a:gd name="T18" fmla="*/ 2147483647 w 119"/>
                <a:gd name="T19" fmla="*/ 2147483647 h 178"/>
                <a:gd name="T20" fmla="*/ 2147483647 w 119"/>
                <a:gd name="T21" fmla="*/ 2147483647 h 178"/>
                <a:gd name="T22" fmla="*/ 2147483647 w 119"/>
                <a:gd name="T23" fmla="*/ 2147483647 h 178"/>
                <a:gd name="T24" fmla="*/ 2147483647 w 119"/>
                <a:gd name="T25" fmla="*/ 2147483647 h 178"/>
                <a:gd name="T26" fmla="*/ 2147483647 w 119"/>
                <a:gd name="T27" fmla="*/ 2147483647 h 178"/>
                <a:gd name="T28" fmla="*/ 2147483647 w 119"/>
                <a:gd name="T29" fmla="*/ 2147483647 h 178"/>
                <a:gd name="T30" fmla="*/ 2147483647 w 119"/>
                <a:gd name="T31" fmla="*/ 2147483647 h 178"/>
                <a:gd name="T32" fmla="*/ 2147483647 w 119"/>
                <a:gd name="T33" fmla="*/ 2147483647 h 178"/>
                <a:gd name="T34" fmla="*/ 0 w 119"/>
                <a:gd name="T35" fmla="*/ 2147483647 h 178"/>
                <a:gd name="T36" fmla="*/ 2147483647 w 119"/>
                <a:gd name="T37" fmla="*/ 2147483647 h 178"/>
                <a:gd name="T38" fmla="*/ 2147483647 w 119"/>
                <a:gd name="T39" fmla="*/ 2147483647 h 178"/>
                <a:gd name="T40" fmla="*/ 2147483647 w 119"/>
                <a:gd name="T41" fmla="*/ 2147483647 h 178"/>
                <a:gd name="T42" fmla="*/ 2147483647 w 119"/>
                <a:gd name="T43" fmla="*/ 2147483647 h 178"/>
                <a:gd name="T44" fmla="*/ 2147483647 w 119"/>
                <a:gd name="T45" fmla="*/ 2147483647 h 178"/>
                <a:gd name="T46" fmla="*/ 2147483647 w 119"/>
                <a:gd name="T47" fmla="*/ 2147483647 h 178"/>
                <a:gd name="T48" fmla="*/ 2147483647 w 119"/>
                <a:gd name="T49" fmla="*/ 2147483647 h 178"/>
                <a:gd name="T50" fmla="*/ 2147483647 w 119"/>
                <a:gd name="T51" fmla="*/ 0 h 17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9"/>
                <a:gd name="T79" fmla="*/ 0 h 178"/>
                <a:gd name="T80" fmla="*/ 119 w 119"/>
                <a:gd name="T81" fmla="*/ 178 h 17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9" h="178">
                  <a:moveTo>
                    <a:pt x="91" y="0"/>
                  </a:moveTo>
                  <a:lnTo>
                    <a:pt x="99" y="12"/>
                  </a:lnTo>
                  <a:lnTo>
                    <a:pt x="101" y="36"/>
                  </a:lnTo>
                  <a:lnTo>
                    <a:pt x="107" y="46"/>
                  </a:lnTo>
                  <a:lnTo>
                    <a:pt x="87" y="46"/>
                  </a:lnTo>
                  <a:lnTo>
                    <a:pt x="85" y="56"/>
                  </a:lnTo>
                  <a:lnTo>
                    <a:pt x="115" y="88"/>
                  </a:lnTo>
                  <a:lnTo>
                    <a:pt x="95" y="104"/>
                  </a:lnTo>
                  <a:lnTo>
                    <a:pt x="95" y="120"/>
                  </a:lnTo>
                  <a:lnTo>
                    <a:pt x="105" y="146"/>
                  </a:lnTo>
                  <a:lnTo>
                    <a:pt x="119" y="162"/>
                  </a:lnTo>
                  <a:lnTo>
                    <a:pt x="117" y="176"/>
                  </a:lnTo>
                  <a:lnTo>
                    <a:pt x="99" y="178"/>
                  </a:lnTo>
                  <a:lnTo>
                    <a:pt x="99" y="170"/>
                  </a:lnTo>
                  <a:lnTo>
                    <a:pt x="18" y="170"/>
                  </a:lnTo>
                  <a:lnTo>
                    <a:pt x="18" y="146"/>
                  </a:lnTo>
                  <a:lnTo>
                    <a:pt x="10" y="138"/>
                  </a:lnTo>
                  <a:lnTo>
                    <a:pt x="0" y="132"/>
                  </a:lnTo>
                  <a:lnTo>
                    <a:pt x="2" y="114"/>
                  </a:lnTo>
                  <a:lnTo>
                    <a:pt x="22" y="96"/>
                  </a:lnTo>
                  <a:lnTo>
                    <a:pt x="32" y="96"/>
                  </a:lnTo>
                  <a:lnTo>
                    <a:pt x="43" y="104"/>
                  </a:lnTo>
                  <a:lnTo>
                    <a:pt x="83" y="28"/>
                  </a:lnTo>
                  <a:lnTo>
                    <a:pt x="93" y="26"/>
                  </a:lnTo>
                  <a:lnTo>
                    <a:pt x="91" y="12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39" name="Freeform 55"/>
            <p:cNvSpPr>
              <a:spLocks/>
            </p:cNvSpPr>
            <p:nvPr/>
          </p:nvSpPr>
          <p:spPr bwMode="gray">
            <a:xfrm>
              <a:off x="4484688" y="3954463"/>
              <a:ext cx="220662" cy="182562"/>
            </a:xfrm>
            <a:custGeom>
              <a:avLst/>
              <a:gdLst>
                <a:gd name="T0" fmla="*/ 2147483647 w 187"/>
                <a:gd name="T1" fmla="*/ 2147483647 h 150"/>
                <a:gd name="T2" fmla="*/ 2147483647 w 187"/>
                <a:gd name="T3" fmla="*/ 2147483647 h 150"/>
                <a:gd name="T4" fmla="*/ 2147483647 w 187"/>
                <a:gd name="T5" fmla="*/ 2147483647 h 150"/>
                <a:gd name="T6" fmla="*/ 2147483647 w 187"/>
                <a:gd name="T7" fmla="*/ 2147483647 h 150"/>
                <a:gd name="T8" fmla="*/ 2147483647 w 187"/>
                <a:gd name="T9" fmla="*/ 2147483647 h 150"/>
                <a:gd name="T10" fmla="*/ 2147483647 w 187"/>
                <a:gd name="T11" fmla="*/ 2147483647 h 150"/>
                <a:gd name="T12" fmla="*/ 0 w 187"/>
                <a:gd name="T13" fmla="*/ 2147483647 h 150"/>
                <a:gd name="T14" fmla="*/ 2147483647 w 187"/>
                <a:gd name="T15" fmla="*/ 2147483647 h 150"/>
                <a:gd name="T16" fmla="*/ 2147483647 w 187"/>
                <a:gd name="T17" fmla="*/ 2147483647 h 150"/>
                <a:gd name="T18" fmla="*/ 2147483647 w 187"/>
                <a:gd name="T19" fmla="*/ 2147483647 h 150"/>
                <a:gd name="T20" fmla="*/ 2147483647 w 187"/>
                <a:gd name="T21" fmla="*/ 2147483647 h 150"/>
                <a:gd name="T22" fmla="*/ 2147483647 w 187"/>
                <a:gd name="T23" fmla="*/ 2147483647 h 150"/>
                <a:gd name="T24" fmla="*/ 2147483647 w 187"/>
                <a:gd name="T25" fmla="*/ 2147483647 h 150"/>
                <a:gd name="T26" fmla="*/ 2147483647 w 187"/>
                <a:gd name="T27" fmla="*/ 2147483647 h 150"/>
                <a:gd name="T28" fmla="*/ 2147483647 w 187"/>
                <a:gd name="T29" fmla="*/ 2147483647 h 150"/>
                <a:gd name="T30" fmla="*/ 2147483647 w 187"/>
                <a:gd name="T31" fmla="*/ 2147483647 h 150"/>
                <a:gd name="T32" fmla="*/ 2147483647 w 187"/>
                <a:gd name="T33" fmla="*/ 2147483647 h 150"/>
                <a:gd name="T34" fmla="*/ 2147483647 w 187"/>
                <a:gd name="T35" fmla="*/ 0 h 150"/>
                <a:gd name="T36" fmla="*/ 2147483647 w 187"/>
                <a:gd name="T37" fmla="*/ 2147483647 h 150"/>
                <a:gd name="T38" fmla="*/ 2147483647 w 187"/>
                <a:gd name="T39" fmla="*/ 2147483647 h 150"/>
                <a:gd name="T40" fmla="*/ 2147483647 w 187"/>
                <a:gd name="T41" fmla="*/ 2147483647 h 150"/>
                <a:gd name="T42" fmla="*/ 2147483647 w 187"/>
                <a:gd name="T43" fmla="*/ 2147483647 h 150"/>
                <a:gd name="T44" fmla="*/ 2147483647 w 187"/>
                <a:gd name="T45" fmla="*/ 2147483647 h 150"/>
                <a:gd name="T46" fmla="*/ 2147483647 w 187"/>
                <a:gd name="T47" fmla="*/ 2147483647 h 150"/>
                <a:gd name="T48" fmla="*/ 2147483647 w 187"/>
                <a:gd name="T49" fmla="*/ 2147483647 h 150"/>
                <a:gd name="T50" fmla="*/ 2147483647 w 187"/>
                <a:gd name="T51" fmla="*/ 2147483647 h 15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87"/>
                <a:gd name="T79" fmla="*/ 0 h 150"/>
                <a:gd name="T80" fmla="*/ 187 w 187"/>
                <a:gd name="T81" fmla="*/ 150 h 15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87" h="150">
                  <a:moveTo>
                    <a:pt x="94" y="146"/>
                  </a:moveTo>
                  <a:lnTo>
                    <a:pt x="64" y="150"/>
                  </a:lnTo>
                  <a:lnTo>
                    <a:pt x="44" y="148"/>
                  </a:lnTo>
                  <a:lnTo>
                    <a:pt x="46" y="132"/>
                  </a:lnTo>
                  <a:lnTo>
                    <a:pt x="22" y="118"/>
                  </a:lnTo>
                  <a:lnTo>
                    <a:pt x="2" y="116"/>
                  </a:lnTo>
                  <a:lnTo>
                    <a:pt x="0" y="78"/>
                  </a:lnTo>
                  <a:lnTo>
                    <a:pt x="22" y="52"/>
                  </a:lnTo>
                  <a:lnTo>
                    <a:pt x="10" y="42"/>
                  </a:lnTo>
                  <a:lnTo>
                    <a:pt x="12" y="34"/>
                  </a:lnTo>
                  <a:lnTo>
                    <a:pt x="24" y="2"/>
                  </a:lnTo>
                  <a:lnTo>
                    <a:pt x="54" y="2"/>
                  </a:lnTo>
                  <a:lnTo>
                    <a:pt x="70" y="14"/>
                  </a:lnTo>
                  <a:lnTo>
                    <a:pt x="80" y="8"/>
                  </a:lnTo>
                  <a:lnTo>
                    <a:pt x="108" y="18"/>
                  </a:lnTo>
                  <a:lnTo>
                    <a:pt x="114" y="10"/>
                  </a:lnTo>
                  <a:lnTo>
                    <a:pt x="149" y="14"/>
                  </a:lnTo>
                  <a:lnTo>
                    <a:pt x="171" y="0"/>
                  </a:lnTo>
                  <a:lnTo>
                    <a:pt x="185" y="14"/>
                  </a:lnTo>
                  <a:lnTo>
                    <a:pt x="187" y="40"/>
                  </a:lnTo>
                  <a:lnTo>
                    <a:pt x="177" y="42"/>
                  </a:lnTo>
                  <a:lnTo>
                    <a:pt x="137" y="118"/>
                  </a:lnTo>
                  <a:lnTo>
                    <a:pt x="126" y="110"/>
                  </a:lnTo>
                  <a:lnTo>
                    <a:pt x="116" y="110"/>
                  </a:lnTo>
                  <a:lnTo>
                    <a:pt x="96" y="128"/>
                  </a:lnTo>
                  <a:lnTo>
                    <a:pt x="94" y="14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40" name="Freeform 56"/>
            <p:cNvSpPr>
              <a:spLocks/>
            </p:cNvSpPr>
            <p:nvPr/>
          </p:nvSpPr>
          <p:spPr bwMode="gray">
            <a:xfrm>
              <a:off x="4445000" y="3984625"/>
              <a:ext cx="65088" cy="115888"/>
            </a:xfrm>
            <a:custGeom>
              <a:avLst/>
              <a:gdLst>
                <a:gd name="T0" fmla="*/ 2147483647 w 54"/>
                <a:gd name="T1" fmla="*/ 2147483647 h 96"/>
                <a:gd name="T2" fmla="*/ 2147483647 w 54"/>
                <a:gd name="T3" fmla="*/ 0 h 96"/>
                <a:gd name="T4" fmla="*/ 2147483647 w 54"/>
                <a:gd name="T5" fmla="*/ 2147483647 h 96"/>
                <a:gd name="T6" fmla="*/ 2147483647 w 54"/>
                <a:gd name="T7" fmla="*/ 2147483647 h 96"/>
                <a:gd name="T8" fmla="*/ 2147483647 w 54"/>
                <a:gd name="T9" fmla="*/ 2147483647 h 96"/>
                <a:gd name="T10" fmla="*/ 2147483647 w 54"/>
                <a:gd name="T11" fmla="*/ 2147483647 h 96"/>
                <a:gd name="T12" fmla="*/ 2147483647 w 54"/>
                <a:gd name="T13" fmla="*/ 2147483647 h 96"/>
                <a:gd name="T14" fmla="*/ 2147483647 w 54"/>
                <a:gd name="T15" fmla="*/ 2147483647 h 96"/>
                <a:gd name="T16" fmla="*/ 2147483647 w 54"/>
                <a:gd name="T17" fmla="*/ 2147483647 h 96"/>
                <a:gd name="T18" fmla="*/ 0 w 54"/>
                <a:gd name="T19" fmla="*/ 2147483647 h 96"/>
                <a:gd name="T20" fmla="*/ 2147483647 w 54"/>
                <a:gd name="T21" fmla="*/ 2147483647 h 96"/>
                <a:gd name="T22" fmla="*/ 2147483647 w 54"/>
                <a:gd name="T23" fmla="*/ 2147483647 h 96"/>
                <a:gd name="T24" fmla="*/ 2147483647 w 54"/>
                <a:gd name="T25" fmla="*/ 2147483647 h 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4"/>
                <a:gd name="T40" fmla="*/ 0 h 96"/>
                <a:gd name="T41" fmla="*/ 54 w 54"/>
                <a:gd name="T42" fmla="*/ 96 h 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4" h="96">
                  <a:moveTo>
                    <a:pt x="20" y="2"/>
                  </a:moveTo>
                  <a:lnTo>
                    <a:pt x="34" y="0"/>
                  </a:lnTo>
                  <a:lnTo>
                    <a:pt x="44" y="10"/>
                  </a:lnTo>
                  <a:lnTo>
                    <a:pt x="42" y="18"/>
                  </a:lnTo>
                  <a:lnTo>
                    <a:pt x="54" y="28"/>
                  </a:lnTo>
                  <a:lnTo>
                    <a:pt x="32" y="54"/>
                  </a:lnTo>
                  <a:lnTo>
                    <a:pt x="34" y="92"/>
                  </a:lnTo>
                  <a:lnTo>
                    <a:pt x="12" y="96"/>
                  </a:lnTo>
                  <a:lnTo>
                    <a:pt x="12" y="48"/>
                  </a:lnTo>
                  <a:lnTo>
                    <a:pt x="0" y="32"/>
                  </a:lnTo>
                  <a:lnTo>
                    <a:pt x="4" y="20"/>
                  </a:lnTo>
                  <a:lnTo>
                    <a:pt x="20" y="16"/>
                  </a:lnTo>
                  <a:lnTo>
                    <a:pt x="20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41" name="Freeform 57"/>
            <p:cNvSpPr>
              <a:spLocks/>
            </p:cNvSpPr>
            <p:nvPr/>
          </p:nvSpPr>
          <p:spPr bwMode="gray">
            <a:xfrm>
              <a:off x="4424363" y="4008438"/>
              <a:ext cx="36512" cy="96837"/>
            </a:xfrm>
            <a:custGeom>
              <a:avLst/>
              <a:gdLst>
                <a:gd name="T0" fmla="*/ 2147483647 w 30"/>
                <a:gd name="T1" fmla="*/ 2147483647 h 80"/>
                <a:gd name="T2" fmla="*/ 2147483647 w 30"/>
                <a:gd name="T3" fmla="*/ 2147483647 h 80"/>
                <a:gd name="T4" fmla="*/ 2147483647 w 30"/>
                <a:gd name="T5" fmla="*/ 2147483647 h 80"/>
                <a:gd name="T6" fmla="*/ 2147483647 w 30"/>
                <a:gd name="T7" fmla="*/ 2147483647 h 80"/>
                <a:gd name="T8" fmla="*/ 2147483647 w 30"/>
                <a:gd name="T9" fmla="*/ 2147483647 h 80"/>
                <a:gd name="T10" fmla="*/ 0 w 30"/>
                <a:gd name="T11" fmla="*/ 0 h 80"/>
                <a:gd name="T12" fmla="*/ 2147483647 w 30"/>
                <a:gd name="T13" fmla="*/ 0 h 80"/>
                <a:gd name="T14" fmla="*/ 2147483647 w 30"/>
                <a:gd name="T15" fmla="*/ 2147483647 h 80"/>
                <a:gd name="T16" fmla="*/ 2147483647 w 30"/>
                <a:gd name="T17" fmla="*/ 2147483647 h 80"/>
                <a:gd name="T18" fmla="*/ 2147483647 w 30"/>
                <a:gd name="T19" fmla="*/ 2147483647 h 8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80"/>
                <a:gd name="T32" fmla="*/ 30 w 30"/>
                <a:gd name="T33" fmla="*/ 80 h 8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80">
                  <a:moveTo>
                    <a:pt x="30" y="76"/>
                  </a:moveTo>
                  <a:lnTo>
                    <a:pt x="16" y="80"/>
                  </a:lnTo>
                  <a:lnTo>
                    <a:pt x="12" y="48"/>
                  </a:lnTo>
                  <a:lnTo>
                    <a:pt x="8" y="34"/>
                  </a:lnTo>
                  <a:lnTo>
                    <a:pt x="12" y="18"/>
                  </a:lnTo>
                  <a:lnTo>
                    <a:pt x="0" y="0"/>
                  </a:lnTo>
                  <a:lnTo>
                    <a:pt x="22" y="0"/>
                  </a:lnTo>
                  <a:lnTo>
                    <a:pt x="18" y="12"/>
                  </a:lnTo>
                  <a:lnTo>
                    <a:pt x="30" y="28"/>
                  </a:lnTo>
                  <a:lnTo>
                    <a:pt x="30" y="7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42" name="Freeform 58"/>
            <p:cNvSpPr>
              <a:spLocks/>
            </p:cNvSpPr>
            <p:nvPr/>
          </p:nvSpPr>
          <p:spPr bwMode="gray">
            <a:xfrm>
              <a:off x="4203700" y="3736975"/>
              <a:ext cx="306388" cy="287338"/>
            </a:xfrm>
            <a:custGeom>
              <a:avLst/>
              <a:gdLst>
                <a:gd name="T0" fmla="*/ 2147483647 w 258"/>
                <a:gd name="T1" fmla="*/ 0 h 236"/>
                <a:gd name="T2" fmla="*/ 2147483647 w 258"/>
                <a:gd name="T3" fmla="*/ 2147483647 h 236"/>
                <a:gd name="T4" fmla="*/ 2147483647 w 258"/>
                <a:gd name="T5" fmla="*/ 2147483647 h 236"/>
                <a:gd name="T6" fmla="*/ 2147483647 w 258"/>
                <a:gd name="T7" fmla="*/ 2147483647 h 236"/>
                <a:gd name="T8" fmla="*/ 2147483647 w 258"/>
                <a:gd name="T9" fmla="*/ 2147483647 h 236"/>
                <a:gd name="T10" fmla="*/ 2147483647 w 258"/>
                <a:gd name="T11" fmla="*/ 2147483647 h 236"/>
                <a:gd name="T12" fmla="*/ 2147483647 w 258"/>
                <a:gd name="T13" fmla="*/ 2147483647 h 236"/>
                <a:gd name="T14" fmla="*/ 2147483647 w 258"/>
                <a:gd name="T15" fmla="*/ 2147483647 h 236"/>
                <a:gd name="T16" fmla="*/ 2147483647 w 258"/>
                <a:gd name="T17" fmla="*/ 2147483647 h 236"/>
                <a:gd name="T18" fmla="*/ 2147483647 w 258"/>
                <a:gd name="T19" fmla="*/ 2147483647 h 236"/>
                <a:gd name="T20" fmla="*/ 2147483647 w 258"/>
                <a:gd name="T21" fmla="*/ 2147483647 h 236"/>
                <a:gd name="T22" fmla="*/ 2147483647 w 258"/>
                <a:gd name="T23" fmla="*/ 2147483647 h 236"/>
                <a:gd name="T24" fmla="*/ 2147483647 w 258"/>
                <a:gd name="T25" fmla="*/ 2147483647 h 236"/>
                <a:gd name="T26" fmla="*/ 2147483647 w 258"/>
                <a:gd name="T27" fmla="*/ 2147483647 h 236"/>
                <a:gd name="T28" fmla="*/ 2147483647 w 258"/>
                <a:gd name="T29" fmla="*/ 2147483647 h 236"/>
                <a:gd name="T30" fmla="*/ 2147483647 w 258"/>
                <a:gd name="T31" fmla="*/ 2147483647 h 236"/>
                <a:gd name="T32" fmla="*/ 2147483647 w 258"/>
                <a:gd name="T33" fmla="*/ 2147483647 h 236"/>
                <a:gd name="T34" fmla="*/ 2147483647 w 258"/>
                <a:gd name="T35" fmla="*/ 2147483647 h 236"/>
                <a:gd name="T36" fmla="*/ 2147483647 w 258"/>
                <a:gd name="T37" fmla="*/ 2147483647 h 236"/>
                <a:gd name="T38" fmla="*/ 2147483647 w 258"/>
                <a:gd name="T39" fmla="*/ 2147483647 h 236"/>
                <a:gd name="T40" fmla="*/ 2147483647 w 258"/>
                <a:gd name="T41" fmla="*/ 2147483647 h 236"/>
                <a:gd name="T42" fmla="*/ 2147483647 w 258"/>
                <a:gd name="T43" fmla="*/ 2147483647 h 236"/>
                <a:gd name="T44" fmla="*/ 2147483647 w 258"/>
                <a:gd name="T45" fmla="*/ 2147483647 h 236"/>
                <a:gd name="T46" fmla="*/ 2147483647 w 258"/>
                <a:gd name="T47" fmla="*/ 2147483647 h 236"/>
                <a:gd name="T48" fmla="*/ 2147483647 w 258"/>
                <a:gd name="T49" fmla="*/ 2147483647 h 236"/>
                <a:gd name="T50" fmla="*/ 2147483647 w 258"/>
                <a:gd name="T51" fmla="*/ 2147483647 h 236"/>
                <a:gd name="T52" fmla="*/ 2147483647 w 258"/>
                <a:gd name="T53" fmla="*/ 2147483647 h 236"/>
                <a:gd name="T54" fmla="*/ 0 w 258"/>
                <a:gd name="T55" fmla="*/ 2147483647 h 236"/>
                <a:gd name="T56" fmla="*/ 2147483647 w 258"/>
                <a:gd name="T57" fmla="*/ 2147483647 h 236"/>
                <a:gd name="T58" fmla="*/ 2147483647 w 258"/>
                <a:gd name="T59" fmla="*/ 2147483647 h 236"/>
                <a:gd name="T60" fmla="*/ 2147483647 w 258"/>
                <a:gd name="T61" fmla="*/ 2147483647 h 236"/>
                <a:gd name="T62" fmla="*/ 2147483647 w 258"/>
                <a:gd name="T63" fmla="*/ 2147483647 h 236"/>
                <a:gd name="T64" fmla="*/ 2147483647 w 258"/>
                <a:gd name="T65" fmla="*/ 0 h 236"/>
                <a:gd name="T66" fmla="*/ 2147483647 w 258"/>
                <a:gd name="T67" fmla="*/ 0 h 2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58"/>
                <a:gd name="T103" fmla="*/ 0 h 236"/>
                <a:gd name="T104" fmla="*/ 258 w 258"/>
                <a:gd name="T105" fmla="*/ 236 h 2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58" h="236">
                  <a:moveTo>
                    <a:pt x="120" y="0"/>
                  </a:moveTo>
                  <a:lnTo>
                    <a:pt x="210" y="60"/>
                  </a:lnTo>
                  <a:lnTo>
                    <a:pt x="224" y="74"/>
                  </a:lnTo>
                  <a:lnTo>
                    <a:pt x="244" y="82"/>
                  </a:lnTo>
                  <a:lnTo>
                    <a:pt x="242" y="98"/>
                  </a:lnTo>
                  <a:lnTo>
                    <a:pt x="258" y="96"/>
                  </a:lnTo>
                  <a:lnTo>
                    <a:pt x="258" y="138"/>
                  </a:lnTo>
                  <a:lnTo>
                    <a:pt x="246" y="156"/>
                  </a:lnTo>
                  <a:lnTo>
                    <a:pt x="212" y="162"/>
                  </a:lnTo>
                  <a:lnTo>
                    <a:pt x="198" y="162"/>
                  </a:lnTo>
                  <a:lnTo>
                    <a:pt x="178" y="162"/>
                  </a:lnTo>
                  <a:lnTo>
                    <a:pt x="154" y="172"/>
                  </a:lnTo>
                  <a:lnTo>
                    <a:pt x="136" y="190"/>
                  </a:lnTo>
                  <a:lnTo>
                    <a:pt x="128" y="186"/>
                  </a:lnTo>
                  <a:lnTo>
                    <a:pt x="118" y="210"/>
                  </a:lnTo>
                  <a:lnTo>
                    <a:pt x="108" y="212"/>
                  </a:lnTo>
                  <a:lnTo>
                    <a:pt x="104" y="234"/>
                  </a:lnTo>
                  <a:lnTo>
                    <a:pt x="64" y="236"/>
                  </a:lnTo>
                  <a:lnTo>
                    <a:pt x="56" y="218"/>
                  </a:lnTo>
                  <a:lnTo>
                    <a:pt x="50" y="204"/>
                  </a:lnTo>
                  <a:lnTo>
                    <a:pt x="24" y="210"/>
                  </a:lnTo>
                  <a:lnTo>
                    <a:pt x="12" y="206"/>
                  </a:lnTo>
                  <a:lnTo>
                    <a:pt x="12" y="204"/>
                  </a:lnTo>
                  <a:lnTo>
                    <a:pt x="12" y="200"/>
                  </a:lnTo>
                  <a:lnTo>
                    <a:pt x="10" y="192"/>
                  </a:lnTo>
                  <a:lnTo>
                    <a:pt x="4" y="184"/>
                  </a:lnTo>
                  <a:lnTo>
                    <a:pt x="2" y="172"/>
                  </a:lnTo>
                  <a:lnTo>
                    <a:pt x="0" y="166"/>
                  </a:lnTo>
                  <a:lnTo>
                    <a:pt x="6" y="152"/>
                  </a:lnTo>
                  <a:lnTo>
                    <a:pt x="106" y="154"/>
                  </a:lnTo>
                  <a:lnTo>
                    <a:pt x="108" y="144"/>
                  </a:lnTo>
                  <a:lnTo>
                    <a:pt x="102" y="136"/>
                  </a:lnTo>
                  <a:lnTo>
                    <a:pt x="90" y="0"/>
                  </a:lnTo>
                  <a:lnTo>
                    <a:pt x="12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43" name="Freeform 59"/>
            <p:cNvSpPr>
              <a:spLocks/>
            </p:cNvSpPr>
            <p:nvPr/>
          </p:nvSpPr>
          <p:spPr bwMode="gray">
            <a:xfrm>
              <a:off x="4327525" y="3933825"/>
              <a:ext cx="142875" cy="103188"/>
            </a:xfrm>
            <a:custGeom>
              <a:avLst/>
              <a:gdLst>
                <a:gd name="T0" fmla="*/ 2147483647 w 120"/>
                <a:gd name="T1" fmla="*/ 2147483647 h 86"/>
                <a:gd name="T2" fmla="*/ 2147483647 w 120"/>
                <a:gd name="T3" fmla="*/ 2147483647 h 86"/>
                <a:gd name="T4" fmla="*/ 2147483647 w 120"/>
                <a:gd name="T5" fmla="*/ 2147483647 h 86"/>
                <a:gd name="T6" fmla="*/ 2147483647 w 120"/>
                <a:gd name="T7" fmla="*/ 2147483647 h 86"/>
                <a:gd name="T8" fmla="*/ 0 w 120"/>
                <a:gd name="T9" fmla="*/ 2147483647 h 86"/>
                <a:gd name="T10" fmla="*/ 2147483647 w 120"/>
                <a:gd name="T11" fmla="*/ 2147483647 h 86"/>
                <a:gd name="T12" fmla="*/ 2147483647 w 120"/>
                <a:gd name="T13" fmla="*/ 2147483647 h 86"/>
                <a:gd name="T14" fmla="*/ 2147483647 w 120"/>
                <a:gd name="T15" fmla="*/ 2147483647 h 86"/>
                <a:gd name="T16" fmla="*/ 2147483647 w 120"/>
                <a:gd name="T17" fmla="*/ 2147483647 h 86"/>
                <a:gd name="T18" fmla="*/ 2147483647 w 120"/>
                <a:gd name="T19" fmla="*/ 2147483647 h 86"/>
                <a:gd name="T20" fmla="*/ 2147483647 w 120"/>
                <a:gd name="T21" fmla="*/ 0 h 86"/>
                <a:gd name="T22" fmla="*/ 2147483647 w 120"/>
                <a:gd name="T23" fmla="*/ 0 h 86"/>
                <a:gd name="T24" fmla="*/ 2147483647 w 120"/>
                <a:gd name="T25" fmla="*/ 2147483647 h 86"/>
                <a:gd name="T26" fmla="*/ 2147483647 w 120"/>
                <a:gd name="T27" fmla="*/ 2147483647 h 86"/>
                <a:gd name="T28" fmla="*/ 2147483647 w 120"/>
                <a:gd name="T29" fmla="*/ 2147483647 h 86"/>
                <a:gd name="T30" fmla="*/ 2147483647 w 120"/>
                <a:gd name="T31" fmla="*/ 2147483647 h 86"/>
                <a:gd name="T32" fmla="*/ 2147483647 w 120"/>
                <a:gd name="T33" fmla="*/ 2147483647 h 86"/>
                <a:gd name="T34" fmla="*/ 2147483647 w 120"/>
                <a:gd name="T35" fmla="*/ 2147483647 h 86"/>
                <a:gd name="T36" fmla="*/ 2147483647 w 120"/>
                <a:gd name="T37" fmla="*/ 2147483647 h 86"/>
                <a:gd name="T38" fmla="*/ 2147483647 w 120"/>
                <a:gd name="T39" fmla="*/ 2147483647 h 86"/>
                <a:gd name="T40" fmla="*/ 2147483647 w 120"/>
                <a:gd name="T41" fmla="*/ 2147483647 h 8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20"/>
                <a:gd name="T64" fmla="*/ 0 h 86"/>
                <a:gd name="T65" fmla="*/ 120 w 120"/>
                <a:gd name="T66" fmla="*/ 86 h 8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20" h="86">
                  <a:moveTo>
                    <a:pt x="44" y="62"/>
                  </a:moveTo>
                  <a:lnTo>
                    <a:pt x="44" y="84"/>
                  </a:lnTo>
                  <a:lnTo>
                    <a:pt x="30" y="78"/>
                  </a:lnTo>
                  <a:lnTo>
                    <a:pt x="20" y="86"/>
                  </a:lnTo>
                  <a:lnTo>
                    <a:pt x="0" y="72"/>
                  </a:lnTo>
                  <a:lnTo>
                    <a:pt x="4" y="50"/>
                  </a:lnTo>
                  <a:lnTo>
                    <a:pt x="14" y="48"/>
                  </a:lnTo>
                  <a:lnTo>
                    <a:pt x="24" y="24"/>
                  </a:lnTo>
                  <a:lnTo>
                    <a:pt x="32" y="28"/>
                  </a:lnTo>
                  <a:lnTo>
                    <a:pt x="50" y="10"/>
                  </a:lnTo>
                  <a:lnTo>
                    <a:pt x="74" y="0"/>
                  </a:lnTo>
                  <a:lnTo>
                    <a:pt x="94" y="0"/>
                  </a:lnTo>
                  <a:lnTo>
                    <a:pt x="90" y="8"/>
                  </a:lnTo>
                  <a:lnTo>
                    <a:pt x="92" y="14"/>
                  </a:lnTo>
                  <a:lnTo>
                    <a:pt x="104" y="28"/>
                  </a:lnTo>
                  <a:lnTo>
                    <a:pt x="102" y="34"/>
                  </a:lnTo>
                  <a:lnTo>
                    <a:pt x="120" y="44"/>
                  </a:lnTo>
                  <a:lnTo>
                    <a:pt x="120" y="58"/>
                  </a:lnTo>
                  <a:lnTo>
                    <a:pt x="104" y="62"/>
                  </a:lnTo>
                  <a:lnTo>
                    <a:pt x="82" y="62"/>
                  </a:lnTo>
                  <a:lnTo>
                    <a:pt x="44" y="6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44" name="Freeform 60"/>
            <p:cNvSpPr>
              <a:spLocks/>
            </p:cNvSpPr>
            <p:nvPr/>
          </p:nvSpPr>
          <p:spPr bwMode="gray">
            <a:xfrm>
              <a:off x="4371975" y="4008438"/>
              <a:ext cx="71438" cy="120650"/>
            </a:xfrm>
            <a:custGeom>
              <a:avLst/>
              <a:gdLst>
                <a:gd name="T0" fmla="*/ 2147483647 w 60"/>
                <a:gd name="T1" fmla="*/ 2147483647 h 100"/>
                <a:gd name="T2" fmla="*/ 2147483647 w 60"/>
                <a:gd name="T3" fmla="*/ 2147483647 h 100"/>
                <a:gd name="T4" fmla="*/ 2147483647 w 60"/>
                <a:gd name="T5" fmla="*/ 2147483647 h 100"/>
                <a:gd name="T6" fmla="*/ 2147483647 w 60"/>
                <a:gd name="T7" fmla="*/ 2147483647 h 100"/>
                <a:gd name="T8" fmla="*/ 2147483647 w 60"/>
                <a:gd name="T9" fmla="*/ 2147483647 h 100"/>
                <a:gd name="T10" fmla="*/ 0 w 60"/>
                <a:gd name="T11" fmla="*/ 2147483647 h 100"/>
                <a:gd name="T12" fmla="*/ 2147483647 w 60"/>
                <a:gd name="T13" fmla="*/ 2147483647 h 100"/>
                <a:gd name="T14" fmla="*/ 2147483647 w 60"/>
                <a:gd name="T15" fmla="*/ 2147483647 h 100"/>
                <a:gd name="T16" fmla="*/ 2147483647 w 60"/>
                <a:gd name="T17" fmla="*/ 0 h 100"/>
                <a:gd name="T18" fmla="*/ 2147483647 w 60"/>
                <a:gd name="T19" fmla="*/ 0 h 100"/>
                <a:gd name="T20" fmla="*/ 2147483647 w 60"/>
                <a:gd name="T21" fmla="*/ 2147483647 h 100"/>
                <a:gd name="T22" fmla="*/ 2147483647 w 60"/>
                <a:gd name="T23" fmla="*/ 2147483647 h 100"/>
                <a:gd name="T24" fmla="*/ 2147483647 w 60"/>
                <a:gd name="T25" fmla="*/ 2147483647 h 100"/>
                <a:gd name="T26" fmla="*/ 2147483647 w 60"/>
                <a:gd name="T27" fmla="*/ 2147483647 h 100"/>
                <a:gd name="T28" fmla="*/ 2147483647 w 60"/>
                <a:gd name="T29" fmla="*/ 2147483647 h 10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0"/>
                <a:gd name="T46" fmla="*/ 0 h 100"/>
                <a:gd name="T47" fmla="*/ 60 w 60"/>
                <a:gd name="T48" fmla="*/ 100 h 10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0" h="100">
                  <a:moveTo>
                    <a:pt x="60" y="80"/>
                  </a:moveTo>
                  <a:lnTo>
                    <a:pt x="48" y="86"/>
                  </a:lnTo>
                  <a:lnTo>
                    <a:pt x="36" y="96"/>
                  </a:lnTo>
                  <a:lnTo>
                    <a:pt x="20" y="100"/>
                  </a:lnTo>
                  <a:lnTo>
                    <a:pt x="8" y="94"/>
                  </a:lnTo>
                  <a:lnTo>
                    <a:pt x="0" y="72"/>
                  </a:lnTo>
                  <a:lnTo>
                    <a:pt x="10" y="50"/>
                  </a:lnTo>
                  <a:lnTo>
                    <a:pt x="6" y="22"/>
                  </a:lnTo>
                  <a:lnTo>
                    <a:pt x="6" y="0"/>
                  </a:lnTo>
                  <a:lnTo>
                    <a:pt x="44" y="0"/>
                  </a:lnTo>
                  <a:lnTo>
                    <a:pt x="56" y="18"/>
                  </a:lnTo>
                  <a:lnTo>
                    <a:pt x="52" y="30"/>
                  </a:lnTo>
                  <a:lnTo>
                    <a:pt x="54" y="40"/>
                  </a:lnTo>
                  <a:lnTo>
                    <a:pt x="56" y="48"/>
                  </a:lnTo>
                  <a:lnTo>
                    <a:pt x="60" y="8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45" name="Freeform 61"/>
            <p:cNvSpPr>
              <a:spLocks/>
            </p:cNvSpPr>
            <p:nvPr/>
          </p:nvSpPr>
          <p:spPr bwMode="gray">
            <a:xfrm>
              <a:off x="4271963" y="4021138"/>
              <a:ext cx="112712" cy="117475"/>
            </a:xfrm>
            <a:custGeom>
              <a:avLst/>
              <a:gdLst>
                <a:gd name="T0" fmla="*/ 2147483647 w 94"/>
                <a:gd name="T1" fmla="*/ 2147483647 h 98"/>
                <a:gd name="T2" fmla="*/ 2147483647 w 94"/>
                <a:gd name="T3" fmla="*/ 2147483647 h 98"/>
                <a:gd name="T4" fmla="*/ 2147483647 w 94"/>
                <a:gd name="T5" fmla="*/ 2147483647 h 98"/>
                <a:gd name="T6" fmla="*/ 2147483647 w 94"/>
                <a:gd name="T7" fmla="*/ 2147483647 h 98"/>
                <a:gd name="T8" fmla="*/ 2147483647 w 94"/>
                <a:gd name="T9" fmla="*/ 2147483647 h 98"/>
                <a:gd name="T10" fmla="*/ 2147483647 w 94"/>
                <a:gd name="T11" fmla="*/ 2147483647 h 98"/>
                <a:gd name="T12" fmla="*/ 2147483647 w 94"/>
                <a:gd name="T13" fmla="*/ 2147483647 h 98"/>
                <a:gd name="T14" fmla="*/ 0 w 94"/>
                <a:gd name="T15" fmla="*/ 2147483647 h 98"/>
                <a:gd name="T16" fmla="*/ 0 w 94"/>
                <a:gd name="T17" fmla="*/ 2147483647 h 98"/>
                <a:gd name="T18" fmla="*/ 0 w 94"/>
                <a:gd name="T19" fmla="*/ 2147483647 h 98"/>
                <a:gd name="T20" fmla="*/ 2147483647 w 94"/>
                <a:gd name="T21" fmla="*/ 2147483647 h 98"/>
                <a:gd name="T22" fmla="*/ 2147483647 w 94"/>
                <a:gd name="T23" fmla="*/ 2147483647 h 98"/>
                <a:gd name="T24" fmla="*/ 2147483647 w 94"/>
                <a:gd name="T25" fmla="*/ 2147483647 h 98"/>
                <a:gd name="T26" fmla="*/ 2147483647 w 94"/>
                <a:gd name="T27" fmla="*/ 2147483647 h 98"/>
                <a:gd name="T28" fmla="*/ 2147483647 w 94"/>
                <a:gd name="T29" fmla="*/ 2147483647 h 98"/>
                <a:gd name="T30" fmla="*/ 2147483647 w 94"/>
                <a:gd name="T31" fmla="*/ 2147483647 h 98"/>
                <a:gd name="T32" fmla="*/ 2147483647 w 94"/>
                <a:gd name="T33" fmla="*/ 0 h 98"/>
                <a:gd name="T34" fmla="*/ 2147483647 w 94"/>
                <a:gd name="T35" fmla="*/ 2147483647 h 98"/>
                <a:gd name="T36" fmla="*/ 2147483647 w 94"/>
                <a:gd name="T37" fmla="*/ 2147483647 h 98"/>
                <a:gd name="T38" fmla="*/ 2147483647 w 94"/>
                <a:gd name="T39" fmla="*/ 2147483647 h 98"/>
                <a:gd name="T40" fmla="*/ 2147483647 w 94"/>
                <a:gd name="T41" fmla="*/ 2147483647 h 98"/>
                <a:gd name="T42" fmla="*/ 2147483647 w 94"/>
                <a:gd name="T43" fmla="*/ 2147483647 h 98"/>
                <a:gd name="T44" fmla="*/ 2147483647 w 94"/>
                <a:gd name="T45" fmla="*/ 2147483647 h 9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94"/>
                <a:gd name="T70" fmla="*/ 0 h 98"/>
                <a:gd name="T71" fmla="*/ 94 w 94"/>
                <a:gd name="T72" fmla="*/ 98 h 9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94" h="98">
                  <a:moveTo>
                    <a:pt x="92" y="84"/>
                  </a:moveTo>
                  <a:lnTo>
                    <a:pt x="50" y="84"/>
                  </a:lnTo>
                  <a:lnTo>
                    <a:pt x="24" y="94"/>
                  </a:lnTo>
                  <a:lnTo>
                    <a:pt x="12" y="98"/>
                  </a:lnTo>
                  <a:lnTo>
                    <a:pt x="16" y="78"/>
                  </a:lnTo>
                  <a:lnTo>
                    <a:pt x="14" y="72"/>
                  </a:lnTo>
                  <a:lnTo>
                    <a:pt x="8" y="68"/>
                  </a:lnTo>
                  <a:lnTo>
                    <a:pt x="0" y="66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6" y="44"/>
                  </a:lnTo>
                  <a:lnTo>
                    <a:pt x="4" y="34"/>
                  </a:lnTo>
                  <a:lnTo>
                    <a:pt x="10" y="32"/>
                  </a:lnTo>
                  <a:lnTo>
                    <a:pt x="8" y="18"/>
                  </a:lnTo>
                  <a:lnTo>
                    <a:pt x="4" y="10"/>
                  </a:lnTo>
                  <a:lnTo>
                    <a:pt x="6" y="2"/>
                  </a:lnTo>
                  <a:lnTo>
                    <a:pt x="46" y="0"/>
                  </a:lnTo>
                  <a:lnTo>
                    <a:pt x="66" y="14"/>
                  </a:lnTo>
                  <a:lnTo>
                    <a:pt x="76" y="6"/>
                  </a:lnTo>
                  <a:lnTo>
                    <a:pt x="90" y="12"/>
                  </a:lnTo>
                  <a:lnTo>
                    <a:pt x="94" y="40"/>
                  </a:lnTo>
                  <a:lnTo>
                    <a:pt x="84" y="62"/>
                  </a:lnTo>
                  <a:lnTo>
                    <a:pt x="92" y="8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46" name="Freeform 62"/>
            <p:cNvSpPr>
              <a:spLocks/>
            </p:cNvSpPr>
            <p:nvPr/>
          </p:nvSpPr>
          <p:spPr bwMode="gray">
            <a:xfrm>
              <a:off x="4611688" y="4178300"/>
              <a:ext cx="34925" cy="28575"/>
            </a:xfrm>
            <a:custGeom>
              <a:avLst/>
              <a:gdLst>
                <a:gd name="T0" fmla="*/ 2147483647 w 29"/>
                <a:gd name="T1" fmla="*/ 0 h 24"/>
                <a:gd name="T2" fmla="*/ 2147483647 w 29"/>
                <a:gd name="T3" fmla="*/ 0 h 24"/>
                <a:gd name="T4" fmla="*/ 2147483647 w 29"/>
                <a:gd name="T5" fmla="*/ 2147483647 h 24"/>
                <a:gd name="T6" fmla="*/ 2147483647 w 29"/>
                <a:gd name="T7" fmla="*/ 2147483647 h 24"/>
                <a:gd name="T8" fmla="*/ 0 w 29"/>
                <a:gd name="T9" fmla="*/ 2147483647 h 24"/>
                <a:gd name="T10" fmla="*/ 2147483647 w 29"/>
                <a:gd name="T11" fmla="*/ 0 h 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9"/>
                <a:gd name="T19" fmla="*/ 0 h 24"/>
                <a:gd name="T20" fmla="*/ 29 w 29"/>
                <a:gd name="T21" fmla="*/ 24 h 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9" h="24">
                  <a:moveTo>
                    <a:pt x="4" y="0"/>
                  </a:moveTo>
                  <a:lnTo>
                    <a:pt x="29" y="0"/>
                  </a:lnTo>
                  <a:lnTo>
                    <a:pt x="26" y="22"/>
                  </a:lnTo>
                  <a:lnTo>
                    <a:pt x="2" y="24"/>
                  </a:lnTo>
                  <a:lnTo>
                    <a:pt x="0" y="1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47" name="Freeform 63"/>
            <p:cNvSpPr>
              <a:spLocks/>
            </p:cNvSpPr>
            <p:nvPr/>
          </p:nvSpPr>
          <p:spPr bwMode="gray">
            <a:xfrm>
              <a:off x="5248275" y="4454525"/>
              <a:ext cx="134938" cy="271463"/>
            </a:xfrm>
            <a:custGeom>
              <a:avLst/>
              <a:gdLst>
                <a:gd name="T0" fmla="*/ 2147483647 w 114"/>
                <a:gd name="T1" fmla="*/ 2147483647 h 224"/>
                <a:gd name="T2" fmla="*/ 2147483647 w 114"/>
                <a:gd name="T3" fmla="*/ 2147483647 h 224"/>
                <a:gd name="T4" fmla="*/ 2147483647 w 114"/>
                <a:gd name="T5" fmla="*/ 2147483647 h 224"/>
                <a:gd name="T6" fmla="*/ 2147483647 w 114"/>
                <a:gd name="T7" fmla="*/ 2147483647 h 224"/>
                <a:gd name="T8" fmla="*/ 2147483647 w 114"/>
                <a:gd name="T9" fmla="*/ 2147483647 h 224"/>
                <a:gd name="T10" fmla="*/ 2147483647 w 114"/>
                <a:gd name="T11" fmla="*/ 2147483647 h 224"/>
                <a:gd name="T12" fmla="*/ 2147483647 w 114"/>
                <a:gd name="T13" fmla="*/ 0 h 224"/>
                <a:gd name="T14" fmla="*/ 2147483647 w 114"/>
                <a:gd name="T15" fmla="*/ 2147483647 h 224"/>
                <a:gd name="T16" fmla="*/ 2147483647 w 114"/>
                <a:gd name="T17" fmla="*/ 2147483647 h 224"/>
                <a:gd name="T18" fmla="*/ 2147483647 w 114"/>
                <a:gd name="T19" fmla="*/ 2147483647 h 224"/>
                <a:gd name="T20" fmla="*/ 2147483647 w 114"/>
                <a:gd name="T21" fmla="*/ 2147483647 h 224"/>
                <a:gd name="T22" fmla="*/ 2147483647 w 114"/>
                <a:gd name="T23" fmla="*/ 2147483647 h 224"/>
                <a:gd name="T24" fmla="*/ 2147483647 w 114"/>
                <a:gd name="T25" fmla="*/ 2147483647 h 224"/>
                <a:gd name="T26" fmla="*/ 2147483647 w 114"/>
                <a:gd name="T27" fmla="*/ 2147483647 h 224"/>
                <a:gd name="T28" fmla="*/ 2147483647 w 114"/>
                <a:gd name="T29" fmla="*/ 2147483647 h 224"/>
                <a:gd name="T30" fmla="*/ 2147483647 w 114"/>
                <a:gd name="T31" fmla="*/ 2147483647 h 224"/>
                <a:gd name="T32" fmla="*/ 2147483647 w 114"/>
                <a:gd name="T33" fmla="*/ 2147483647 h 224"/>
                <a:gd name="T34" fmla="*/ 2147483647 w 114"/>
                <a:gd name="T35" fmla="*/ 2147483647 h 224"/>
                <a:gd name="T36" fmla="*/ 2147483647 w 114"/>
                <a:gd name="T37" fmla="*/ 2147483647 h 224"/>
                <a:gd name="T38" fmla="*/ 2147483647 w 114"/>
                <a:gd name="T39" fmla="*/ 2147483647 h 224"/>
                <a:gd name="T40" fmla="*/ 0 w 114"/>
                <a:gd name="T41" fmla="*/ 2147483647 h 224"/>
                <a:gd name="T42" fmla="*/ 2147483647 w 114"/>
                <a:gd name="T43" fmla="*/ 2147483647 h 224"/>
                <a:gd name="T44" fmla="*/ 2147483647 w 114"/>
                <a:gd name="T45" fmla="*/ 2147483647 h 224"/>
                <a:gd name="T46" fmla="*/ 2147483647 w 114"/>
                <a:gd name="T47" fmla="*/ 2147483647 h 224"/>
                <a:gd name="T48" fmla="*/ 2147483647 w 114"/>
                <a:gd name="T49" fmla="*/ 2147483647 h 224"/>
                <a:gd name="T50" fmla="*/ 2147483647 w 114"/>
                <a:gd name="T51" fmla="*/ 2147483647 h 224"/>
                <a:gd name="T52" fmla="*/ 2147483647 w 114"/>
                <a:gd name="T53" fmla="*/ 2147483647 h 22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14"/>
                <a:gd name="T82" fmla="*/ 0 h 224"/>
                <a:gd name="T83" fmla="*/ 114 w 114"/>
                <a:gd name="T84" fmla="*/ 224 h 22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14" h="224">
                  <a:moveTo>
                    <a:pt x="22" y="70"/>
                  </a:moveTo>
                  <a:lnTo>
                    <a:pt x="46" y="60"/>
                  </a:lnTo>
                  <a:lnTo>
                    <a:pt x="70" y="44"/>
                  </a:lnTo>
                  <a:lnTo>
                    <a:pt x="78" y="30"/>
                  </a:lnTo>
                  <a:lnTo>
                    <a:pt x="86" y="26"/>
                  </a:lnTo>
                  <a:lnTo>
                    <a:pt x="94" y="10"/>
                  </a:lnTo>
                  <a:lnTo>
                    <a:pt x="96" y="0"/>
                  </a:lnTo>
                  <a:lnTo>
                    <a:pt x="108" y="20"/>
                  </a:lnTo>
                  <a:lnTo>
                    <a:pt x="112" y="40"/>
                  </a:lnTo>
                  <a:lnTo>
                    <a:pt x="114" y="52"/>
                  </a:lnTo>
                  <a:lnTo>
                    <a:pt x="114" y="64"/>
                  </a:lnTo>
                  <a:lnTo>
                    <a:pt x="102" y="66"/>
                  </a:lnTo>
                  <a:lnTo>
                    <a:pt x="102" y="82"/>
                  </a:lnTo>
                  <a:lnTo>
                    <a:pt x="82" y="150"/>
                  </a:lnTo>
                  <a:lnTo>
                    <a:pt x="74" y="182"/>
                  </a:lnTo>
                  <a:lnTo>
                    <a:pt x="62" y="214"/>
                  </a:lnTo>
                  <a:lnTo>
                    <a:pt x="40" y="224"/>
                  </a:lnTo>
                  <a:lnTo>
                    <a:pt x="18" y="222"/>
                  </a:lnTo>
                  <a:lnTo>
                    <a:pt x="8" y="202"/>
                  </a:lnTo>
                  <a:lnTo>
                    <a:pt x="6" y="182"/>
                  </a:lnTo>
                  <a:lnTo>
                    <a:pt x="0" y="164"/>
                  </a:lnTo>
                  <a:lnTo>
                    <a:pt x="16" y="142"/>
                  </a:lnTo>
                  <a:lnTo>
                    <a:pt x="20" y="122"/>
                  </a:lnTo>
                  <a:lnTo>
                    <a:pt x="16" y="106"/>
                  </a:lnTo>
                  <a:lnTo>
                    <a:pt x="10" y="90"/>
                  </a:lnTo>
                  <a:lnTo>
                    <a:pt x="18" y="80"/>
                  </a:lnTo>
                  <a:lnTo>
                    <a:pt x="22" y="7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48" name="Freeform 64" descr="Diagonal dunkel nach oben"/>
            <p:cNvSpPr>
              <a:spLocks/>
            </p:cNvSpPr>
            <p:nvPr/>
          </p:nvSpPr>
          <p:spPr bwMode="gray">
            <a:xfrm>
              <a:off x="4746625" y="4656138"/>
              <a:ext cx="307975" cy="263525"/>
            </a:xfrm>
            <a:custGeom>
              <a:avLst/>
              <a:gdLst>
                <a:gd name="T0" fmla="*/ 0 w 260"/>
                <a:gd name="T1" fmla="*/ 2147483647 h 218"/>
                <a:gd name="T2" fmla="*/ 2147483647 w 260"/>
                <a:gd name="T3" fmla="*/ 2147483647 h 218"/>
                <a:gd name="T4" fmla="*/ 2147483647 w 260"/>
                <a:gd name="T5" fmla="*/ 2147483647 h 218"/>
                <a:gd name="T6" fmla="*/ 2147483647 w 260"/>
                <a:gd name="T7" fmla="*/ 2147483647 h 218"/>
                <a:gd name="T8" fmla="*/ 2147483647 w 260"/>
                <a:gd name="T9" fmla="*/ 2147483647 h 218"/>
                <a:gd name="T10" fmla="*/ 2147483647 w 260"/>
                <a:gd name="T11" fmla="*/ 2147483647 h 218"/>
                <a:gd name="T12" fmla="*/ 2147483647 w 260"/>
                <a:gd name="T13" fmla="*/ 2147483647 h 218"/>
                <a:gd name="T14" fmla="*/ 2147483647 w 260"/>
                <a:gd name="T15" fmla="*/ 2147483647 h 218"/>
                <a:gd name="T16" fmla="*/ 2147483647 w 260"/>
                <a:gd name="T17" fmla="*/ 2147483647 h 218"/>
                <a:gd name="T18" fmla="*/ 2147483647 w 260"/>
                <a:gd name="T19" fmla="*/ 2147483647 h 218"/>
                <a:gd name="T20" fmla="*/ 2147483647 w 260"/>
                <a:gd name="T21" fmla="*/ 2147483647 h 218"/>
                <a:gd name="T22" fmla="*/ 2147483647 w 260"/>
                <a:gd name="T23" fmla="*/ 2147483647 h 218"/>
                <a:gd name="T24" fmla="*/ 2147483647 w 260"/>
                <a:gd name="T25" fmla="*/ 2147483647 h 218"/>
                <a:gd name="T26" fmla="*/ 2147483647 w 260"/>
                <a:gd name="T27" fmla="*/ 2147483647 h 218"/>
                <a:gd name="T28" fmla="*/ 2147483647 w 260"/>
                <a:gd name="T29" fmla="*/ 2147483647 h 218"/>
                <a:gd name="T30" fmla="*/ 2147483647 w 260"/>
                <a:gd name="T31" fmla="*/ 2147483647 h 218"/>
                <a:gd name="T32" fmla="*/ 2147483647 w 260"/>
                <a:gd name="T33" fmla="*/ 2147483647 h 218"/>
                <a:gd name="T34" fmla="*/ 2147483647 w 260"/>
                <a:gd name="T35" fmla="*/ 2147483647 h 218"/>
                <a:gd name="T36" fmla="*/ 2147483647 w 260"/>
                <a:gd name="T37" fmla="*/ 2147483647 h 218"/>
                <a:gd name="T38" fmla="*/ 2147483647 w 260"/>
                <a:gd name="T39" fmla="*/ 2147483647 h 218"/>
                <a:gd name="T40" fmla="*/ 2147483647 w 260"/>
                <a:gd name="T41" fmla="*/ 0 h 218"/>
                <a:gd name="T42" fmla="*/ 2147483647 w 260"/>
                <a:gd name="T43" fmla="*/ 2147483647 h 218"/>
                <a:gd name="T44" fmla="*/ 2147483647 w 260"/>
                <a:gd name="T45" fmla="*/ 2147483647 h 218"/>
                <a:gd name="T46" fmla="*/ 2147483647 w 260"/>
                <a:gd name="T47" fmla="*/ 2147483647 h 218"/>
                <a:gd name="T48" fmla="*/ 2147483647 w 260"/>
                <a:gd name="T49" fmla="*/ 2147483647 h 218"/>
                <a:gd name="T50" fmla="*/ 2147483647 w 260"/>
                <a:gd name="T51" fmla="*/ 2147483647 h 218"/>
                <a:gd name="T52" fmla="*/ 2147483647 w 260"/>
                <a:gd name="T53" fmla="*/ 2147483647 h 218"/>
                <a:gd name="T54" fmla="*/ 2147483647 w 260"/>
                <a:gd name="T55" fmla="*/ 2147483647 h 218"/>
                <a:gd name="T56" fmla="*/ 2147483647 w 260"/>
                <a:gd name="T57" fmla="*/ 2147483647 h 218"/>
                <a:gd name="T58" fmla="*/ 2147483647 w 260"/>
                <a:gd name="T59" fmla="*/ 2147483647 h 218"/>
                <a:gd name="T60" fmla="*/ 2147483647 w 260"/>
                <a:gd name="T61" fmla="*/ 2147483647 h 218"/>
                <a:gd name="T62" fmla="*/ 2147483647 w 260"/>
                <a:gd name="T63" fmla="*/ 2147483647 h 218"/>
                <a:gd name="T64" fmla="*/ 2147483647 w 260"/>
                <a:gd name="T65" fmla="*/ 2147483647 h 218"/>
                <a:gd name="T66" fmla="*/ 2147483647 w 260"/>
                <a:gd name="T67" fmla="*/ 2147483647 h 218"/>
                <a:gd name="T68" fmla="*/ 2147483647 w 260"/>
                <a:gd name="T69" fmla="*/ 2147483647 h 218"/>
                <a:gd name="T70" fmla="*/ 2147483647 w 260"/>
                <a:gd name="T71" fmla="*/ 2147483647 h 218"/>
                <a:gd name="T72" fmla="*/ 2147483647 w 260"/>
                <a:gd name="T73" fmla="*/ 2147483647 h 218"/>
                <a:gd name="T74" fmla="*/ 2147483647 w 260"/>
                <a:gd name="T75" fmla="*/ 2147483647 h 218"/>
                <a:gd name="T76" fmla="*/ 2147483647 w 260"/>
                <a:gd name="T77" fmla="*/ 2147483647 h 218"/>
                <a:gd name="T78" fmla="*/ 2147483647 w 260"/>
                <a:gd name="T79" fmla="*/ 2147483647 h 218"/>
                <a:gd name="T80" fmla="*/ 2147483647 w 260"/>
                <a:gd name="T81" fmla="*/ 2147483647 h 218"/>
                <a:gd name="T82" fmla="*/ 2147483647 w 260"/>
                <a:gd name="T83" fmla="*/ 2147483647 h 218"/>
                <a:gd name="T84" fmla="*/ 2147483647 w 260"/>
                <a:gd name="T85" fmla="*/ 2147483647 h 218"/>
                <a:gd name="T86" fmla="*/ 2147483647 w 260"/>
                <a:gd name="T87" fmla="*/ 2147483647 h 218"/>
                <a:gd name="T88" fmla="*/ 2147483647 w 260"/>
                <a:gd name="T89" fmla="*/ 2147483647 h 218"/>
                <a:gd name="T90" fmla="*/ 2147483647 w 260"/>
                <a:gd name="T91" fmla="*/ 2147483647 h 218"/>
                <a:gd name="T92" fmla="*/ 2147483647 w 260"/>
                <a:gd name="T93" fmla="*/ 2147483647 h 218"/>
                <a:gd name="T94" fmla="*/ 2147483647 w 260"/>
                <a:gd name="T95" fmla="*/ 2147483647 h 218"/>
                <a:gd name="T96" fmla="*/ 0 w 260"/>
                <a:gd name="T97" fmla="*/ 2147483647 h 21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60"/>
                <a:gd name="T148" fmla="*/ 0 h 218"/>
                <a:gd name="T149" fmla="*/ 260 w 260"/>
                <a:gd name="T150" fmla="*/ 218 h 21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60" h="218">
                  <a:moveTo>
                    <a:pt x="0" y="108"/>
                  </a:moveTo>
                  <a:lnTo>
                    <a:pt x="2" y="104"/>
                  </a:lnTo>
                  <a:lnTo>
                    <a:pt x="6" y="102"/>
                  </a:lnTo>
                  <a:lnTo>
                    <a:pt x="8" y="102"/>
                  </a:lnTo>
                  <a:lnTo>
                    <a:pt x="14" y="110"/>
                  </a:lnTo>
                  <a:lnTo>
                    <a:pt x="22" y="114"/>
                  </a:lnTo>
                  <a:lnTo>
                    <a:pt x="38" y="114"/>
                  </a:lnTo>
                  <a:lnTo>
                    <a:pt x="54" y="104"/>
                  </a:lnTo>
                  <a:lnTo>
                    <a:pt x="54" y="46"/>
                  </a:lnTo>
                  <a:lnTo>
                    <a:pt x="66" y="58"/>
                  </a:lnTo>
                  <a:lnTo>
                    <a:pt x="66" y="78"/>
                  </a:lnTo>
                  <a:lnTo>
                    <a:pt x="82" y="78"/>
                  </a:lnTo>
                  <a:lnTo>
                    <a:pt x="96" y="66"/>
                  </a:lnTo>
                  <a:lnTo>
                    <a:pt x="100" y="54"/>
                  </a:lnTo>
                  <a:lnTo>
                    <a:pt x="110" y="54"/>
                  </a:lnTo>
                  <a:lnTo>
                    <a:pt x="120" y="62"/>
                  </a:lnTo>
                  <a:lnTo>
                    <a:pt x="140" y="60"/>
                  </a:lnTo>
                  <a:lnTo>
                    <a:pt x="148" y="46"/>
                  </a:lnTo>
                  <a:lnTo>
                    <a:pt x="186" y="6"/>
                  </a:lnTo>
                  <a:lnTo>
                    <a:pt x="196" y="6"/>
                  </a:lnTo>
                  <a:lnTo>
                    <a:pt x="198" y="0"/>
                  </a:lnTo>
                  <a:lnTo>
                    <a:pt x="228" y="2"/>
                  </a:lnTo>
                  <a:lnTo>
                    <a:pt x="236" y="8"/>
                  </a:lnTo>
                  <a:lnTo>
                    <a:pt x="244" y="32"/>
                  </a:lnTo>
                  <a:lnTo>
                    <a:pt x="244" y="68"/>
                  </a:lnTo>
                  <a:lnTo>
                    <a:pt x="244" y="78"/>
                  </a:lnTo>
                  <a:lnTo>
                    <a:pt x="260" y="80"/>
                  </a:lnTo>
                  <a:lnTo>
                    <a:pt x="254" y="90"/>
                  </a:lnTo>
                  <a:lnTo>
                    <a:pt x="254" y="104"/>
                  </a:lnTo>
                  <a:lnTo>
                    <a:pt x="246" y="110"/>
                  </a:lnTo>
                  <a:lnTo>
                    <a:pt x="230" y="130"/>
                  </a:lnTo>
                  <a:lnTo>
                    <a:pt x="224" y="142"/>
                  </a:lnTo>
                  <a:lnTo>
                    <a:pt x="210" y="160"/>
                  </a:lnTo>
                  <a:lnTo>
                    <a:pt x="188" y="176"/>
                  </a:lnTo>
                  <a:lnTo>
                    <a:pt x="164" y="198"/>
                  </a:lnTo>
                  <a:lnTo>
                    <a:pt x="142" y="202"/>
                  </a:lnTo>
                  <a:lnTo>
                    <a:pt x="128" y="208"/>
                  </a:lnTo>
                  <a:lnTo>
                    <a:pt x="110" y="206"/>
                  </a:lnTo>
                  <a:lnTo>
                    <a:pt x="88" y="206"/>
                  </a:lnTo>
                  <a:lnTo>
                    <a:pt x="70" y="212"/>
                  </a:lnTo>
                  <a:lnTo>
                    <a:pt x="50" y="218"/>
                  </a:lnTo>
                  <a:lnTo>
                    <a:pt x="34" y="210"/>
                  </a:lnTo>
                  <a:lnTo>
                    <a:pt x="28" y="198"/>
                  </a:lnTo>
                  <a:lnTo>
                    <a:pt x="20" y="184"/>
                  </a:lnTo>
                  <a:lnTo>
                    <a:pt x="30" y="172"/>
                  </a:lnTo>
                  <a:lnTo>
                    <a:pt x="22" y="158"/>
                  </a:lnTo>
                  <a:lnTo>
                    <a:pt x="12" y="144"/>
                  </a:lnTo>
                  <a:lnTo>
                    <a:pt x="6" y="122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49" name="Freeform 65"/>
            <p:cNvSpPr>
              <a:spLocks/>
            </p:cNvSpPr>
            <p:nvPr/>
          </p:nvSpPr>
          <p:spPr bwMode="gray">
            <a:xfrm>
              <a:off x="4910138" y="4530725"/>
              <a:ext cx="142875" cy="127000"/>
            </a:xfrm>
            <a:custGeom>
              <a:avLst/>
              <a:gdLst>
                <a:gd name="T0" fmla="*/ 2147483647 w 120"/>
                <a:gd name="T1" fmla="*/ 2147483647 h 106"/>
                <a:gd name="T2" fmla="*/ 2147483647 w 120"/>
                <a:gd name="T3" fmla="*/ 2147483647 h 106"/>
                <a:gd name="T4" fmla="*/ 2147483647 w 120"/>
                <a:gd name="T5" fmla="*/ 2147483647 h 106"/>
                <a:gd name="T6" fmla="*/ 2147483647 w 120"/>
                <a:gd name="T7" fmla="*/ 2147483647 h 106"/>
                <a:gd name="T8" fmla="*/ 2147483647 w 120"/>
                <a:gd name="T9" fmla="*/ 2147483647 h 106"/>
                <a:gd name="T10" fmla="*/ 2147483647 w 120"/>
                <a:gd name="T11" fmla="*/ 2147483647 h 106"/>
                <a:gd name="T12" fmla="*/ 0 w 120"/>
                <a:gd name="T13" fmla="*/ 2147483647 h 106"/>
                <a:gd name="T14" fmla="*/ 2147483647 w 120"/>
                <a:gd name="T15" fmla="*/ 2147483647 h 106"/>
                <a:gd name="T16" fmla="*/ 2147483647 w 120"/>
                <a:gd name="T17" fmla="*/ 2147483647 h 106"/>
                <a:gd name="T18" fmla="*/ 2147483647 w 120"/>
                <a:gd name="T19" fmla="*/ 2147483647 h 106"/>
                <a:gd name="T20" fmla="*/ 2147483647 w 120"/>
                <a:gd name="T21" fmla="*/ 0 h 106"/>
                <a:gd name="T22" fmla="*/ 2147483647 w 120"/>
                <a:gd name="T23" fmla="*/ 0 h 106"/>
                <a:gd name="T24" fmla="*/ 2147483647 w 120"/>
                <a:gd name="T25" fmla="*/ 2147483647 h 106"/>
                <a:gd name="T26" fmla="*/ 2147483647 w 120"/>
                <a:gd name="T27" fmla="*/ 2147483647 h 106"/>
                <a:gd name="T28" fmla="*/ 2147483647 w 120"/>
                <a:gd name="T29" fmla="*/ 2147483647 h 106"/>
                <a:gd name="T30" fmla="*/ 2147483647 w 120"/>
                <a:gd name="T31" fmla="*/ 2147483647 h 106"/>
                <a:gd name="T32" fmla="*/ 2147483647 w 120"/>
                <a:gd name="T33" fmla="*/ 2147483647 h 106"/>
                <a:gd name="T34" fmla="*/ 2147483647 w 120"/>
                <a:gd name="T35" fmla="*/ 2147483647 h 10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20"/>
                <a:gd name="T55" fmla="*/ 0 h 106"/>
                <a:gd name="T56" fmla="*/ 120 w 120"/>
                <a:gd name="T57" fmla="*/ 106 h 10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20" h="106">
                  <a:moveTo>
                    <a:pt x="60" y="104"/>
                  </a:moveTo>
                  <a:lnTo>
                    <a:pt x="58" y="98"/>
                  </a:lnTo>
                  <a:lnTo>
                    <a:pt x="44" y="96"/>
                  </a:lnTo>
                  <a:lnTo>
                    <a:pt x="36" y="76"/>
                  </a:lnTo>
                  <a:lnTo>
                    <a:pt x="12" y="64"/>
                  </a:lnTo>
                  <a:lnTo>
                    <a:pt x="8" y="48"/>
                  </a:lnTo>
                  <a:lnTo>
                    <a:pt x="0" y="36"/>
                  </a:lnTo>
                  <a:lnTo>
                    <a:pt x="28" y="34"/>
                  </a:lnTo>
                  <a:lnTo>
                    <a:pt x="42" y="16"/>
                  </a:lnTo>
                  <a:lnTo>
                    <a:pt x="54" y="14"/>
                  </a:lnTo>
                  <a:lnTo>
                    <a:pt x="62" y="0"/>
                  </a:lnTo>
                  <a:lnTo>
                    <a:pt x="78" y="0"/>
                  </a:lnTo>
                  <a:lnTo>
                    <a:pt x="118" y="14"/>
                  </a:lnTo>
                  <a:lnTo>
                    <a:pt x="120" y="42"/>
                  </a:lnTo>
                  <a:lnTo>
                    <a:pt x="120" y="72"/>
                  </a:lnTo>
                  <a:lnTo>
                    <a:pt x="112" y="90"/>
                  </a:lnTo>
                  <a:lnTo>
                    <a:pt x="90" y="106"/>
                  </a:lnTo>
                  <a:lnTo>
                    <a:pt x="60" y="10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50" name="Freeform 66"/>
            <p:cNvSpPr>
              <a:spLocks/>
            </p:cNvSpPr>
            <p:nvPr/>
          </p:nvSpPr>
          <p:spPr bwMode="gray">
            <a:xfrm>
              <a:off x="4811713" y="4573588"/>
              <a:ext cx="169862" cy="176212"/>
            </a:xfrm>
            <a:custGeom>
              <a:avLst/>
              <a:gdLst>
                <a:gd name="T0" fmla="*/ 0 w 144"/>
                <a:gd name="T1" fmla="*/ 2147483647 h 146"/>
                <a:gd name="T2" fmla="*/ 0 w 144"/>
                <a:gd name="T3" fmla="*/ 2147483647 h 146"/>
                <a:gd name="T4" fmla="*/ 2147483647 w 144"/>
                <a:gd name="T5" fmla="*/ 2147483647 h 146"/>
                <a:gd name="T6" fmla="*/ 2147483647 w 144"/>
                <a:gd name="T7" fmla="*/ 2147483647 h 146"/>
                <a:gd name="T8" fmla="*/ 2147483647 w 144"/>
                <a:gd name="T9" fmla="*/ 0 h 146"/>
                <a:gd name="T10" fmla="*/ 2147483647 w 144"/>
                <a:gd name="T11" fmla="*/ 2147483647 h 146"/>
                <a:gd name="T12" fmla="*/ 2147483647 w 144"/>
                <a:gd name="T13" fmla="*/ 0 h 146"/>
                <a:gd name="T14" fmla="*/ 2147483647 w 144"/>
                <a:gd name="T15" fmla="*/ 2147483647 h 146"/>
                <a:gd name="T16" fmla="*/ 2147483647 w 144"/>
                <a:gd name="T17" fmla="*/ 2147483647 h 146"/>
                <a:gd name="T18" fmla="*/ 2147483647 w 144"/>
                <a:gd name="T19" fmla="*/ 2147483647 h 146"/>
                <a:gd name="T20" fmla="*/ 2147483647 w 144"/>
                <a:gd name="T21" fmla="*/ 2147483647 h 146"/>
                <a:gd name="T22" fmla="*/ 2147483647 w 144"/>
                <a:gd name="T23" fmla="*/ 2147483647 h 146"/>
                <a:gd name="T24" fmla="*/ 2147483647 w 144"/>
                <a:gd name="T25" fmla="*/ 2147483647 h 146"/>
                <a:gd name="T26" fmla="*/ 2147483647 w 144"/>
                <a:gd name="T27" fmla="*/ 2147483647 h 146"/>
                <a:gd name="T28" fmla="*/ 2147483647 w 144"/>
                <a:gd name="T29" fmla="*/ 2147483647 h 146"/>
                <a:gd name="T30" fmla="*/ 2147483647 w 144"/>
                <a:gd name="T31" fmla="*/ 2147483647 h 146"/>
                <a:gd name="T32" fmla="*/ 2147483647 w 144"/>
                <a:gd name="T33" fmla="*/ 2147483647 h 146"/>
                <a:gd name="T34" fmla="*/ 2147483647 w 144"/>
                <a:gd name="T35" fmla="*/ 2147483647 h 146"/>
                <a:gd name="T36" fmla="*/ 2147483647 w 144"/>
                <a:gd name="T37" fmla="*/ 2147483647 h 146"/>
                <a:gd name="T38" fmla="*/ 2147483647 w 144"/>
                <a:gd name="T39" fmla="*/ 2147483647 h 146"/>
                <a:gd name="T40" fmla="*/ 2147483647 w 144"/>
                <a:gd name="T41" fmla="*/ 2147483647 h 146"/>
                <a:gd name="T42" fmla="*/ 2147483647 w 144"/>
                <a:gd name="T43" fmla="*/ 2147483647 h 146"/>
                <a:gd name="T44" fmla="*/ 2147483647 w 144"/>
                <a:gd name="T45" fmla="*/ 2147483647 h 146"/>
                <a:gd name="T46" fmla="*/ 2147483647 w 144"/>
                <a:gd name="T47" fmla="*/ 2147483647 h 146"/>
                <a:gd name="T48" fmla="*/ 0 w 144"/>
                <a:gd name="T49" fmla="*/ 2147483647 h 14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44"/>
                <a:gd name="T76" fmla="*/ 0 h 146"/>
                <a:gd name="T77" fmla="*/ 144 w 144"/>
                <a:gd name="T78" fmla="*/ 146 h 14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44" h="146">
                  <a:moveTo>
                    <a:pt x="0" y="114"/>
                  </a:moveTo>
                  <a:lnTo>
                    <a:pt x="0" y="66"/>
                  </a:lnTo>
                  <a:lnTo>
                    <a:pt x="14" y="66"/>
                  </a:lnTo>
                  <a:lnTo>
                    <a:pt x="16" y="4"/>
                  </a:lnTo>
                  <a:lnTo>
                    <a:pt x="50" y="0"/>
                  </a:lnTo>
                  <a:lnTo>
                    <a:pt x="56" y="8"/>
                  </a:lnTo>
                  <a:lnTo>
                    <a:pt x="84" y="0"/>
                  </a:lnTo>
                  <a:lnTo>
                    <a:pt x="92" y="12"/>
                  </a:lnTo>
                  <a:lnTo>
                    <a:pt x="96" y="28"/>
                  </a:lnTo>
                  <a:lnTo>
                    <a:pt x="120" y="40"/>
                  </a:lnTo>
                  <a:lnTo>
                    <a:pt x="128" y="60"/>
                  </a:lnTo>
                  <a:lnTo>
                    <a:pt x="142" y="62"/>
                  </a:lnTo>
                  <a:lnTo>
                    <a:pt x="144" y="70"/>
                  </a:lnTo>
                  <a:lnTo>
                    <a:pt x="142" y="74"/>
                  </a:lnTo>
                  <a:lnTo>
                    <a:pt x="132" y="74"/>
                  </a:lnTo>
                  <a:lnTo>
                    <a:pt x="94" y="114"/>
                  </a:lnTo>
                  <a:lnTo>
                    <a:pt x="86" y="128"/>
                  </a:lnTo>
                  <a:lnTo>
                    <a:pt x="66" y="130"/>
                  </a:lnTo>
                  <a:lnTo>
                    <a:pt x="56" y="122"/>
                  </a:lnTo>
                  <a:lnTo>
                    <a:pt x="46" y="122"/>
                  </a:lnTo>
                  <a:lnTo>
                    <a:pt x="42" y="134"/>
                  </a:lnTo>
                  <a:lnTo>
                    <a:pt x="28" y="146"/>
                  </a:lnTo>
                  <a:lnTo>
                    <a:pt x="12" y="146"/>
                  </a:lnTo>
                  <a:lnTo>
                    <a:pt x="12" y="126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51" name="Freeform 67"/>
            <p:cNvSpPr>
              <a:spLocks/>
            </p:cNvSpPr>
            <p:nvPr/>
          </p:nvSpPr>
          <p:spPr bwMode="gray">
            <a:xfrm>
              <a:off x="4662488" y="4560888"/>
              <a:ext cx="166687" cy="231775"/>
            </a:xfrm>
            <a:custGeom>
              <a:avLst/>
              <a:gdLst>
                <a:gd name="T0" fmla="*/ 0 w 142"/>
                <a:gd name="T1" fmla="*/ 0 h 192"/>
                <a:gd name="T2" fmla="*/ 2147483647 w 142"/>
                <a:gd name="T3" fmla="*/ 0 h 192"/>
                <a:gd name="T4" fmla="*/ 2147483647 w 142"/>
                <a:gd name="T5" fmla="*/ 2147483647 h 192"/>
                <a:gd name="T6" fmla="*/ 2147483647 w 142"/>
                <a:gd name="T7" fmla="*/ 2147483647 h 192"/>
                <a:gd name="T8" fmla="*/ 2147483647 w 142"/>
                <a:gd name="T9" fmla="*/ 2147483647 h 192"/>
                <a:gd name="T10" fmla="*/ 2147483647 w 142"/>
                <a:gd name="T11" fmla="*/ 2147483647 h 192"/>
                <a:gd name="T12" fmla="*/ 2147483647 w 142"/>
                <a:gd name="T13" fmla="*/ 2147483647 h 192"/>
                <a:gd name="T14" fmla="*/ 2147483647 w 142"/>
                <a:gd name="T15" fmla="*/ 2147483647 h 192"/>
                <a:gd name="T16" fmla="*/ 2147483647 w 142"/>
                <a:gd name="T17" fmla="*/ 2147483647 h 192"/>
                <a:gd name="T18" fmla="*/ 2147483647 w 142"/>
                <a:gd name="T19" fmla="*/ 2147483647 h 192"/>
                <a:gd name="T20" fmla="*/ 2147483647 w 142"/>
                <a:gd name="T21" fmla="*/ 2147483647 h 192"/>
                <a:gd name="T22" fmla="*/ 2147483647 w 142"/>
                <a:gd name="T23" fmla="*/ 2147483647 h 192"/>
                <a:gd name="T24" fmla="*/ 2147483647 w 142"/>
                <a:gd name="T25" fmla="*/ 2147483647 h 192"/>
                <a:gd name="T26" fmla="*/ 2147483647 w 142"/>
                <a:gd name="T27" fmla="*/ 2147483647 h 192"/>
                <a:gd name="T28" fmla="*/ 2147483647 w 142"/>
                <a:gd name="T29" fmla="*/ 2147483647 h 192"/>
                <a:gd name="T30" fmla="*/ 2147483647 w 142"/>
                <a:gd name="T31" fmla="*/ 2147483647 h 192"/>
                <a:gd name="T32" fmla="*/ 2147483647 w 142"/>
                <a:gd name="T33" fmla="*/ 2147483647 h 192"/>
                <a:gd name="T34" fmla="*/ 2147483647 w 142"/>
                <a:gd name="T35" fmla="*/ 2147483647 h 192"/>
                <a:gd name="T36" fmla="*/ 0 w 142"/>
                <a:gd name="T37" fmla="*/ 2147483647 h 192"/>
                <a:gd name="T38" fmla="*/ 0 w 142"/>
                <a:gd name="T39" fmla="*/ 0 h 19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2"/>
                <a:gd name="T61" fmla="*/ 0 h 192"/>
                <a:gd name="T62" fmla="*/ 142 w 142"/>
                <a:gd name="T63" fmla="*/ 192 h 192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2" h="192">
                  <a:moveTo>
                    <a:pt x="0" y="0"/>
                  </a:moveTo>
                  <a:lnTo>
                    <a:pt x="98" y="0"/>
                  </a:lnTo>
                  <a:lnTo>
                    <a:pt x="106" y="6"/>
                  </a:lnTo>
                  <a:lnTo>
                    <a:pt x="134" y="8"/>
                  </a:lnTo>
                  <a:lnTo>
                    <a:pt x="142" y="14"/>
                  </a:lnTo>
                  <a:lnTo>
                    <a:pt x="140" y="76"/>
                  </a:lnTo>
                  <a:lnTo>
                    <a:pt x="126" y="76"/>
                  </a:lnTo>
                  <a:lnTo>
                    <a:pt x="126" y="182"/>
                  </a:lnTo>
                  <a:lnTo>
                    <a:pt x="110" y="192"/>
                  </a:lnTo>
                  <a:lnTo>
                    <a:pt x="94" y="192"/>
                  </a:lnTo>
                  <a:lnTo>
                    <a:pt x="86" y="188"/>
                  </a:lnTo>
                  <a:lnTo>
                    <a:pt x="80" y="180"/>
                  </a:lnTo>
                  <a:lnTo>
                    <a:pt x="72" y="186"/>
                  </a:lnTo>
                  <a:lnTo>
                    <a:pt x="52" y="164"/>
                  </a:lnTo>
                  <a:lnTo>
                    <a:pt x="44" y="126"/>
                  </a:lnTo>
                  <a:lnTo>
                    <a:pt x="38" y="114"/>
                  </a:lnTo>
                  <a:lnTo>
                    <a:pt x="38" y="82"/>
                  </a:lnTo>
                  <a:lnTo>
                    <a:pt x="12" y="36"/>
                  </a:lnTo>
                  <a:lnTo>
                    <a:pt x="0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52" name="Freeform 68"/>
            <p:cNvSpPr>
              <a:spLocks/>
            </p:cNvSpPr>
            <p:nvPr/>
          </p:nvSpPr>
          <p:spPr bwMode="gray">
            <a:xfrm>
              <a:off x="5006975" y="4425950"/>
              <a:ext cx="192088" cy="327025"/>
            </a:xfrm>
            <a:custGeom>
              <a:avLst/>
              <a:gdLst>
                <a:gd name="T0" fmla="*/ 0 w 162"/>
                <a:gd name="T1" fmla="*/ 2147483647 h 270"/>
                <a:gd name="T2" fmla="*/ 0 w 162"/>
                <a:gd name="T3" fmla="*/ 2147483647 h 270"/>
                <a:gd name="T4" fmla="*/ 2147483647 w 162"/>
                <a:gd name="T5" fmla="*/ 2147483647 h 270"/>
                <a:gd name="T6" fmla="*/ 2147483647 w 162"/>
                <a:gd name="T7" fmla="*/ 2147483647 h 270"/>
                <a:gd name="T8" fmla="*/ 2147483647 w 162"/>
                <a:gd name="T9" fmla="*/ 2147483647 h 270"/>
                <a:gd name="T10" fmla="*/ 2147483647 w 162"/>
                <a:gd name="T11" fmla="*/ 2147483647 h 270"/>
                <a:gd name="T12" fmla="*/ 2147483647 w 162"/>
                <a:gd name="T13" fmla="*/ 2147483647 h 270"/>
                <a:gd name="T14" fmla="*/ 2147483647 w 162"/>
                <a:gd name="T15" fmla="*/ 2147483647 h 270"/>
                <a:gd name="T16" fmla="*/ 2147483647 w 162"/>
                <a:gd name="T17" fmla="*/ 2147483647 h 270"/>
                <a:gd name="T18" fmla="*/ 2147483647 w 162"/>
                <a:gd name="T19" fmla="*/ 2147483647 h 270"/>
                <a:gd name="T20" fmla="*/ 2147483647 w 162"/>
                <a:gd name="T21" fmla="*/ 2147483647 h 270"/>
                <a:gd name="T22" fmla="*/ 2147483647 w 162"/>
                <a:gd name="T23" fmla="*/ 2147483647 h 270"/>
                <a:gd name="T24" fmla="*/ 2147483647 w 162"/>
                <a:gd name="T25" fmla="*/ 2147483647 h 270"/>
                <a:gd name="T26" fmla="*/ 2147483647 w 162"/>
                <a:gd name="T27" fmla="*/ 2147483647 h 270"/>
                <a:gd name="T28" fmla="*/ 2147483647 w 162"/>
                <a:gd name="T29" fmla="*/ 0 h 270"/>
                <a:gd name="T30" fmla="*/ 2147483647 w 162"/>
                <a:gd name="T31" fmla="*/ 2147483647 h 270"/>
                <a:gd name="T32" fmla="*/ 2147483647 w 162"/>
                <a:gd name="T33" fmla="*/ 2147483647 h 270"/>
                <a:gd name="T34" fmla="*/ 2147483647 w 162"/>
                <a:gd name="T35" fmla="*/ 2147483647 h 270"/>
                <a:gd name="T36" fmla="*/ 2147483647 w 162"/>
                <a:gd name="T37" fmla="*/ 2147483647 h 270"/>
                <a:gd name="T38" fmla="*/ 2147483647 w 162"/>
                <a:gd name="T39" fmla="*/ 2147483647 h 270"/>
                <a:gd name="T40" fmla="*/ 2147483647 w 162"/>
                <a:gd name="T41" fmla="*/ 2147483647 h 270"/>
                <a:gd name="T42" fmla="*/ 2147483647 w 162"/>
                <a:gd name="T43" fmla="*/ 2147483647 h 270"/>
                <a:gd name="T44" fmla="*/ 2147483647 w 162"/>
                <a:gd name="T45" fmla="*/ 2147483647 h 270"/>
                <a:gd name="T46" fmla="*/ 2147483647 w 162"/>
                <a:gd name="T47" fmla="*/ 2147483647 h 270"/>
                <a:gd name="T48" fmla="*/ 2147483647 w 162"/>
                <a:gd name="T49" fmla="*/ 2147483647 h 270"/>
                <a:gd name="T50" fmla="*/ 2147483647 w 162"/>
                <a:gd name="T51" fmla="*/ 2147483647 h 270"/>
                <a:gd name="T52" fmla="*/ 2147483647 w 162"/>
                <a:gd name="T53" fmla="*/ 2147483647 h 270"/>
                <a:gd name="T54" fmla="*/ 2147483647 w 162"/>
                <a:gd name="T55" fmla="*/ 2147483647 h 270"/>
                <a:gd name="T56" fmla="*/ 2147483647 w 162"/>
                <a:gd name="T57" fmla="*/ 2147483647 h 270"/>
                <a:gd name="T58" fmla="*/ 2147483647 w 162"/>
                <a:gd name="T59" fmla="*/ 2147483647 h 270"/>
                <a:gd name="T60" fmla="*/ 2147483647 w 162"/>
                <a:gd name="T61" fmla="*/ 2147483647 h 270"/>
                <a:gd name="T62" fmla="*/ 2147483647 w 162"/>
                <a:gd name="T63" fmla="*/ 2147483647 h 270"/>
                <a:gd name="T64" fmla="*/ 2147483647 w 162"/>
                <a:gd name="T65" fmla="*/ 2147483647 h 270"/>
                <a:gd name="T66" fmla="*/ 2147483647 w 162"/>
                <a:gd name="T67" fmla="*/ 2147483647 h 270"/>
                <a:gd name="T68" fmla="*/ 2147483647 w 162"/>
                <a:gd name="T69" fmla="*/ 2147483647 h 270"/>
                <a:gd name="T70" fmla="*/ 2147483647 w 162"/>
                <a:gd name="T71" fmla="*/ 2147483647 h 270"/>
                <a:gd name="T72" fmla="*/ 2147483647 w 162"/>
                <a:gd name="T73" fmla="*/ 2147483647 h 270"/>
                <a:gd name="T74" fmla="*/ 0 w 162"/>
                <a:gd name="T75" fmla="*/ 2147483647 h 27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62"/>
                <a:gd name="T115" fmla="*/ 0 h 270"/>
                <a:gd name="T116" fmla="*/ 162 w 162"/>
                <a:gd name="T117" fmla="*/ 270 h 27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62" h="270">
                  <a:moveTo>
                    <a:pt x="0" y="88"/>
                  </a:moveTo>
                  <a:lnTo>
                    <a:pt x="0" y="72"/>
                  </a:lnTo>
                  <a:lnTo>
                    <a:pt x="50" y="64"/>
                  </a:lnTo>
                  <a:lnTo>
                    <a:pt x="66" y="64"/>
                  </a:lnTo>
                  <a:lnTo>
                    <a:pt x="64" y="94"/>
                  </a:lnTo>
                  <a:lnTo>
                    <a:pt x="76" y="106"/>
                  </a:lnTo>
                  <a:lnTo>
                    <a:pt x="86" y="92"/>
                  </a:lnTo>
                  <a:lnTo>
                    <a:pt x="84" y="64"/>
                  </a:lnTo>
                  <a:lnTo>
                    <a:pt x="70" y="48"/>
                  </a:lnTo>
                  <a:lnTo>
                    <a:pt x="64" y="32"/>
                  </a:lnTo>
                  <a:lnTo>
                    <a:pt x="68" y="16"/>
                  </a:lnTo>
                  <a:lnTo>
                    <a:pt x="90" y="18"/>
                  </a:lnTo>
                  <a:lnTo>
                    <a:pt x="116" y="20"/>
                  </a:lnTo>
                  <a:lnTo>
                    <a:pt x="142" y="10"/>
                  </a:lnTo>
                  <a:lnTo>
                    <a:pt x="158" y="0"/>
                  </a:lnTo>
                  <a:lnTo>
                    <a:pt x="158" y="40"/>
                  </a:lnTo>
                  <a:lnTo>
                    <a:pt x="162" y="80"/>
                  </a:lnTo>
                  <a:lnTo>
                    <a:pt x="144" y="98"/>
                  </a:lnTo>
                  <a:lnTo>
                    <a:pt x="112" y="118"/>
                  </a:lnTo>
                  <a:lnTo>
                    <a:pt x="76" y="150"/>
                  </a:lnTo>
                  <a:lnTo>
                    <a:pt x="68" y="154"/>
                  </a:lnTo>
                  <a:lnTo>
                    <a:pt x="70" y="168"/>
                  </a:lnTo>
                  <a:lnTo>
                    <a:pt x="80" y="196"/>
                  </a:lnTo>
                  <a:lnTo>
                    <a:pt x="76" y="228"/>
                  </a:lnTo>
                  <a:lnTo>
                    <a:pt x="38" y="248"/>
                  </a:lnTo>
                  <a:lnTo>
                    <a:pt x="34" y="256"/>
                  </a:lnTo>
                  <a:lnTo>
                    <a:pt x="38" y="264"/>
                  </a:lnTo>
                  <a:lnTo>
                    <a:pt x="40" y="270"/>
                  </a:lnTo>
                  <a:lnTo>
                    <a:pt x="24" y="268"/>
                  </a:lnTo>
                  <a:lnTo>
                    <a:pt x="24" y="258"/>
                  </a:lnTo>
                  <a:lnTo>
                    <a:pt x="24" y="222"/>
                  </a:lnTo>
                  <a:lnTo>
                    <a:pt x="16" y="198"/>
                  </a:lnTo>
                  <a:lnTo>
                    <a:pt x="8" y="192"/>
                  </a:lnTo>
                  <a:lnTo>
                    <a:pt x="30" y="176"/>
                  </a:lnTo>
                  <a:lnTo>
                    <a:pt x="38" y="158"/>
                  </a:lnTo>
                  <a:lnTo>
                    <a:pt x="38" y="128"/>
                  </a:lnTo>
                  <a:lnTo>
                    <a:pt x="36" y="100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53" name="Freeform 69"/>
            <p:cNvSpPr>
              <a:spLocks/>
            </p:cNvSpPr>
            <p:nvPr/>
          </p:nvSpPr>
          <p:spPr bwMode="gray">
            <a:xfrm>
              <a:off x="5049838" y="4408488"/>
              <a:ext cx="60325" cy="144462"/>
            </a:xfrm>
            <a:custGeom>
              <a:avLst/>
              <a:gdLst>
                <a:gd name="T0" fmla="*/ 2147483647 w 50"/>
                <a:gd name="T1" fmla="*/ 2147483647 h 120"/>
                <a:gd name="T2" fmla="*/ 2147483647 w 50"/>
                <a:gd name="T3" fmla="*/ 2147483647 h 120"/>
                <a:gd name="T4" fmla="*/ 2147483647 w 50"/>
                <a:gd name="T5" fmla="*/ 2147483647 h 120"/>
                <a:gd name="T6" fmla="*/ 2147483647 w 50"/>
                <a:gd name="T7" fmla="*/ 2147483647 h 120"/>
                <a:gd name="T8" fmla="*/ 2147483647 w 50"/>
                <a:gd name="T9" fmla="*/ 0 h 120"/>
                <a:gd name="T10" fmla="*/ 2147483647 w 50"/>
                <a:gd name="T11" fmla="*/ 0 h 120"/>
                <a:gd name="T12" fmla="*/ 2147483647 w 50"/>
                <a:gd name="T13" fmla="*/ 2147483647 h 120"/>
                <a:gd name="T14" fmla="*/ 2147483647 w 50"/>
                <a:gd name="T15" fmla="*/ 2147483647 h 120"/>
                <a:gd name="T16" fmla="*/ 2147483647 w 50"/>
                <a:gd name="T17" fmla="*/ 2147483647 h 120"/>
                <a:gd name="T18" fmla="*/ 2147483647 w 50"/>
                <a:gd name="T19" fmla="*/ 2147483647 h 120"/>
                <a:gd name="T20" fmla="*/ 2147483647 w 50"/>
                <a:gd name="T21" fmla="*/ 2147483647 h 120"/>
                <a:gd name="T22" fmla="*/ 2147483647 w 50"/>
                <a:gd name="T23" fmla="*/ 2147483647 h 120"/>
                <a:gd name="T24" fmla="*/ 2147483647 w 50"/>
                <a:gd name="T25" fmla="*/ 2147483647 h 120"/>
                <a:gd name="T26" fmla="*/ 2147483647 w 50"/>
                <a:gd name="T27" fmla="*/ 2147483647 h 120"/>
                <a:gd name="T28" fmla="*/ 2147483647 w 50"/>
                <a:gd name="T29" fmla="*/ 2147483647 h 120"/>
                <a:gd name="T30" fmla="*/ 2147483647 w 50"/>
                <a:gd name="T31" fmla="*/ 2147483647 h 120"/>
                <a:gd name="T32" fmla="*/ 0 w 50"/>
                <a:gd name="T33" fmla="*/ 2147483647 h 120"/>
                <a:gd name="T34" fmla="*/ 2147483647 w 50"/>
                <a:gd name="T35" fmla="*/ 2147483647 h 1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0"/>
                <a:gd name="T55" fmla="*/ 0 h 120"/>
                <a:gd name="T56" fmla="*/ 50 w 50"/>
                <a:gd name="T57" fmla="*/ 120 h 12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0" h="120">
                  <a:moveTo>
                    <a:pt x="4" y="50"/>
                  </a:moveTo>
                  <a:lnTo>
                    <a:pt x="10" y="44"/>
                  </a:lnTo>
                  <a:lnTo>
                    <a:pt x="12" y="18"/>
                  </a:lnTo>
                  <a:lnTo>
                    <a:pt x="14" y="14"/>
                  </a:lnTo>
                  <a:lnTo>
                    <a:pt x="8" y="0"/>
                  </a:lnTo>
                  <a:lnTo>
                    <a:pt x="22" y="0"/>
                  </a:lnTo>
                  <a:lnTo>
                    <a:pt x="30" y="12"/>
                  </a:lnTo>
                  <a:lnTo>
                    <a:pt x="32" y="30"/>
                  </a:lnTo>
                  <a:lnTo>
                    <a:pt x="28" y="46"/>
                  </a:lnTo>
                  <a:lnTo>
                    <a:pt x="34" y="62"/>
                  </a:lnTo>
                  <a:lnTo>
                    <a:pt x="48" y="78"/>
                  </a:lnTo>
                  <a:lnTo>
                    <a:pt x="50" y="106"/>
                  </a:lnTo>
                  <a:lnTo>
                    <a:pt x="40" y="120"/>
                  </a:lnTo>
                  <a:lnTo>
                    <a:pt x="28" y="108"/>
                  </a:lnTo>
                  <a:lnTo>
                    <a:pt x="30" y="78"/>
                  </a:lnTo>
                  <a:lnTo>
                    <a:pt x="10" y="78"/>
                  </a:lnTo>
                  <a:lnTo>
                    <a:pt x="0" y="64"/>
                  </a:lnTo>
                  <a:lnTo>
                    <a:pt x="4" y="5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54" name="Freeform 70"/>
            <p:cNvSpPr>
              <a:spLocks/>
            </p:cNvSpPr>
            <p:nvPr/>
          </p:nvSpPr>
          <p:spPr bwMode="gray">
            <a:xfrm>
              <a:off x="4848225" y="4384675"/>
              <a:ext cx="219075" cy="188913"/>
            </a:xfrm>
            <a:custGeom>
              <a:avLst/>
              <a:gdLst>
                <a:gd name="T0" fmla="*/ 2147483647 w 184"/>
                <a:gd name="T1" fmla="*/ 2147483647 h 156"/>
                <a:gd name="T2" fmla="*/ 2147483647 w 184"/>
                <a:gd name="T3" fmla="*/ 2147483647 h 156"/>
                <a:gd name="T4" fmla="*/ 2147483647 w 184"/>
                <a:gd name="T5" fmla="*/ 2147483647 h 156"/>
                <a:gd name="T6" fmla="*/ 2147483647 w 184"/>
                <a:gd name="T7" fmla="*/ 2147483647 h 156"/>
                <a:gd name="T8" fmla="*/ 0 w 184"/>
                <a:gd name="T9" fmla="*/ 2147483647 h 156"/>
                <a:gd name="T10" fmla="*/ 2147483647 w 184"/>
                <a:gd name="T11" fmla="*/ 2147483647 h 156"/>
                <a:gd name="T12" fmla="*/ 2147483647 w 184"/>
                <a:gd name="T13" fmla="*/ 2147483647 h 156"/>
                <a:gd name="T14" fmla="*/ 2147483647 w 184"/>
                <a:gd name="T15" fmla="*/ 2147483647 h 156"/>
                <a:gd name="T16" fmla="*/ 2147483647 w 184"/>
                <a:gd name="T17" fmla="*/ 2147483647 h 156"/>
                <a:gd name="T18" fmla="*/ 2147483647 w 184"/>
                <a:gd name="T19" fmla="*/ 2147483647 h 156"/>
                <a:gd name="T20" fmla="*/ 2147483647 w 184"/>
                <a:gd name="T21" fmla="*/ 2147483647 h 156"/>
                <a:gd name="T22" fmla="*/ 2147483647 w 184"/>
                <a:gd name="T23" fmla="*/ 2147483647 h 156"/>
                <a:gd name="T24" fmla="*/ 2147483647 w 184"/>
                <a:gd name="T25" fmla="*/ 2147483647 h 156"/>
                <a:gd name="T26" fmla="*/ 2147483647 w 184"/>
                <a:gd name="T27" fmla="*/ 2147483647 h 156"/>
                <a:gd name="T28" fmla="*/ 2147483647 w 184"/>
                <a:gd name="T29" fmla="*/ 2147483647 h 156"/>
                <a:gd name="T30" fmla="*/ 2147483647 w 184"/>
                <a:gd name="T31" fmla="*/ 2147483647 h 156"/>
                <a:gd name="T32" fmla="*/ 2147483647 w 184"/>
                <a:gd name="T33" fmla="*/ 2147483647 h 156"/>
                <a:gd name="T34" fmla="*/ 2147483647 w 184"/>
                <a:gd name="T35" fmla="*/ 2147483647 h 156"/>
                <a:gd name="T36" fmla="*/ 2147483647 w 184"/>
                <a:gd name="T37" fmla="*/ 2147483647 h 156"/>
                <a:gd name="T38" fmla="*/ 2147483647 w 184"/>
                <a:gd name="T39" fmla="*/ 0 h 156"/>
                <a:gd name="T40" fmla="*/ 2147483647 w 184"/>
                <a:gd name="T41" fmla="*/ 0 h 156"/>
                <a:gd name="T42" fmla="*/ 2147483647 w 184"/>
                <a:gd name="T43" fmla="*/ 2147483647 h 156"/>
                <a:gd name="T44" fmla="*/ 2147483647 w 184"/>
                <a:gd name="T45" fmla="*/ 2147483647 h 156"/>
                <a:gd name="T46" fmla="*/ 2147483647 w 184"/>
                <a:gd name="T47" fmla="*/ 2147483647 h 156"/>
                <a:gd name="T48" fmla="*/ 2147483647 w 184"/>
                <a:gd name="T49" fmla="*/ 2147483647 h 156"/>
                <a:gd name="T50" fmla="*/ 2147483647 w 184"/>
                <a:gd name="T51" fmla="*/ 2147483647 h 156"/>
                <a:gd name="T52" fmla="*/ 2147483647 w 184"/>
                <a:gd name="T53" fmla="*/ 2147483647 h 156"/>
                <a:gd name="T54" fmla="*/ 2147483647 w 184"/>
                <a:gd name="T55" fmla="*/ 2147483647 h 156"/>
                <a:gd name="T56" fmla="*/ 2147483647 w 184"/>
                <a:gd name="T57" fmla="*/ 2147483647 h 156"/>
                <a:gd name="T58" fmla="*/ 2147483647 w 184"/>
                <a:gd name="T59" fmla="*/ 2147483647 h 156"/>
                <a:gd name="T60" fmla="*/ 2147483647 w 184"/>
                <a:gd name="T61" fmla="*/ 2147483647 h 156"/>
                <a:gd name="T62" fmla="*/ 2147483647 w 184"/>
                <a:gd name="T63" fmla="*/ 2147483647 h 156"/>
                <a:gd name="T64" fmla="*/ 2147483647 w 184"/>
                <a:gd name="T65" fmla="*/ 2147483647 h 156"/>
                <a:gd name="T66" fmla="*/ 2147483647 w 184"/>
                <a:gd name="T67" fmla="*/ 2147483647 h 156"/>
                <a:gd name="T68" fmla="*/ 2147483647 w 184"/>
                <a:gd name="T69" fmla="*/ 2147483647 h 1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84"/>
                <a:gd name="T106" fmla="*/ 0 h 156"/>
                <a:gd name="T107" fmla="*/ 184 w 184"/>
                <a:gd name="T108" fmla="*/ 156 h 15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84" h="156">
                  <a:moveTo>
                    <a:pt x="52" y="156"/>
                  </a:moveTo>
                  <a:lnTo>
                    <a:pt x="46" y="150"/>
                  </a:lnTo>
                  <a:lnTo>
                    <a:pt x="20" y="148"/>
                  </a:lnTo>
                  <a:lnTo>
                    <a:pt x="2" y="128"/>
                  </a:lnTo>
                  <a:lnTo>
                    <a:pt x="0" y="76"/>
                  </a:lnTo>
                  <a:lnTo>
                    <a:pt x="30" y="76"/>
                  </a:lnTo>
                  <a:lnTo>
                    <a:pt x="30" y="42"/>
                  </a:lnTo>
                  <a:lnTo>
                    <a:pt x="48" y="50"/>
                  </a:lnTo>
                  <a:lnTo>
                    <a:pt x="68" y="58"/>
                  </a:lnTo>
                  <a:lnTo>
                    <a:pt x="82" y="52"/>
                  </a:lnTo>
                  <a:lnTo>
                    <a:pt x="90" y="64"/>
                  </a:lnTo>
                  <a:lnTo>
                    <a:pt x="102" y="70"/>
                  </a:lnTo>
                  <a:lnTo>
                    <a:pt x="110" y="82"/>
                  </a:lnTo>
                  <a:lnTo>
                    <a:pt x="124" y="82"/>
                  </a:lnTo>
                  <a:lnTo>
                    <a:pt x="124" y="64"/>
                  </a:lnTo>
                  <a:lnTo>
                    <a:pt x="110" y="58"/>
                  </a:lnTo>
                  <a:lnTo>
                    <a:pt x="100" y="48"/>
                  </a:lnTo>
                  <a:lnTo>
                    <a:pt x="104" y="26"/>
                  </a:lnTo>
                  <a:lnTo>
                    <a:pt x="102" y="8"/>
                  </a:lnTo>
                  <a:lnTo>
                    <a:pt x="118" y="0"/>
                  </a:lnTo>
                  <a:lnTo>
                    <a:pt x="136" y="0"/>
                  </a:lnTo>
                  <a:lnTo>
                    <a:pt x="178" y="20"/>
                  </a:lnTo>
                  <a:lnTo>
                    <a:pt x="184" y="34"/>
                  </a:lnTo>
                  <a:lnTo>
                    <a:pt x="180" y="40"/>
                  </a:lnTo>
                  <a:lnTo>
                    <a:pt x="180" y="64"/>
                  </a:lnTo>
                  <a:lnTo>
                    <a:pt x="174" y="70"/>
                  </a:lnTo>
                  <a:lnTo>
                    <a:pt x="170" y="84"/>
                  </a:lnTo>
                  <a:lnTo>
                    <a:pt x="180" y="98"/>
                  </a:lnTo>
                  <a:lnTo>
                    <a:pt x="134" y="106"/>
                  </a:lnTo>
                  <a:lnTo>
                    <a:pt x="134" y="122"/>
                  </a:lnTo>
                  <a:lnTo>
                    <a:pt x="114" y="120"/>
                  </a:lnTo>
                  <a:lnTo>
                    <a:pt x="106" y="134"/>
                  </a:lnTo>
                  <a:lnTo>
                    <a:pt x="94" y="136"/>
                  </a:lnTo>
                  <a:lnTo>
                    <a:pt x="80" y="154"/>
                  </a:lnTo>
                  <a:lnTo>
                    <a:pt x="52" y="15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55" name="Freeform 71"/>
            <p:cNvSpPr>
              <a:spLocks/>
            </p:cNvSpPr>
            <p:nvPr/>
          </p:nvSpPr>
          <p:spPr bwMode="gray">
            <a:xfrm>
              <a:off x="4987925" y="4243388"/>
              <a:ext cx="207963" cy="206375"/>
            </a:xfrm>
            <a:custGeom>
              <a:avLst/>
              <a:gdLst>
                <a:gd name="T0" fmla="*/ 2147483647 w 174"/>
                <a:gd name="T1" fmla="*/ 2147483647 h 170"/>
                <a:gd name="T2" fmla="*/ 2147483647 w 174"/>
                <a:gd name="T3" fmla="*/ 2147483647 h 170"/>
                <a:gd name="T4" fmla="*/ 2147483647 w 174"/>
                <a:gd name="T5" fmla="*/ 2147483647 h 170"/>
                <a:gd name="T6" fmla="*/ 0 w 174"/>
                <a:gd name="T7" fmla="*/ 2147483647 h 170"/>
                <a:gd name="T8" fmla="*/ 2147483647 w 174"/>
                <a:gd name="T9" fmla="*/ 2147483647 h 170"/>
                <a:gd name="T10" fmla="*/ 2147483647 w 174"/>
                <a:gd name="T11" fmla="*/ 2147483647 h 170"/>
                <a:gd name="T12" fmla="*/ 2147483647 w 174"/>
                <a:gd name="T13" fmla="*/ 2147483647 h 170"/>
                <a:gd name="T14" fmla="*/ 2147483647 w 174"/>
                <a:gd name="T15" fmla="*/ 0 h 170"/>
                <a:gd name="T16" fmla="*/ 2147483647 w 174"/>
                <a:gd name="T17" fmla="*/ 0 h 170"/>
                <a:gd name="T18" fmla="*/ 2147483647 w 174"/>
                <a:gd name="T19" fmla="*/ 2147483647 h 170"/>
                <a:gd name="T20" fmla="*/ 2147483647 w 174"/>
                <a:gd name="T21" fmla="*/ 2147483647 h 170"/>
                <a:gd name="T22" fmla="*/ 2147483647 w 174"/>
                <a:gd name="T23" fmla="*/ 2147483647 h 170"/>
                <a:gd name="T24" fmla="*/ 2147483647 w 174"/>
                <a:gd name="T25" fmla="*/ 2147483647 h 170"/>
                <a:gd name="T26" fmla="*/ 2147483647 w 174"/>
                <a:gd name="T27" fmla="*/ 2147483647 h 170"/>
                <a:gd name="T28" fmla="*/ 2147483647 w 174"/>
                <a:gd name="T29" fmla="*/ 2147483647 h 170"/>
                <a:gd name="T30" fmla="*/ 2147483647 w 174"/>
                <a:gd name="T31" fmla="*/ 2147483647 h 170"/>
                <a:gd name="T32" fmla="*/ 2147483647 w 174"/>
                <a:gd name="T33" fmla="*/ 2147483647 h 170"/>
                <a:gd name="T34" fmla="*/ 2147483647 w 174"/>
                <a:gd name="T35" fmla="*/ 2147483647 h 170"/>
                <a:gd name="T36" fmla="*/ 2147483647 w 174"/>
                <a:gd name="T37" fmla="*/ 2147483647 h 170"/>
                <a:gd name="T38" fmla="*/ 2147483647 w 174"/>
                <a:gd name="T39" fmla="*/ 2147483647 h 170"/>
                <a:gd name="T40" fmla="*/ 2147483647 w 174"/>
                <a:gd name="T41" fmla="*/ 2147483647 h 170"/>
                <a:gd name="T42" fmla="*/ 2147483647 w 174"/>
                <a:gd name="T43" fmla="*/ 2147483647 h 170"/>
                <a:gd name="T44" fmla="*/ 2147483647 w 174"/>
                <a:gd name="T45" fmla="*/ 2147483647 h 170"/>
                <a:gd name="T46" fmla="*/ 2147483647 w 174"/>
                <a:gd name="T47" fmla="*/ 2147483647 h 170"/>
                <a:gd name="T48" fmla="*/ 2147483647 w 174"/>
                <a:gd name="T49" fmla="*/ 2147483647 h 17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74"/>
                <a:gd name="T76" fmla="*/ 0 h 170"/>
                <a:gd name="T77" fmla="*/ 174 w 174"/>
                <a:gd name="T78" fmla="*/ 170 h 17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74" h="170">
                  <a:moveTo>
                    <a:pt x="18" y="116"/>
                  </a:moveTo>
                  <a:lnTo>
                    <a:pt x="16" y="100"/>
                  </a:lnTo>
                  <a:lnTo>
                    <a:pt x="2" y="82"/>
                  </a:lnTo>
                  <a:lnTo>
                    <a:pt x="0" y="56"/>
                  </a:lnTo>
                  <a:lnTo>
                    <a:pt x="20" y="34"/>
                  </a:lnTo>
                  <a:lnTo>
                    <a:pt x="16" y="20"/>
                  </a:lnTo>
                  <a:lnTo>
                    <a:pt x="22" y="12"/>
                  </a:lnTo>
                  <a:lnTo>
                    <a:pt x="16" y="0"/>
                  </a:lnTo>
                  <a:lnTo>
                    <a:pt x="38" y="0"/>
                  </a:lnTo>
                  <a:lnTo>
                    <a:pt x="76" y="2"/>
                  </a:lnTo>
                  <a:lnTo>
                    <a:pt x="128" y="30"/>
                  </a:lnTo>
                  <a:lnTo>
                    <a:pt x="132" y="40"/>
                  </a:lnTo>
                  <a:lnTo>
                    <a:pt x="156" y="58"/>
                  </a:lnTo>
                  <a:lnTo>
                    <a:pt x="150" y="72"/>
                  </a:lnTo>
                  <a:lnTo>
                    <a:pt x="148" y="86"/>
                  </a:lnTo>
                  <a:lnTo>
                    <a:pt x="156" y="98"/>
                  </a:lnTo>
                  <a:lnTo>
                    <a:pt x="156" y="126"/>
                  </a:lnTo>
                  <a:lnTo>
                    <a:pt x="174" y="150"/>
                  </a:lnTo>
                  <a:lnTo>
                    <a:pt x="158" y="160"/>
                  </a:lnTo>
                  <a:lnTo>
                    <a:pt x="132" y="170"/>
                  </a:lnTo>
                  <a:lnTo>
                    <a:pt x="84" y="166"/>
                  </a:lnTo>
                  <a:lnTo>
                    <a:pt x="82" y="148"/>
                  </a:lnTo>
                  <a:lnTo>
                    <a:pt x="74" y="136"/>
                  </a:lnTo>
                  <a:lnTo>
                    <a:pt x="60" y="136"/>
                  </a:lnTo>
                  <a:lnTo>
                    <a:pt x="18" y="11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56" name="Freeform 72"/>
            <p:cNvSpPr>
              <a:spLocks/>
            </p:cNvSpPr>
            <p:nvPr/>
          </p:nvSpPr>
          <p:spPr bwMode="gray">
            <a:xfrm>
              <a:off x="4986338" y="4267200"/>
              <a:ext cx="26987" cy="44450"/>
            </a:xfrm>
            <a:custGeom>
              <a:avLst/>
              <a:gdLst>
                <a:gd name="T0" fmla="*/ 2147483647 w 22"/>
                <a:gd name="T1" fmla="*/ 0 h 36"/>
                <a:gd name="T2" fmla="*/ 2147483647 w 22"/>
                <a:gd name="T3" fmla="*/ 2147483647 h 36"/>
                <a:gd name="T4" fmla="*/ 0 w 22"/>
                <a:gd name="T5" fmla="*/ 2147483647 h 36"/>
                <a:gd name="T6" fmla="*/ 2147483647 w 22"/>
                <a:gd name="T7" fmla="*/ 2147483647 h 36"/>
                <a:gd name="T8" fmla="*/ 2147483647 w 22"/>
                <a:gd name="T9" fmla="*/ 2147483647 h 36"/>
                <a:gd name="T10" fmla="*/ 2147483647 w 22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2"/>
                <a:gd name="T19" fmla="*/ 0 h 36"/>
                <a:gd name="T20" fmla="*/ 22 w 22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2" h="36">
                  <a:moveTo>
                    <a:pt x="18" y="0"/>
                  </a:moveTo>
                  <a:lnTo>
                    <a:pt x="10" y="2"/>
                  </a:lnTo>
                  <a:lnTo>
                    <a:pt x="0" y="12"/>
                  </a:lnTo>
                  <a:lnTo>
                    <a:pt x="2" y="36"/>
                  </a:lnTo>
                  <a:lnTo>
                    <a:pt x="22" y="14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57" name="Freeform 73"/>
            <p:cNvSpPr>
              <a:spLocks/>
            </p:cNvSpPr>
            <p:nvPr/>
          </p:nvSpPr>
          <p:spPr bwMode="gray">
            <a:xfrm>
              <a:off x="4978400" y="4243388"/>
              <a:ext cx="36513" cy="39687"/>
            </a:xfrm>
            <a:custGeom>
              <a:avLst/>
              <a:gdLst>
                <a:gd name="T0" fmla="*/ 2147483647 w 30"/>
                <a:gd name="T1" fmla="*/ 2147483647 h 32"/>
                <a:gd name="T2" fmla="*/ 2147483647 w 30"/>
                <a:gd name="T3" fmla="*/ 0 h 32"/>
                <a:gd name="T4" fmla="*/ 2147483647 w 30"/>
                <a:gd name="T5" fmla="*/ 2147483647 h 32"/>
                <a:gd name="T6" fmla="*/ 2147483647 w 30"/>
                <a:gd name="T7" fmla="*/ 2147483647 h 32"/>
                <a:gd name="T8" fmla="*/ 2147483647 w 30"/>
                <a:gd name="T9" fmla="*/ 2147483647 h 32"/>
                <a:gd name="T10" fmla="*/ 2147483647 w 30"/>
                <a:gd name="T11" fmla="*/ 2147483647 h 32"/>
                <a:gd name="T12" fmla="*/ 0 w 30"/>
                <a:gd name="T13" fmla="*/ 2147483647 h 32"/>
                <a:gd name="T14" fmla="*/ 2147483647 w 30"/>
                <a:gd name="T15" fmla="*/ 2147483647 h 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0"/>
                <a:gd name="T25" fmla="*/ 0 h 32"/>
                <a:gd name="T26" fmla="*/ 30 w 30"/>
                <a:gd name="T27" fmla="*/ 32 h 3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0" h="32">
                  <a:moveTo>
                    <a:pt x="10" y="2"/>
                  </a:moveTo>
                  <a:lnTo>
                    <a:pt x="24" y="0"/>
                  </a:lnTo>
                  <a:lnTo>
                    <a:pt x="30" y="12"/>
                  </a:lnTo>
                  <a:lnTo>
                    <a:pt x="24" y="20"/>
                  </a:lnTo>
                  <a:lnTo>
                    <a:pt x="16" y="22"/>
                  </a:lnTo>
                  <a:lnTo>
                    <a:pt x="6" y="32"/>
                  </a:lnTo>
                  <a:lnTo>
                    <a:pt x="0" y="16"/>
                  </a:lnTo>
                  <a:lnTo>
                    <a:pt x="10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58" name="Freeform 74"/>
            <p:cNvSpPr>
              <a:spLocks/>
            </p:cNvSpPr>
            <p:nvPr/>
          </p:nvSpPr>
          <p:spPr bwMode="gray">
            <a:xfrm>
              <a:off x="4991100" y="4144963"/>
              <a:ext cx="101600" cy="101600"/>
            </a:xfrm>
            <a:custGeom>
              <a:avLst/>
              <a:gdLst>
                <a:gd name="T0" fmla="*/ 0 w 86"/>
                <a:gd name="T1" fmla="*/ 2147483647 h 84"/>
                <a:gd name="T2" fmla="*/ 2147483647 w 86"/>
                <a:gd name="T3" fmla="*/ 2147483647 h 84"/>
                <a:gd name="T4" fmla="*/ 2147483647 w 86"/>
                <a:gd name="T5" fmla="*/ 2147483647 h 84"/>
                <a:gd name="T6" fmla="*/ 2147483647 w 86"/>
                <a:gd name="T7" fmla="*/ 2147483647 h 84"/>
                <a:gd name="T8" fmla="*/ 2147483647 w 86"/>
                <a:gd name="T9" fmla="*/ 2147483647 h 84"/>
                <a:gd name="T10" fmla="*/ 2147483647 w 86"/>
                <a:gd name="T11" fmla="*/ 2147483647 h 84"/>
                <a:gd name="T12" fmla="*/ 2147483647 w 86"/>
                <a:gd name="T13" fmla="*/ 2147483647 h 84"/>
                <a:gd name="T14" fmla="*/ 2147483647 w 86"/>
                <a:gd name="T15" fmla="*/ 0 h 84"/>
                <a:gd name="T16" fmla="*/ 2147483647 w 86"/>
                <a:gd name="T17" fmla="*/ 2147483647 h 84"/>
                <a:gd name="T18" fmla="*/ 2147483647 w 86"/>
                <a:gd name="T19" fmla="*/ 2147483647 h 84"/>
                <a:gd name="T20" fmla="*/ 2147483647 w 86"/>
                <a:gd name="T21" fmla="*/ 2147483647 h 84"/>
                <a:gd name="T22" fmla="*/ 2147483647 w 86"/>
                <a:gd name="T23" fmla="*/ 2147483647 h 84"/>
                <a:gd name="T24" fmla="*/ 2147483647 w 86"/>
                <a:gd name="T25" fmla="*/ 2147483647 h 84"/>
                <a:gd name="T26" fmla="*/ 2147483647 w 86"/>
                <a:gd name="T27" fmla="*/ 2147483647 h 84"/>
                <a:gd name="T28" fmla="*/ 2147483647 w 86"/>
                <a:gd name="T29" fmla="*/ 2147483647 h 84"/>
                <a:gd name="T30" fmla="*/ 0 w 86"/>
                <a:gd name="T31" fmla="*/ 2147483647 h 8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86"/>
                <a:gd name="T49" fmla="*/ 0 h 84"/>
                <a:gd name="T50" fmla="*/ 86 w 86"/>
                <a:gd name="T51" fmla="*/ 84 h 8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86" h="84">
                  <a:moveTo>
                    <a:pt x="0" y="84"/>
                  </a:moveTo>
                  <a:lnTo>
                    <a:pt x="2" y="64"/>
                  </a:lnTo>
                  <a:lnTo>
                    <a:pt x="6" y="52"/>
                  </a:lnTo>
                  <a:lnTo>
                    <a:pt x="26" y="34"/>
                  </a:lnTo>
                  <a:lnTo>
                    <a:pt x="26" y="30"/>
                  </a:lnTo>
                  <a:lnTo>
                    <a:pt x="20" y="28"/>
                  </a:lnTo>
                  <a:lnTo>
                    <a:pt x="16" y="4"/>
                  </a:lnTo>
                  <a:lnTo>
                    <a:pt x="68" y="0"/>
                  </a:lnTo>
                  <a:lnTo>
                    <a:pt x="80" y="20"/>
                  </a:lnTo>
                  <a:lnTo>
                    <a:pt x="86" y="42"/>
                  </a:lnTo>
                  <a:lnTo>
                    <a:pt x="72" y="58"/>
                  </a:lnTo>
                  <a:lnTo>
                    <a:pt x="76" y="72"/>
                  </a:lnTo>
                  <a:lnTo>
                    <a:pt x="70" y="84"/>
                  </a:lnTo>
                  <a:lnTo>
                    <a:pt x="36" y="82"/>
                  </a:lnTo>
                  <a:lnTo>
                    <a:pt x="14" y="82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59" name="Freeform 75"/>
            <p:cNvSpPr>
              <a:spLocks/>
            </p:cNvSpPr>
            <p:nvPr/>
          </p:nvSpPr>
          <p:spPr bwMode="gray">
            <a:xfrm>
              <a:off x="4662488" y="4335463"/>
              <a:ext cx="247650" cy="247650"/>
            </a:xfrm>
            <a:custGeom>
              <a:avLst/>
              <a:gdLst>
                <a:gd name="T0" fmla="*/ 0 w 210"/>
                <a:gd name="T1" fmla="*/ 2147483647 h 204"/>
                <a:gd name="T2" fmla="*/ 0 w 210"/>
                <a:gd name="T3" fmla="*/ 2147483647 h 204"/>
                <a:gd name="T4" fmla="*/ 2147483647 w 210"/>
                <a:gd name="T5" fmla="*/ 2147483647 h 204"/>
                <a:gd name="T6" fmla="*/ 2147483647 w 210"/>
                <a:gd name="T7" fmla="*/ 2147483647 h 204"/>
                <a:gd name="T8" fmla="*/ 2147483647 w 210"/>
                <a:gd name="T9" fmla="*/ 2147483647 h 204"/>
                <a:gd name="T10" fmla="*/ 2147483647 w 210"/>
                <a:gd name="T11" fmla="*/ 2147483647 h 204"/>
                <a:gd name="T12" fmla="*/ 2147483647 w 210"/>
                <a:gd name="T13" fmla="*/ 2147483647 h 204"/>
                <a:gd name="T14" fmla="*/ 0 w 210"/>
                <a:gd name="T15" fmla="*/ 2147483647 h 204"/>
                <a:gd name="T16" fmla="*/ 2147483647 w 210"/>
                <a:gd name="T17" fmla="*/ 0 h 204"/>
                <a:gd name="T18" fmla="*/ 2147483647 w 210"/>
                <a:gd name="T19" fmla="*/ 0 h 204"/>
                <a:gd name="T20" fmla="*/ 2147483647 w 210"/>
                <a:gd name="T21" fmla="*/ 2147483647 h 204"/>
                <a:gd name="T22" fmla="*/ 2147483647 w 210"/>
                <a:gd name="T23" fmla="*/ 2147483647 h 204"/>
                <a:gd name="T24" fmla="*/ 2147483647 w 210"/>
                <a:gd name="T25" fmla="*/ 2147483647 h 204"/>
                <a:gd name="T26" fmla="*/ 2147483647 w 210"/>
                <a:gd name="T27" fmla="*/ 2147483647 h 204"/>
                <a:gd name="T28" fmla="*/ 2147483647 w 210"/>
                <a:gd name="T29" fmla="*/ 2147483647 h 204"/>
                <a:gd name="T30" fmla="*/ 2147483647 w 210"/>
                <a:gd name="T31" fmla="*/ 2147483647 h 204"/>
                <a:gd name="T32" fmla="*/ 2147483647 w 210"/>
                <a:gd name="T33" fmla="*/ 2147483647 h 204"/>
                <a:gd name="T34" fmla="*/ 2147483647 w 210"/>
                <a:gd name="T35" fmla="*/ 2147483647 h 204"/>
                <a:gd name="T36" fmla="*/ 2147483647 w 210"/>
                <a:gd name="T37" fmla="*/ 2147483647 h 204"/>
                <a:gd name="T38" fmla="*/ 2147483647 w 210"/>
                <a:gd name="T39" fmla="*/ 2147483647 h 204"/>
                <a:gd name="T40" fmla="*/ 2147483647 w 210"/>
                <a:gd name="T41" fmla="*/ 2147483647 h 204"/>
                <a:gd name="T42" fmla="*/ 2147483647 w 210"/>
                <a:gd name="T43" fmla="*/ 2147483647 h 204"/>
                <a:gd name="T44" fmla="*/ 2147483647 w 210"/>
                <a:gd name="T45" fmla="*/ 2147483647 h 204"/>
                <a:gd name="T46" fmla="*/ 2147483647 w 210"/>
                <a:gd name="T47" fmla="*/ 2147483647 h 204"/>
                <a:gd name="T48" fmla="*/ 2147483647 w 210"/>
                <a:gd name="T49" fmla="*/ 2147483647 h 204"/>
                <a:gd name="T50" fmla="*/ 2147483647 w 210"/>
                <a:gd name="T51" fmla="*/ 2147483647 h 204"/>
                <a:gd name="T52" fmla="*/ 2147483647 w 210"/>
                <a:gd name="T53" fmla="*/ 2147483647 h 204"/>
                <a:gd name="T54" fmla="*/ 2147483647 w 210"/>
                <a:gd name="T55" fmla="*/ 2147483647 h 204"/>
                <a:gd name="T56" fmla="*/ 2147483647 w 210"/>
                <a:gd name="T57" fmla="*/ 2147483647 h 204"/>
                <a:gd name="T58" fmla="*/ 2147483647 w 210"/>
                <a:gd name="T59" fmla="*/ 2147483647 h 204"/>
                <a:gd name="T60" fmla="*/ 2147483647 w 210"/>
                <a:gd name="T61" fmla="*/ 2147483647 h 204"/>
                <a:gd name="T62" fmla="*/ 2147483647 w 210"/>
                <a:gd name="T63" fmla="*/ 2147483647 h 204"/>
                <a:gd name="T64" fmla="*/ 0 w 210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10"/>
                <a:gd name="T100" fmla="*/ 0 h 204"/>
                <a:gd name="T101" fmla="*/ 210 w 210"/>
                <a:gd name="T102" fmla="*/ 204 h 20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10" h="204">
                  <a:moveTo>
                    <a:pt x="0" y="186"/>
                  </a:moveTo>
                  <a:lnTo>
                    <a:pt x="0" y="162"/>
                  </a:lnTo>
                  <a:lnTo>
                    <a:pt x="8" y="126"/>
                  </a:lnTo>
                  <a:lnTo>
                    <a:pt x="28" y="94"/>
                  </a:lnTo>
                  <a:lnTo>
                    <a:pt x="28" y="78"/>
                  </a:lnTo>
                  <a:lnTo>
                    <a:pt x="16" y="52"/>
                  </a:lnTo>
                  <a:lnTo>
                    <a:pt x="20" y="38"/>
                  </a:lnTo>
                  <a:lnTo>
                    <a:pt x="0" y="2"/>
                  </a:lnTo>
                  <a:lnTo>
                    <a:pt x="10" y="0"/>
                  </a:lnTo>
                  <a:lnTo>
                    <a:pt x="72" y="0"/>
                  </a:lnTo>
                  <a:lnTo>
                    <a:pt x="76" y="14"/>
                  </a:lnTo>
                  <a:lnTo>
                    <a:pt x="86" y="32"/>
                  </a:lnTo>
                  <a:lnTo>
                    <a:pt x="116" y="34"/>
                  </a:lnTo>
                  <a:lnTo>
                    <a:pt x="126" y="18"/>
                  </a:lnTo>
                  <a:lnTo>
                    <a:pt x="152" y="24"/>
                  </a:lnTo>
                  <a:lnTo>
                    <a:pt x="154" y="64"/>
                  </a:lnTo>
                  <a:lnTo>
                    <a:pt x="164" y="70"/>
                  </a:lnTo>
                  <a:lnTo>
                    <a:pt x="162" y="82"/>
                  </a:lnTo>
                  <a:lnTo>
                    <a:pt x="188" y="82"/>
                  </a:lnTo>
                  <a:lnTo>
                    <a:pt x="188" y="116"/>
                  </a:lnTo>
                  <a:lnTo>
                    <a:pt x="158" y="116"/>
                  </a:lnTo>
                  <a:lnTo>
                    <a:pt x="160" y="168"/>
                  </a:lnTo>
                  <a:lnTo>
                    <a:pt x="178" y="188"/>
                  </a:lnTo>
                  <a:lnTo>
                    <a:pt x="204" y="190"/>
                  </a:lnTo>
                  <a:lnTo>
                    <a:pt x="210" y="196"/>
                  </a:lnTo>
                  <a:lnTo>
                    <a:pt x="204" y="196"/>
                  </a:lnTo>
                  <a:lnTo>
                    <a:pt x="182" y="204"/>
                  </a:lnTo>
                  <a:lnTo>
                    <a:pt x="176" y="196"/>
                  </a:lnTo>
                  <a:lnTo>
                    <a:pt x="142" y="200"/>
                  </a:lnTo>
                  <a:lnTo>
                    <a:pt x="134" y="194"/>
                  </a:lnTo>
                  <a:lnTo>
                    <a:pt x="106" y="192"/>
                  </a:lnTo>
                  <a:lnTo>
                    <a:pt x="98" y="186"/>
                  </a:lnTo>
                  <a:lnTo>
                    <a:pt x="0" y="18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60" name="Freeform 76"/>
            <p:cNvSpPr>
              <a:spLocks/>
            </p:cNvSpPr>
            <p:nvPr/>
          </p:nvSpPr>
          <p:spPr bwMode="gray">
            <a:xfrm>
              <a:off x="4668838" y="4119563"/>
              <a:ext cx="352425" cy="363537"/>
            </a:xfrm>
            <a:custGeom>
              <a:avLst/>
              <a:gdLst>
                <a:gd name="T0" fmla="*/ 0 w 298"/>
                <a:gd name="T1" fmla="*/ 2147483647 h 300"/>
                <a:gd name="T2" fmla="*/ 2147483647 w 298"/>
                <a:gd name="T3" fmla="*/ 2147483647 h 300"/>
                <a:gd name="T4" fmla="*/ 2147483647 w 298"/>
                <a:gd name="T5" fmla="*/ 2147483647 h 300"/>
                <a:gd name="T6" fmla="*/ 2147483647 w 298"/>
                <a:gd name="T7" fmla="*/ 2147483647 h 300"/>
                <a:gd name="T8" fmla="*/ 2147483647 w 298"/>
                <a:gd name="T9" fmla="*/ 2147483647 h 300"/>
                <a:gd name="T10" fmla="*/ 2147483647 w 298"/>
                <a:gd name="T11" fmla="*/ 2147483647 h 300"/>
                <a:gd name="T12" fmla="*/ 2147483647 w 298"/>
                <a:gd name="T13" fmla="*/ 2147483647 h 300"/>
                <a:gd name="T14" fmla="*/ 2147483647 w 298"/>
                <a:gd name="T15" fmla="*/ 2147483647 h 300"/>
                <a:gd name="T16" fmla="*/ 2147483647 w 298"/>
                <a:gd name="T17" fmla="*/ 2147483647 h 300"/>
                <a:gd name="T18" fmla="*/ 2147483647 w 298"/>
                <a:gd name="T19" fmla="*/ 2147483647 h 300"/>
                <a:gd name="T20" fmla="*/ 2147483647 w 298"/>
                <a:gd name="T21" fmla="*/ 0 h 300"/>
                <a:gd name="T22" fmla="*/ 2147483647 w 298"/>
                <a:gd name="T23" fmla="*/ 2147483647 h 300"/>
                <a:gd name="T24" fmla="*/ 2147483647 w 298"/>
                <a:gd name="T25" fmla="*/ 2147483647 h 300"/>
                <a:gd name="T26" fmla="*/ 2147483647 w 298"/>
                <a:gd name="T27" fmla="*/ 2147483647 h 300"/>
                <a:gd name="T28" fmla="*/ 2147483647 w 298"/>
                <a:gd name="T29" fmla="*/ 2147483647 h 300"/>
                <a:gd name="T30" fmla="*/ 2147483647 w 298"/>
                <a:gd name="T31" fmla="*/ 2147483647 h 300"/>
                <a:gd name="T32" fmla="*/ 2147483647 w 298"/>
                <a:gd name="T33" fmla="*/ 2147483647 h 300"/>
                <a:gd name="T34" fmla="*/ 2147483647 w 298"/>
                <a:gd name="T35" fmla="*/ 2147483647 h 300"/>
                <a:gd name="T36" fmla="*/ 2147483647 w 298"/>
                <a:gd name="T37" fmla="*/ 2147483647 h 300"/>
                <a:gd name="T38" fmla="*/ 2147483647 w 298"/>
                <a:gd name="T39" fmla="*/ 2147483647 h 300"/>
                <a:gd name="T40" fmla="*/ 2147483647 w 298"/>
                <a:gd name="T41" fmla="*/ 2147483647 h 300"/>
                <a:gd name="T42" fmla="*/ 2147483647 w 298"/>
                <a:gd name="T43" fmla="*/ 2147483647 h 300"/>
                <a:gd name="T44" fmla="*/ 2147483647 w 298"/>
                <a:gd name="T45" fmla="*/ 2147483647 h 300"/>
                <a:gd name="T46" fmla="*/ 2147483647 w 298"/>
                <a:gd name="T47" fmla="*/ 2147483647 h 300"/>
                <a:gd name="T48" fmla="*/ 2147483647 w 298"/>
                <a:gd name="T49" fmla="*/ 2147483647 h 300"/>
                <a:gd name="T50" fmla="*/ 2147483647 w 298"/>
                <a:gd name="T51" fmla="*/ 2147483647 h 300"/>
                <a:gd name="T52" fmla="*/ 2147483647 w 298"/>
                <a:gd name="T53" fmla="*/ 2147483647 h 300"/>
                <a:gd name="T54" fmla="*/ 2147483647 w 298"/>
                <a:gd name="T55" fmla="*/ 2147483647 h 300"/>
                <a:gd name="T56" fmla="*/ 2147483647 w 298"/>
                <a:gd name="T57" fmla="*/ 2147483647 h 300"/>
                <a:gd name="T58" fmla="*/ 2147483647 w 298"/>
                <a:gd name="T59" fmla="*/ 2147483647 h 300"/>
                <a:gd name="T60" fmla="*/ 2147483647 w 298"/>
                <a:gd name="T61" fmla="*/ 2147483647 h 300"/>
                <a:gd name="T62" fmla="*/ 2147483647 w 298"/>
                <a:gd name="T63" fmla="*/ 2147483647 h 300"/>
                <a:gd name="T64" fmla="*/ 2147483647 w 298"/>
                <a:gd name="T65" fmla="*/ 2147483647 h 300"/>
                <a:gd name="T66" fmla="*/ 2147483647 w 298"/>
                <a:gd name="T67" fmla="*/ 2147483647 h 300"/>
                <a:gd name="T68" fmla="*/ 2147483647 w 298"/>
                <a:gd name="T69" fmla="*/ 2147483647 h 300"/>
                <a:gd name="T70" fmla="*/ 2147483647 w 298"/>
                <a:gd name="T71" fmla="*/ 2147483647 h 300"/>
                <a:gd name="T72" fmla="*/ 2147483647 w 298"/>
                <a:gd name="T73" fmla="*/ 2147483647 h 300"/>
                <a:gd name="T74" fmla="*/ 2147483647 w 298"/>
                <a:gd name="T75" fmla="*/ 2147483647 h 300"/>
                <a:gd name="T76" fmla="*/ 2147483647 w 298"/>
                <a:gd name="T77" fmla="*/ 2147483647 h 300"/>
                <a:gd name="T78" fmla="*/ 2147483647 w 298"/>
                <a:gd name="T79" fmla="*/ 2147483647 h 300"/>
                <a:gd name="T80" fmla="*/ 2147483647 w 298"/>
                <a:gd name="T81" fmla="*/ 2147483647 h 300"/>
                <a:gd name="T82" fmla="*/ 2147483647 w 298"/>
                <a:gd name="T83" fmla="*/ 2147483647 h 300"/>
                <a:gd name="T84" fmla="*/ 2147483647 w 298"/>
                <a:gd name="T85" fmla="*/ 2147483647 h 300"/>
                <a:gd name="T86" fmla="*/ 2147483647 w 298"/>
                <a:gd name="T87" fmla="*/ 2147483647 h 300"/>
                <a:gd name="T88" fmla="*/ 2147483647 w 298"/>
                <a:gd name="T89" fmla="*/ 2147483647 h 300"/>
                <a:gd name="T90" fmla="*/ 2147483647 w 298"/>
                <a:gd name="T91" fmla="*/ 2147483647 h 300"/>
                <a:gd name="T92" fmla="*/ 2147483647 w 298"/>
                <a:gd name="T93" fmla="*/ 2147483647 h 300"/>
                <a:gd name="T94" fmla="*/ 2147483647 w 298"/>
                <a:gd name="T95" fmla="*/ 2147483647 h 300"/>
                <a:gd name="T96" fmla="*/ 2147483647 w 298"/>
                <a:gd name="T97" fmla="*/ 2147483647 h 300"/>
                <a:gd name="T98" fmla="*/ 2147483647 w 298"/>
                <a:gd name="T99" fmla="*/ 2147483647 h 300"/>
                <a:gd name="T100" fmla="*/ 2147483647 w 298"/>
                <a:gd name="T101" fmla="*/ 2147483647 h 300"/>
                <a:gd name="T102" fmla="*/ 2147483647 w 298"/>
                <a:gd name="T103" fmla="*/ 2147483647 h 300"/>
                <a:gd name="T104" fmla="*/ 2147483647 w 298"/>
                <a:gd name="T105" fmla="*/ 2147483647 h 300"/>
                <a:gd name="T106" fmla="*/ 2147483647 w 298"/>
                <a:gd name="T107" fmla="*/ 2147483647 h 300"/>
                <a:gd name="T108" fmla="*/ 2147483647 w 298"/>
                <a:gd name="T109" fmla="*/ 2147483647 h 300"/>
                <a:gd name="T110" fmla="*/ 2147483647 w 298"/>
                <a:gd name="T111" fmla="*/ 2147483647 h 300"/>
                <a:gd name="T112" fmla="*/ 0 w 298"/>
                <a:gd name="T113" fmla="*/ 2147483647 h 30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98"/>
                <a:gd name="T172" fmla="*/ 0 h 300"/>
                <a:gd name="T173" fmla="*/ 298 w 298"/>
                <a:gd name="T174" fmla="*/ 300 h 30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98" h="300">
                  <a:moveTo>
                    <a:pt x="0" y="176"/>
                  </a:moveTo>
                  <a:lnTo>
                    <a:pt x="6" y="162"/>
                  </a:lnTo>
                  <a:lnTo>
                    <a:pt x="14" y="160"/>
                  </a:lnTo>
                  <a:lnTo>
                    <a:pt x="34" y="156"/>
                  </a:lnTo>
                  <a:lnTo>
                    <a:pt x="60" y="144"/>
                  </a:lnTo>
                  <a:lnTo>
                    <a:pt x="64" y="112"/>
                  </a:lnTo>
                  <a:lnTo>
                    <a:pt x="88" y="74"/>
                  </a:lnTo>
                  <a:lnTo>
                    <a:pt x="94" y="42"/>
                  </a:lnTo>
                  <a:lnTo>
                    <a:pt x="96" y="30"/>
                  </a:lnTo>
                  <a:lnTo>
                    <a:pt x="98" y="16"/>
                  </a:lnTo>
                  <a:lnTo>
                    <a:pt x="112" y="0"/>
                  </a:lnTo>
                  <a:lnTo>
                    <a:pt x="126" y="14"/>
                  </a:lnTo>
                  <a:lnTo>
                    <a:pt x="138" y="18"/>
                  </a:lnTo>
                  <a:lnTo>
                    <a:pt x="160" y="20"/>
                  </a:lnTo>
                  <a:lnTo>
                    <a:pt x="172" y="12"/>
                  </a:lnTo>
                  <a:lnTo>
                    <a:pt x="206" y="2"/>
                  </a:lnTo>
                  <a:lnTo>
                    <a:pt x="236" y="4"/>
                  </a:lnTo>
                  <a:lnTo>
                    <a:pt x="244" y="14"/>
                  </a:lnTo>
                  <a:lnTo>
                    <a:pt x="272" y="12"/>
                  </a:lnTo>
                  <a:lnTo>
                    <a:pt x="288" y="24"/>
                  </a:lnTo>
                  <a:lnTo>
                    <a:pt x="292" y="48"/>
                  </a:lnTo>
                  <a:lnTo>
                    <a:pt x="298" y="50"/>
                  </a:lnTo>
                  <a:lnTo>
                    <a:pt x="298" y="54"/>
                  </a:lnTo>
                  <a:lnTo>
                    <a:pt x="278" y="72"/>
                  </a:lnTo>
                  <a:lnTo>
                    <a:pt x="274" y="84"/>
                  </a:lnTo>
                  <a:lnTo>
                    <a:pt x="272" y="104"/>
                  </a:lnTo>
                  <a:lnTo>
                    <a:pt x="262" y="118"/>
                  </a:lnTo>
                  <a:lnTo>
                    <a:pt x="268" y="134"/>
                  </a:lnTo>
                  <a:lnTo>
                    <a:pt x="270" y="158"/>
                  </a:lnTo>
                  <a:lnTo>
                    <a:pt x="270" y="172"/>
                  </a:lnTo>
                  <a:lnTo>
                    <a:pt x="272" y="184"/>
                  </a:lnTo>
                  <a:lnTo>
                    <a:pt x="286" y="202"/>
                  </a:lnTo>
                  <a:lnTo>
                    <a:pt x="288" y="218"/>
                  </a:lnTo>
                  <a:lnTo>
                    <a:pt x="270" y="218"/>
                  </a:lnTo>
                  <a:lnTo>
                    <a:pt x="254" y="226"/>
                  </a:lnTo>
                  <a:lnTo>
                    <a:pt x="256" y="244"/>
                  </a:lnTo>
                  <a:lnTo>
                    <a:pt x="252" y="266"/>
                  </a:lnTo>
                  <a:lnTo>
                    <a:pt x="262" y="276"/>
                  </a:lnTo>
                  <a:lnTo>
                    <a:pt x="276" y="282"/>
                  </a:lnTo>
                  <a:lnTo>
                    <a:pt x="276" y="300"/>
                  </a:lnTo>
                  <a:lnTo>
                    <a:pt x="262" y="300"/>
                  </a:lnTo>
                  <a:lnTo>
                    <a:pt x="254" y="288"/>
                  </a:lnTo>
                  <a:lnTo>
                    <a:pt x="242" y="282"/>
                  </a:lnTo>
                  <a:lnTo>
                    <a:pt x="234" y="270"/>
                  </a:lnTo>
                  <a:lnTo>
                    <a:pt x="220" y="276"/>
                  </a:lnTo>
                  <a:lnTo>
                    <a:pt x="182" y="260"/>
                  </a:lnTo>
                  <a:lnTo>
                    <a:pt x="156" y="260"/>
                  </a:lnTo>
                  <a:lnTo>
                    <a:pt x="158" y="248"/>
                  </a:lnTo>
                  <a:lnTo>
                    <a:pt x="148" y="242"/>
                  </a:lnTo>
                  <a:lnTo>
                    <a:pt x="146" y="202"/>
                  </a:lnTo>
                  <a:lnTo>
                    <a:pt x="120" y="196"/>
                  </a:lnTo>
                  <a:lnTo>
                    <a:pt x="110" y="212"/>
                  </a:lnTo>
                  <a:lnTo>
                    <a:pt x="80" y="210"/>
                  </a:lnTo>
                  <a:lnTo>
                    <a:pt x="70" y="192"/>
                  </a:lnTo>
                  <a:lnTo>
                    <a:pt x="66" y="178"/>
                  </a:lnTo>
                  <a:lnTo>
                    <a:pt x="6" y="178"/>
                  </a:lnTo>
                  <a:lnTo>
                    <a:pt x="0" y="17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61" name="Freeform 77"/>
            <p:cNvSpPr>
              <a:spLocks/>
            </p:cNvSpPr>
            <p:nvPr/>
          </p:nvSpPr>
          <p:spPr bwMode="gray">
            <a:xfrm>
              <a:off x="4662488" y="4308475"/>
              <a:ext cx="12700" cy="25400"/>
            </a:xfrm>
            <a:custGeom>
              <a:avLst/>
              <a:gdLst>
                <a:gd name="T0" fmla="*/ 0 w 12"/>
                <a:gd name="T1" fmla="*/ 2147483647 h 20"/>
                <a:gd name="T2" fmla="*/ 2147483647 w 12"/>
                <a:gd name="T3" fmla="*/ 0 h 20"/>
                <a:gd name="T4" fmla="*/ 2147483647 w 12"/>
                <a:gd name="T5" fmla="*/ 2147483647 h 20"/>
                <a:gd name="T6" fmla="*/ 2147483647 w 12"/>
                <a:gd name="T7" fmla="*/ 2147483647 h 20"/>
                <a:gd name="T8" fmla="*/ 0 w 12"/>
                <a:gd name="T9" fmla="*/ 2147483647 h 20"/>
                <a:gd name="T10" fmla="*/ 0 w 12"/>
                <a:gd name="T11" fmla="*/ 2147483647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20"/>
                <a:gd name="T20" fmla="*/ 12 w 12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20">
                  <a:moveTo>
                    <a:pt x="0" y="4"/>
                  </a:moveTo>
                  <a:lnTo>
                    <a:pt x="10" y="0"/>
                  </a:lnTo>
                  <a:lnTo>
                    <a:pt x="12" y="4"/>
                  </a:lnTo>
                  <a:lnTo>
                    <a:pt x="10" y="12"/>
                  </a:lnTo>
                  <a:lnTo>
                    <a:pt x="0" y="2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62" name="Freeform 78"/>
            <p:cNvSpPr>
              <a:spLocks/>
            </p:cNvSpPr>
            <p:nvPr/>
          </p:nvSpPr>
          <p:spPr bwMode="gray">
            <a:xfrm>
              <a:off x="4645025" y="4154488"/>
              <a:ext cx="138113" cy="160337"/>
            </a:xfrm>
            <a:custGeom>
              <a:avLst/>
              <a:gdLst>
                <a:gd name="T0" fmla="*/ 0 w 117"/>
                <a:gd name="T1" fmla="*/ 2147483647 h 132"/>
                <a:gd name="T2" fmla="*/ 2147483647 w 117"/>
                <a:gd name="T3" fmla="*/ 2147483647 h 132"/>
                <a:gd name="T4" fmla="*/ 2147483647 w 117"/>
                <a:gd name="T5" fmla="*/ 2147483647 h 132"/>
                <a:gd name="T6" fmla="*/ 2147483647 w 117"/>
                <a:gd name="T7" fmla="*/ 2147483647 h 132"/>
                <a:gd name="T8" fmla="*/ 2147483647 w 117"/>
                <a:gd name="T9" fmla="*/ 2147483647 h 132"/>
                <a:gd name="T10" fmla="*/ 2147483647 w 117"/>
                <a:gd name="T11" fmla="*/ 2147483647 h 132"/>
                <a:gd name="T12" fmla="*/ 2147483647 w 117"/>
                <a:gd name="T13" fmla="*/ 2147483647 h 132"/>
                <a:gd name="T14" fmla="*/ 2147483647 w 117"/>
                <a:gd name="T15" fmla="*/ 2147483647 h 132"/>
                <a:gd name="T16" fmla="*/ 2147483647 w 117"/>
                <a:gd name="T17" fmla="*/ 2147483647 h 132"/>
                <a:gd name="T18" fmla="*/ 2147483647 w 117"/>
                <a:gd name="T19" fmla="*/ 2147483647 h 132"/>
                <a:gd name="T20" fmla="*/ 2147483647 w 117"/>
                <a:gd name="T21" fmla="*/ 2147483647 h 132"/>
                <a:gd name="T22" fmla="*/ 2147483647 w 117"/>
                <a:gd name="T23" fmla="*/ 2147483647 h 132"/>
                <a:gd name="T24" fmla="*/ 2147483647 w 117"/>
                <a:gd name="T25" fmla="*/ 2147483647 h 132"/>
                <a:gd name="T26" fmla="*/ 2147483647 w 117"/>
                <a:gd name="T27" fmla="*/ 2147483647 h 132"/>
                <a:gd name="T28" fmla="*/ 2147483647 w 117"/>
                <a:gd name="T29" fmla="*/ 2147483647 h 132"/>
                <a:gd name="T30" fmla="*/ 2147483647 w 117"/>
                <a:gd name="T31" fmla="*/ 2147483647 h 132"/>
                <a:gd name="T32" fmla="*/ 2147483647 w 117"/>
                <a:gd name="T33" fmla="*/ 2147483647 h 132"/>
                <a:gd name="T34" fmla="*/ 2147483647 w 117"/>
                <a:gd name="T35" fmla="*/ 2147483647 h 132"/>
                <a:gd name="T36" fmla="*/ 2147483647 w 117"/>
                <a:gd name="T37" fmla="*/ 2147483647 h 132"/>
                <a:gd name="T38" fmla="*/ 2147483647 w 117"/>
                <a:gd name="T39" fmla="*/ 2147483647 h 132"/>
                <a:gd name="T40" fmla="*/ 2147483647 w 117"/>
                <a:gd name="T41" fmla="*/ 2147483647 h 132"/>
                <a:gd name="T42" fmla="*/ 2147483647 w 117"/>
                <a:gd name="T43" fmla="*/ 0 h 132"/>
                <a:gd name="T44" fmla="*/ 2147483647 w 117"/>
                <a:gd name="T45" fmla="*/ 2147483647 h 132"/>
                <a:gd name="T46" fmla="*/ 2147483647 w 117"/>
                <a:gd name="T47" fmla="*/ 2147483647 h 132"/>
                <a:gd name="T48" fmla="*/ 2147483647 w 117"/>
                <a:gd name="T49" fmla="*/ 2147483647 h 132"/>
                <a:gd name="T50" fmla="*/ 2147483647 w 117"/>
                <a:gd name="T51" fmla="*/ 2147483647 h 132"/>
                <a:gd name="T52" fmla="*/ 2147483647 w 117"/>
                <a:gd name="T53" fmla="*/ 2147483647 h 132"/>
                <a:gd name="T54" fmla="*/ 2147483647 w 117"/>
                <a:gd name="T55" fmla="*/ 2147483647 h 132"/>
                <a:gd name="T56" fmla="*/ 2147483647 w 117"/>
                <a:gd name="T57" fmla="*/ 2147483647 h 132"/>
                <a:gd name="T58" fmla="*/ 2147483647 w 117"/>
                <a:gd name="T59" fmla="*/ 2147483647 h 132"/>
                <a:gd name="T60" fmla="*/ 0 w 117"/>
                <a:gd name="T61" fmla="*/ 2147483647 h 13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7"/>
                <a:gd name="T94" fmla="*/ 0 h 132"/>
                <a:gd name="T95" fmla="*/ 117 w 117"/>
                <a:gd name="T96" fmla="*/ 132 h 132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7" h="132">
                  <a:moveTo>
                    <a:pt x="0" y="116"/>
                  </a:moveTo>
                  <a:lnTo>
                    <a:pt x="15" y="116"/>
                  </a:lnTo>
                  <a:lnTo>
                    <a:pt x="15" y="106"/>
                  </a:lnTo>
                  <a:lnTo>
                    <a:pt x="7" y="106"/>
                  </a:lnTo>
                  <a:lnTo>
                    <a:pt x="7" y="94"/>
                  </a:lnTo>
                  <a:lnTo>
                    <a:pt x="15" y="94"/>
                  </a:lnTo>
                  <a:lnTo>
                    <a:pt x="25" y="86"/>
                  </a:lnTo>
                  <a:lnTo>
                    <a:pt x="31" y="94"/>
                  </a:lnTo>
                  <a:lnTo>
                    <a:pt x="49" y="96"/>
                  </a:lnTo>
                  <a:lnTo>
                    <a:pt x="53" y="88"/>
                  </a:lnTo>
                  <a:lnTo>
                    <a:pt x="53" y="68"/>
                  </a:lnTo>
                  <a:lnTo>
                    <a:pt x="45" y="62"/>
                  </a:lnTo>
                  <a:lnTo>
                    <a:pt x="45" y="50"/>
                  </a:lnTo>
                  <a:lnTo>
                    <a:pt x="53" y="44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31" y="20"/>
                  </a:lnTo>
                  <a:lnTo>
                    <a:pt x="59" y="20"/>
                  </a:lnTo>
                  <a:lnTo>
                    <a:pt x="59" y="28"/>
                  </a:lnTo>
                  <a:lnTo>
                    <a:pt x="77" y="26"/>
                  </a:lnTo>
                  <a:lnTo>
                    <a:pt x="79" y="12"/>
                  </a:lnTo>
                  <a:lnTo>
                    <a:pt x="87" y="0"/>
                  </a:lnTo>
                  <a:lnTo>
                    <a:pt x="117" y="2"/>
                  </a:lnTo>
                  <a:lnTo>
                    <a:pt x="109" y="46"/>
                  </a:lnTo>
                  <a:lnTo>
                    <a:pt x="85" y="84"/>
                  </a:lnTo>
                  <a:lnTo>
                    <a:pt x="81" y="116"/>
                  </a:lnTo>
                  <a:lnTo>
                    <a:pt x="55" y="128"/>
                  </a:lnTo>
                  <a:lnTo>
                    <a:pt x="27" y="132"/>
                  </a:lnTo>
                  <a:lnTo>
                    <a:pt x="25" y="128"/>
                  </a:lnTo>
                  <a:lnTo>
                    <a:pt x="15" y="132"/>
                  </a:lnTo>
                  <a:lnTo>
                    <a:pt x="0" y="11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63" name="Freeform 79"/>
            <p:cNvSpPr>
              <a:spLocks/>
            </p:cNvSpPr>
            <p:nvPr/>
          </p:nvSpPr>
          <p:spPr bwMode="gray">
            <a:xfrm>
              <a:off x="5072063" y="4135438"/>
              <a:ext cx="149225" cy="179387"/>
            </a:xfrm>
            <a:custGeom>
              <a:avLst/>
              <a:gdLst>
                <a:gd name="T0" fmla="*/ 2147483647 w 126"/>
                <a:gd name="T1" fmla="*/ 0 h 148"/>
                <a:gd name="T2" fmla="*/ 2147483647 w 126"/>
                <a:gd name="T3" fmla="*/ 0 h 148"/>
                <a:gd name="T4" fmla="*/ 2147483647 w 126"/>
                <a:gd name="T5" fmla="*/ 2147483647 h 148"/>
                <a:gd name="T6" fmla="*/ 2147483647 w 126"/>
                <a:gd name="T7" fmla="*/ 2147483647 h 148"/>
                <a:gd name="T8" fmla="*/ 2147483647 w 126"/>
                <a:gd name="T9" fmla="*/ 2147483647 h 148"/>
                <a:gd name="T10" fmla="*/ 2147483647 w 126"/>
                <a:gd name="T11" fmla="*/ 2147483647 h 148"/>
                <a:gd name="T12" fmla="*/ 2147483647 w 126"/>
                <a:gd name="T13" fmla="*/ 2147483647 h 148"/>
                <a:gd name="T14" fmla="*/ 2147483647 w 126"/>
                <a:gd name="T15" fmla="*/ 2147483647 h 148"/>
                <a:gd name="T16" fmla="*/ 2147483647 w 126"/>
                <a:gd name="T17" fmla="*/ 2147483647 h 148"/>
                <a:gd name="T18" fmla="*/ 2147483647 w 126"/>
                <a:gd name="T19" fmla="*/ 2147483647 h 148"/>
                <a:gd name="T20" fmla="*/ 2147483647 w 126"/>
                <a:gd name="T21" fmla="*/ 2147483647 h 148"/>
                <a:gd name="T22" fmla="*/ 2147483647 w 126"/>
                <a:gd name="T23" fmla="*/ 2147483647 h 148"/>
                <a:gd name="T24" fmla="*/ 2147483647 w 126"/>
                <a:gd name="T25" fmla="*/ 2147483647 h 148"/>
                <a:gd name="T26" fmla="*/ 2147483647 w 126"/>
                <a:gd name="T27" fmla="*/ 2147483647 h 148"/>
                <a:gd name="T28" fmla="*/ 2147483647 w 126"/>
                <a:gd name="T29" fmla="*/ 2147483647 h 148"/>
                <a:gd name="T30" fmla="*/ 2147483647 w 126"/>
                <a:gd name="T31" fmla="*/ 2147483647 h 148"/>
                <a:gd name="T32" fmla="*/ 2147483647 w 126"/>
                <a:gd name="T33" fmla="*/ 2147483647 h 148"/>
                <a:gd name="T34" fmla="*/ 2147483647 w 126"/>
                <a:gd name="T35" fmla="*/ 2147483647 h 148"/>
                <a:gd name="T36" fmla="*/ 2147483647 w 126"/>
                <a:gd name="T37" fmla="*/ 2147483647 h 148"/>
                <a:gd name="T38" fmla="*/ 2147483647 w 126"/>
                <a:gd name="T39" fmla="*/ 2147483647 h 148"/>
                <a:gd name="T40" fmla="*/ 2147483647 w 126"/>
                <a:gd name="T41" fmla="*/ 2147483647 h 148"/>
                <a:gd name="T42" fmla="*/ 2147483647 w 126"/>
                <a:gd name="T43" fmla="*/ 2147483647 h 148"/>
                <a:gd name="T44" fmla="*/ 2147483647 w 126"/>
                <a:gd name="T45" fmla="*/ 2147483647 h 148"/>
                <a:gd name="T46" fmla="*/ 0 w 126"/>
                <a:gd name="T47" fmla="*/ 2147483647 h 148"/>
                <a:gd name="T48" fmla="*/ 2147483647 w 126"/>
                <a:gd name="T49" fmla="*/ 0 h 14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26"/>
                <a:gd name="T76" fmla="*/ 0 h 148"/>
                <a:gd name="T77" fmla="*/ 126 w 126"/>
                <a:gd name="T78" fmla="*/ 148 h 14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26" h="148">
                  <a:moveTo>
                    <a:pt x="8" y="0"/>
                  </a:moveTo>
                  <a:lnTo>
                    <a:pt x="28" y="0"/>
                  </a:lnTo>
                  <a:lnTo>
                    <a:pt x="64" y="16"/>
                  </a:lnTo>
                  <a:lnTo>
                    <a:pt x="88" y="18"/>
                  </a:lnTo>
                  <a:lnTo>
                    <a:pt x="108" y="6"/>
                  </a:lnTo>
                  <a:lnTo>
                    <a:pt x="114" y="14"/>
                  </a:lnTo>
                  <a:lnTo>
                    <a:pt x="126" y="10"/>
                  </a:lnTo>
                  <a:lnTo>
                    <a:pt x="126" y="20"/>
                  </a:lnTo>
                  <a:lnTo>
                    <a:pt x="110" y="30"/>
                  </a:lnTo>
                  <a:lnTo>
                    <a:pt x="112" y="86"/>
                  </a:lnTo>
                  <a:lnTo>
                    <a:pt x="122" y="98"/>
                  </a:lnTo>
                  <a:lnTo>
                    <a:pt x="112" y="106"/>
                  </a:lnTo>
                  <a:lnTo>
                    <a:pt x="100" y="118"/>
                  </a:lnTo>
                  <a:lnTo>
                    <a:pt x="92" y="136"/>
                  </a:lnTo>
                  <a:lnTo>
                    <a:pt x="86" y="148"/>
                  </a:lnTo>
                  <a:lnTo>
                    <a:pt x="62" y="130"/>
                  </a:lnTo>
                  <a:lnTo>
                    <a:pt x="58" y="120"/>
                  </a:lnTo>
                  <a:lnTo>
                    <a:pt x="6" y="92"/>
                  </a:lnTo>
                  <a:lnTo>
                    <a:pt x="2" y="92"/>
                  </a:lnTo>
                  <a:lnTo>
                    <a:pt x="6" y="78"/>
                  </a:lnTo>
                  <a:lnTo>
                    <a:pt x="4" y="66"/>
                  </a:lnTo>
                  <a:lnTo>
                    <a:pt x="18" y="50"/>
                  </a:lnTo>
                  <a:lnTo>
                    <a:pt x="12" y="28"/>
                  </a:lnTo>
                  <a:lnTo>
                    <a:pt x="0" y="8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64" name="Freeform 80"/>
            <p:cNvSpPr>
              <a:spLocks/>
            </p:cNvSpPr>
            <p:nvPr/>
          </p:nvSpPr>
          <p:spPr bwMode="gray">
            <a:xfrm>
              <a:off x="4602163" y="4178300"/>
              <a:ext cx="103187" cy="115888"/>
            </a:xfrm>
            <a:custGeom>
              <a:avLst/>
              <a:gdLst>
                <a:gd name="T0" fmla="*/ 2147483647 w 89"/>
                <a:gd name="T1" fmla="*/ 0 h 96"/>
                <a:gd name="T2" fmla="*/ 2147483647 w 89"/>
                <a:gd name="T3" fmla="*/ 0 h 96"/>
                <a:gd name="T4" fmla="*/ 2147483647 w 89"/>
                <a:gd name="T5" fmla="*/ 2147483647 h 96"/>
                <a:gd name="T6" fmla="*/ 2147483647 w 89"/>
                <a:gd name="T7" fmla="*/ 2147483647 h 96"/>
                <a:gd name="T8" fmla="*/ 2147483647 w 89"/>
                <a:gd name="T9" fmla="*/ 2147483647 h 96"/>
                <a:gd name="T10" fmla="*/ 2147483647 w 89"/>
                <a:gd name="T11" fmla="*/ 2147483647 h 96"/>
                <a:gd name="T12" fmla="*/ 2147483647 w 89"/>
                <a:gd name="T13" fmla="*/ 2147483647 h 96"/>
                <a:gd name="T14" fmla="*/ 2147483647 w 89"/>
                <a:gd name="T15" fmla="*/ 2147483647 h 96"/>
                <a:gd name="T16" fmla="*/ 2147483647 w 89"/>
                <a:gd name="T17" fmla="*/ 2147483647 h 96"/>
                <a:gd name="T18" fmla="*/ 2147483647 w 89"/>
                <a:gd name="T19" fmla="*/ 2147483647 h 96"/>
                <a:gd name="T20" fmla="*/ 2147483647 w 89"/>
                <a:gd name="T21" fmla="*/ 2147483647 h 96"/>
                <a:gd name="T22" fmla="*/ 2147483647 w 89"/>
                <a:gd name="T23" fmla="*/ 2147483647 h 96"/>
                <a:gd name="T24" fmla="*/ 2147483647 w 89"/>
                <a:gd name="T25" fmla="*/ 2147483647 h 96"/>
                <a:gd name="T26" fmla="*/ 2147483647 w 89"/>
                <a:gd name="T27" fmla="*/ 2147483647 h 96"/>
                <a:gd name="T28" fmla="*/ 2147483647 w 89"/>
                <a:gd name="T29" fmla="*/ 2147483647 h 96"/>
                <a:gd name="T30" fmla="*/ 2147483647 w 89"/>
                <a:gd name="T31" fmla="*/ 2147483647 h 96"/>
                <a:gd name="T32" fmla="*/ 2147483647 w 89"/>
                <a:gd name="T33" fmla="*/ 2147483647 h 96"/>
                <a:gd name="T34" fmla="*/ 2147483647 w 89"/>
                <a:gd name="T35" fmla="*/ 2147483647 h 96"/>
                <a:gd name="T36" fmla="*/ 2147483647 w 89"/>
                <a:gd name="T37" fmla="*/ 2147483647 h 96"/>
                <a:gd name="T38" fmla="*/ 2147483647 w 89"/>
                <a:gd name="T39" fmla="*/ 2147483647 h 96"/>
                <a:gd name="T40" fmla="*/ 0 w 89"/>
                <a:gd name="T41" fmla="*/ 2147483647 h 96"/>
                <a:gd name="T42" fmla="*/ 2147483647 w 89"/>
                <a:gd name="T43" fmla="*/ 2147483647 h 96"/>
                <a:gd name="T44" fmla="*/ 2147483647 w 89"/>
                <a:gd name="T45" fmla="*/ 2147483647 h 96"/>
                <a:gd name="T46" fmla="*/ 2147483647 w 89"/>
                <a:gd name="T47" fmla="*/ 2147483647 h 96"/>
                <a:gd name="T48" fmla="*/ 2147483647 w 89"/>
                <a:gd name="T49" fmla="*/ 0 h 9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89"/>
                <a:gd name="T76" fmla="*/ 0 h 96"/>
                <a:gd name="T77" fmla="*/ 89 w 89"/>
                <a:gd name="T78" fmla="*/ 96 h 9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89" h="96">
                  <a:moveTo>
                    <a:pt x="39" y="0"/>
                  </a:moveTo>
                  <a:lnTo>
                    <a:pt x="67" y="0"/>
                  </a:lnTo>
                  <a:lnTo>
                    <a:pt x="71" y="16"/>
                  </a:lnTo>
                  <a:lnTo>
                    <a:pt x="85" y="14"/>
                  </a:lnTo>
                  <a:lnTo>
                    <a:pt x="89" y="24"/>
                  </a:lnTo>
                  <a:lnTo>
                    <a:pt x="81" y="30"/>
                  </a:lnTo>
                  <a:lnTo>
                    <a:pt x="81" y="42"/>
                  </a:lnTo>
                  <a:lnTo>
                    <a:pt x="89" y="48"/>
                  </a:lnTo>
                  <a:lnTo>
                    <a:pt x="89" y="68"/>
                  </a:lnTo>
                  <a:lnTo>
                    <a:pt x="85" y="76"/>
                  </a:lnTo>
                  <a:lnTo>
                    <a:pt x="67" y="74"/>
                  </a:lnTo>
                  <a:lnTo>
                    <a:pt x="61" y="66"/>
                  </a:lnTo>
                  <a:lnTo>
                    <a:pt x="51" y="74"/>
                  </a:lnTo>
                  <a:lnTo>
                    <a:pt x="43" y="74"/>
                  </a:lnTo>
                  <a:lnTo>
                    <a:pt x="43" y="86"/>
                  </a:lnTo>
                  <a:lnTo>
                    <a:pt x="51" y="86"/>
                  </a:lnTo>
                  <a:lnTo>
                    <a:pt x="51" y="96"/>
                  </a:lnTo>
                  <a:lnTo>
                    <a:pt x="36" y="96"/>
                  </a:lnTo>
                  <a:lnTo>
                    <a:pt x="18" y="82"/>
                  </a:lnTo>
                  <a:lnTo>
                    <a:pt x="10" y="68"/>
                  </a:lnTo>
                  <a:lnTo>
                    <a:pt x="0" y="48"/>
                  </a:lnTo>
                  <a:lnTo>
                    <a:pt x="10" y="32"/>
                  </a:lnTo>
                  <a:lnTo>
                    <a:pt x="12" y="24"/>
                  </a:lnTo>
                  <a:lnTo>
                    <a:pt x="36" y="22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65" name="Freeform 81"/>
            <p:cNvSpPr>
              <a:spLocks/>
            </p:cNvSpPr>
            <p:nvPr/>
          </p:nvSpPr>
          <p:spPr bwMode="gray">
            <a:xfrm>
              <a:off x="4113213" y="3957638"/>
              <a:ext cx="60325" cy="15875"/>
            </a:xfrm>
            <a:custGeom>
              <a:avLst/>
              <a:gdLst>
                <a:gd name="T0" fmla="*/ 2147483647 w 50"/>
                <a:gd name="T1" fmla="*/ 0 h 12"/>
                <a:gd name="T2" fmla="*/ 2147483647 w 50"/>
                <a:gd name="T3" fmla="*/ 0 h 12"/>
                <a:gd name="T4" fmla="*/ 2147483647 w 50"/>
                <a:gd name="T5" fmla="*/ 2147483647 h 12"/>
                <a:gd name="T6" fmla="*/ 2147483647 w 50"/>
                <a:gd name="T7" fmla="*/ 2147483647 h 12"/>
                <a:gd name="T8" fmla="*/ 2147483647 w 50"/>
                <a:gd name="T9" fmla="*/ 2147483647 h 12"/>
                <a:gd name="T10" fmla="*/ 2147483647 w 50"/>
                <a:gd name="T11" fmla="*/ 2147483647 h 12"/>
                <a:gd name="T12" fmla="*/ 2147483647 w 50"/>
                <a:gd name="T13" fmla="*/ 2147483647 h 12"/>
                <a:gd name="T14" fmla="*/ 2147483647 w 50"/>
                <a:gd name="T15" fmla="*/ 2147483647 h 12"/>
                <a:gd name="T16" fmla="*/ 2147483647 w 50"/>
                <a:gd name="T17" fmla="*/ 2147483647 h 12"/>
                <a:gd name="T18" fmla="*/ 2147483647 w 50"/>
                <a:gd name="T19" fmla="*/ 2147483647 h 12"/>
                <a:gd name="T20" fmla="*/ 0 w 50"/>
                <a:gd name="T21" fmla="*/ 2147483647 h 12"/>
                <a:gd name="T22" fmla="*/ 2147483647 w 50"/>
                <a:gd name="T23" fmla="*/ 0 h 12"/>
                <a:gd name="T24" fmla="*/ 2147483647 w 50"/>
                <a:gd name="T25" fmla="*/ 0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0"/>
                <a:gd name="T40" fmla="*/ 0 h 12"/>
                <a:gd name="T41" fmla="*/ 50 w 50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0" h="12">
                  <a:moveTo>
                    <a:pt x="8" y="0"/>
                  </a:moveTo>
                  <a:lnTo>
                    <a:pt x="20" y="0"/>
                  </a:lnTo>
                  <a:lnTo>
                    <a:pt x="32" y="2"/>
                  </a:lnTo>
                  <a:lnTo>
                    <a:pt x="42" y="4"/>
                  </a:lnTo>
                  <a:lnTo>
                    <a:pt x="50" y="6"/>
                  </a:lnTo>
                  <a:lnTo>
                    <a:pt x="46" y="8"/>
                  </a:lnTo>
                  <a:lnTo>
                    <a:pt x="34" y="8"/>
                  </a:lnTo>
                  <a:lnTo>
                    <a:pt x="26" y="8"/>
                  </a:lnTo>
                  <a:lnTo>
                    <a:pt x="16" y="8"/>
                  </a:lnTo>
                  <a:lnTo>
                    <a:pt x="6" y="12"/>
                  </a:lnTo>
                  <a:lnTo>
                    <a:pt x="0" y="10"/>
                  </a:lnTo>
                  <a:lnTo>
                    <a:pt x="4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66" name="Freeform 82"/>
            <p:cNvSpPr>
              <a:spLocks/>
            </p:cNvSpPr>
            <p:nvPr/>
          </p:nvSpPr>
          <p:spPr bwMode="gray">
            <a:xfrm>
              <a:off x="4113213" y="3957638"/>
              <a:ext cx="60325" cy="15875"/>
            </a:xfrm>
            <a:custGeom>
              <a:avLst/>
              <a:gdLst>
                <a:gd name="T0" fmla="*/ 2147483647 w 50"/>
                <a:gd name="T1" fmla="*/ 0 h 12"/>
                <a:gd name="T2" fmla="*/ 2147483647 w 50"/>
                <a:gd name="T3" fmla="*/ 0 h 12"/>
                <a:gd name="T4" fmla="*/ 2147483647 w 50"/>
                <a:gd name="T5" fmla="*/ 2147483647 h 12"/>
                <a:gd name="T6" fmla="*/ 2147483647 w 50"/>
                <a:gd name="T7" fmla="*/ 2147483647 h 12"/>
                <a:gd name="T8" fmla="*/ 2147483647 w 50"/>
                <a:gd name="T9" fmla="*/ 2147483647 h 12"/>
                <a:gd name="T10" fmla="*/ 2147483647 w 50"/>
                <a:gd name="T11" fmla="*/ 2147483647 h 12"/>
                <a:gd name="T12" fmla="*/ 2147483647 w 50"/>
                <a:gd name="T13" fmla="*/ 2147483647 h 12"/>
                <a:gd name="T14" fmla="*/ 2147483647 w 50"/>
                <a:gd name="T15" fmla="*/ 2147483647 h 12"/>
                <a:gd name="T16" fmla="*/ 2147483647 w 50"/>
                <a:gd name="T17" fmla="*/ 2147483647 h 12"/>
                <a:gd name="T18" fmla="*/ 2147483647 w 50"/>
                <a:gd name="T19" fmla="*/ 2147483647 h 12"/>
                <a:gd name="T20" fmla="*/ 0 w 50"/>
                <a:gd name="T21" fmla="*/ 2147483647 h 12"/>
                <a:gd name="T22" fmla="*/ 2147483647 w 50"/>
                <a:gd name="T23" fmla="*/ 0 h 12"/>
                <a:gd name="T24" fmla="*/ 2147483647 w 50"/>
                <a:gd name="T25" fmla="*/ 0 h 1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0"/>
                <a:gd name="T40" fmla="*/ 0 h 12"/>
                <a:gd name="T41" fmla="*/ 50 w 50"/>
                <a:gd name="T42" fmla="*/ 12 h 1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0" h="12">
                  <a:moveTo>
                    <a:pt x="8" y="0"/>
                  </a:moveTo>
                  <a:lnTo>
                    <a:pt x="20" y="0"/>
                  </a:lnTo>
                  <a:lnTo>
                    <a:pt x="32" y="2"/>
                  </a:lnTo>
                  <a:lnTo>
                    <a:pt x="42" y="4"/>
                  </a:lnTo>
                  <a:lnTo>
                    <a:pt x="50" y="6"/>
                  </a:lnTo>
                  <a:lnTo>
                    <a:pt x="46" y="8"/>
                  </a:lnTo>
                  <a:lnTo>
                    <a:pt x="34" y="8"/>
                  </a:lnTo>
                  <a:lnTo>
                    <a:pt x="26" y="8"/>
                  </a:lnTo>
                  <a:lnTo>
                    <a:pt x="16" y="8"/>
                  </a:lnTo>
                  <a:lnTo>
                    <a:pt x="6" y="12"/>
                  </a:lnTo>
                  <a:lnTo>
                    <a:pt x="0" y="10"/>
                  </a:lnTo>
                  <a:lnTo>
                    <a:pt x="4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67" name="Freeform 83"/>
            <p:cNvSpPr>
              <a:spLocks/>
            </p:cNvSpPr>
            <p:nvPr/>
          </p:nvSpPr>
          <p:spPr bwMode="gray">
            <a:xfrm>
              <a:off x="4108450" y="3900488"/>
              <a:ext cx="111125" cy="84137"/>
            </a:xfrm>
            <a:custGeom>
              <a:avLst/>
              <a:gdLst>
                <a:gd name="T0" fmla="*/ 2147483647 w 92"/>
                <a:gd name="T1" fmla="*/ 2147483647 h 70"/>
                <a:gd name="T2" fmla="*/ 0 w 92"/>
                <a:gd name="T3" fmla="*/ 2147483647 h 70"/>
                <a:gd name="T4" fmla="*/ 2147483647 w 92"/>
                <a:gd name="T5" fmla="*/ 2147483647 h 70"/>
                <a:gd name="T6" fmla="*/ 2147483647 w 92"/>
                <a:gd name="T7" fmla="*/ 2147483647 h 70"/>
                <a:gd name="T8" fmla="*/ 2147483647 w 92"/>
                <a:gd name="T9" fmla="*/ 2147483647 h 70"/>
                <a:gd name="T10" fmla="*/ 2147483647 w 92"/>
                <a:gd name="T11" fmla="*/ 0 h 70"/>
                <a:gd name="T12" fmla="*/ 2147483647 w 92"/>
                <a:gd name="T13" fmla="*/ 0 h 70"/>
                <a:gd name="T14" fmla="*/ 2147483647 w 92"/>
                <a:gd name="T15" fmla="*/ 2147483647 h 70"/>
                <a:gd name="T16" fmla="*/ 2147483647 w 92"/>
                <a:gd name="T17" fmla="*/ 2147483647 h 70"/>
                <a:gd name="T18" fmla="*/ 2147483647 w 92"/>
                <a:gd name="T19" fmla="*/ 2147483647 h 70"/>
                <a:gd name="T20" fmla="*/ 2147483647 w 92"/>
                <a:gd name="T21" fmla="*/ 2147483647 h 70"/>
                <a:gd name="T22" fmla="*/ 2147483647 w 92"/>
                <a:gd name="T23" fmla="*/ 2147483647 h 70"/>
                <a:gd name="T24" fmla="*/ 2147483647 w 92"/>
                <a:gd name="T25" fmla="*/ 2147483647 h 70"/>
                <a:gd name="T26" fmla="*/ 2147483647 w 92"/>
                <a:gd name="T27" fmla="*/ 2147483647 h 70"/>
                <a:gd name="T28" fmla="*/ 2147483647 w 92"/>
                <a:gd name="T29" fmla="*/ 2147483647 h 70"/>
                <a:gd name="T30" fmla="*/ 2147483647 w 92"/>
                <a:gd name="T31" fmla="*/ 2147483647 h 70"/>
                <a:gd name="T32" fmla="*/ 2147483647 w 92"/>
                <a:gd name="T33" fmla="*/ 2147483647 h 70"/>
                <a:gd name="T34" fmla="*/ 2147483647 w 92"/>
                <a:gd name="T35" fmla="*/ 2147483647 h 70"/>
                <a:gd name="T36" fmla="*/ 2147483647 w 92"/>
                <a:gd name="T37" fmla="*/ 2147483647 h 70"/>
                <a:gd name="T38" fmla="*/ 2147483647 w 92"/>
                <a:gd name="T39" fmla="*/ 2147483647 h 70"/>
                <a:gd name="T40" fmla="*/ 2147483647 w 92"/>
                <a:gd name="T41" fmla="*/ 2147483647 h 70"/>
                <a:gd name="T42" fmla="*/ 2147483647 w 92"/>
                <a:gd name="T43" fmla="*/ 2147483647 h 70"/>
                <a:gd name="T44" fmla="*/ 2147483647 w 92"/>
                <a:gd name="T45" fmla="*/ 2147483647 h 70"/>
                <a:gd name="T46" fmla="*/ 2147483647 w 92"/>
                <a:gd name="T47" fmla="*/ 2147483647 h 70"/>
                <a:gd name="T48" fmla="*/ 2147483647 w 92"/>
                <a:gd name="T49" fmla="*/ 2147483647 h 70"/>
                <a:gd name="T50" fmla="*/ 2147483647 w 92"/>
                <a:gd name="T51" fmla="*/ 2147483647 h 70"/>
                <a:gd name="T52" fmla="*/ 2147483647 w 92"/>
                <a:gd name="T53" fmla="*/ 2147483647 h 70"/>
                <a:gd name="T54" fmla="*/ 2147483647 w 92"/>
                <a:gd name="T55" fmla="*/ 2147483647 h 70"/>
                <a:gd name="T56" fmla="*/ 2147483647 w 92"/>
                <a:gd name="T57" fmla="*/ 2147483647 h 70"/>
                <a:gd name="T58" fmla="*/ 2147483647 w 92"/>
                <a:gd name="T59" fmla="*/ 2147483647 h 70"/>
                <a:gd name="T60" fmla="*/ 2147483647 w 92"/>
                <a:gd name="T61" fmla="*/ 2147483647 h 70"/>
                <a:gd name="T62" fmla="*/ 2147483647 w 92"/>
                <a:gd name="T63" fmla="*/ 2147483647 h 70"/>
                <a:gd name="T64" fmla="*/ 2147483647 w 92"/>
                <a:gd name="T65" fmla="*/ 2147483647 h 70"/>
                <a:gd name="T66" fmla="*/ 2147483647 w 92"/>
                <a:gd name="T67" fmla="*/ 2147483647 h 70"/>
                <a:gd name="T68" fmla="*/ 2147483647 w 92"/>
                <a:gd name="T69" fmla="*/ 2147483647 h 70"/>
                <a:gd name="T70" fmla="*/ 2147483647 w 92"/>
                <a:gd name="T71" fmla="*/ 2147483647 h 70"/>
                <a:gd name="T72" fmla="*/ 2147483647 w 92"/>
                <a:gd name="T73" fmla="*/ 2147483647 h 7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92"/>
                <a:gd name="T112" fmla="*/ 0 h 70"/>
                <a:gd name="T113" fmla="*/ 92 w 92"/>
                <a:gd name="T114" fmla="*/ 70 h 7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92" h="70">
                  <a:moveTo>
                    <a:pt x="2" y="34"/>
                  </a:moveTo>
                  <a:lnTo>
                    <a:pt x="0" y="28"/>
                  </a:lnTo>
                  <a:lnTo>
                    <a:pt x="6" y="20"/>
                  </a:lnTo>
                  <a:lnTo>
                    <a:pt x="12" y="12"/>
                  </a:lnTo>
                  <a:lnTo>
                    <a:pt x="14" y="2"/>
                  </a:lnTo>
                  <a:lnTo>
                    <a:pt x="28" y="0"/>
                  </a:lnTo>
                  <a:lnTo>
                    <a:pt x="42" y="0"/>
                  </a:lnTo>
                  <a:lnTo>
                    <a:pt x="54" y="6"/>
                  </a:lnTo>
                  <a:lnTo>
                    <a:pt x="62" y="12"/>
                  </a:lnTo>
                  <a:lnTo>
                    <a:pt x="70" y="24"/>
                  </a:lnTo>
                  <a:lnTo>
                    <a:pt x="80" y="32"/>
                  </a:lnTo>
                  <a:lnTo>
                    <a:pt x="82" y="38"/>
                  </a:lnTo>
                  <a:lnTo>
                    <a:pt x="84" y="50"/>
                  </a:lnTo>
                  <a:lnTo>
                    <a:pt x="90" y="58"/>
                  </a:lnTo>
                  <a:lnTo>
                    <a:pt x="92" y="66"/>
                  </a:lnTo>
                  <a:lnTo>
                    <a:pt x="92" y="70"/>
                  </a:lnTo>
                  <a:lnTo>
                    <a:pt x="70" y="68"/>
                  </a:lnTo>
                  <a:lnTo>
                    <a:pt x="64" y="64"/>
                  </a:lnTo>
                  <a:lnTo>
                    <a:pt x="58" y="64"/>
                  </a:lnTo>
                  <a:lnTo>
                    <a:pt x="50" y="64"/>
                  </a:lnTo>
                  <a:lnTo>
                    <a:pt x="38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10" y="70"/>
                  </a:lnTo>
                  <a:lnTo>
                    <a:pt x="10" y="60"/>
                  </a:lnTo>
                  <a:lnTo>
                    <a:pt x="20" y="56"/>
                  </a:lnTo>
                  <a:lnTo>
                    <a:pt x="30" y="56"/>
                  </a:lnTo>
                  <a:lnTo>
                    <a:pt x="38" y="56"/>
                  </a:lnTo>
                  <a:lnTo>
                    <a:pt x="50" y="56"/>
                  </a:lnTo>
                  <a:lnTo>
                    <a:pt x="54" y="54"/>
                  </a:lnTo>
                  <a:lnTo>
                    <a:pt x="40" y="50"/>
                  </a:lnTo>
                  <a:lnTo>
                    <a:pt x="36" y="50"/>
                  </a:lnTo>
                  <a:lnTo>
                    <a:pt x="2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4" y="40"/>
                  </a:lnTo>
                  <a:lnTo>
                    <a:pt x="2" y="3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68" name="Freeform 84"/>
            <p:cNvSpPr>
              <a:spLocks/>
            </p:cNvSpPr>
            <p:nvPr/>
          </p:nvSpPr>
          <p:spPr bwMode="gray">
            <a:xfrm>
              <a:off x="4826000" y="2589213"/>
              <a:ext cx="201613" cy="315912"/>
            </a:xfrm>
            <a:custGeom>
              <a:avLst/>
              <a:gdLst>
                <a:gd name="T0" fmla="*/ 2147483647 w 170"/>
                <a:gd name="T1" fmla="*/ 2147483647 h 262"/>
                <a:gd name="T2" fmla="*/ 2147483647 w 170"/>
                <a:gd name="T3" fmla="*/ 2147483647 h 262"/>
                <a:gd name="T4" fmla="*/ 2147483647 w 170"/>
                <a:gd name="T5" fmla="*/ 2147483647 h 262"/>
                <a:gd name="T6" fmla="*/ 2147483647 w 170"/>
                <a:gd name="T7" fmla="*/ 2147483647 h 262"/>
                <a:gd name="T8" fmla="*/ 2147483647 w 170"/>
                <a:gd name="T9" fmla="*/ 2147483647 h 262"/>
                <a:gd name="T10" fmla="*/ 2147483647 w 170"/>
                <a:gd name="T11" fmla="*/ 2147483647 h 262"/>
                <a:gd name="T12" fmla="*/ 2147483647 w 170"/>
                <a:gd name="T13" fmla="*/ 2147483647 h 262"/>
                <a:gd name="T14" fmla="*/ 2147483647 w 170"/>
                <a:gd name="T15" fmla="*/ 2147483647 h 262"/>
                <a:gd name="T16" fmla="*/ 2147483647 w 170"/>
                <a:gd name="T17" fmla="*/ 2147483647 h 262"/>
                <a:gd name="T18" fmla="*/ 2147483647 w 170"/>
                <a:gd name="T19" fmla="*/ 2147483647 h 262"/>
                <a:gd name="T20" fmla="*/ 2147483647 w 170"/>
                <a:gd name="T21" fmla="*/ 2147483647 h 262"/>
                <a:gd name="T22" fmla="*/ 2147483647 w 170"/>
                <a:gd name="T23" fmla="*/ 2147483647 h 262"/>
                <a:gd name="T24" fmla="*/ 2147483647 w 170"/>
                <a:gd name="T25" fmla="*/ 2147483647 h 262"/>
                <a:gd name="T26" fmla="*/ 2147483647 w 170"/>
                <a:gd name="T27" fmla="*/ 2147483647 h 262"/>
                <a:gd name="T28" fmla="*/ 2147483647 w 170"/>
                <a:gd name="T29" fmla="*/ 2147483647 h 262"/>
                <a:gd name="T30" fmla="*/ 2147483647 w 170"/>
                <a:gd name="T31" fmla="*/ 2147483647 h 262"/>
                <a:gd name="T32" fmla="*/ 2147483647 w 170"/>
                <a:gd name="T33" fmla="*/ 2147483647 h 262"/>
                <a:gd name="T34" fmla="*/ 2147483647 w 170"/>
                <a:gd name="T35" fmla="*/ 2147483647 h 262"/>
                <a:gd name="T36" fmla="*/ 2147483647 w 170"/>
                <a:gd name="T37" fmla="*/ 2147483647 h 262"/>
                <a:gd name="T38" fmla="*/ 2147483647 w 170"/>
                <a:gd name="T39" fmla="*/ 2147483647 h 262"/>
                <a:gd name="T40" fmla="*/ 0 w 170"/>
                <a:gd name="T41" fmla="*/ 2147483647 h 262"/>
                <a:gd name="T42" fmla="*/ 2147483647 w 170"/>
                <a:gd name="T43" fmla="*/ 2147483647 h 262"/>
                <a:gd name="T44" fmla="*/ 2147483647 w 170"/>
                <a:gd name="T45" fmla="*/ 2147483647 h 262"/>
                <a:gd name="T46" fmla="*/ 2147483647 w 170"/>
                <a:gd name="T47" fmla="*/ 2147483647 h 262"/>
                <a:gd name="T48" fmla="*/ 2147483647 w 170"/>
                <a:gd name="T49" fmla="*/ 2147483647 h 262"/>
                <a:gd name="T50" fmla="*/ 2147483647 w 170"/>
                <a:gd name="T51" fmla="*/ 2147483647 h 262"/>
                <a:gd name="T52" fmla="*/ 2147483647 w 170"/>
                <a:gd name="T53" fmla="*/ 0 h 262"/>
                <a:gd name="T54" fmla="*/ 2147483647 w 170"/>
                <a:gd name="T55" fmla="*/ 2147483647 h 262"/>
                <a:gd name="T56" fmla="*/ 2147483647 w 170"/>
                <a:gd name="T57" fmla="*/ 2147483647 h 262"/>
                <a:gd name="T58" fmla="*/ 2147483647 w 170"/>
                <a:gd name="T59" fmla="*/ 2147483647 h 262"/>
                <a:gd name="T60" fmla="*/ 2147483647 w 170"/>
                <a:gd name="T61" fmla="*/ 2147483647 h 262"/>
                <a:gd name="T62" fmla="*/ 2147483647 w 170"/>
                <a:gd name="T63" fmla="*/ 2147483647 h 262"/>
                <a:gd name="T64" fmla="*/ 2147483647 w 170"/>
                <a:gd name="T65" fmla="*/ 2147483647 h 262"/>
                <a:gd name="T66" fmla="*/ 2147483647 w 170"/>
                <a:gd name="T67" fmla="*/ 2147483647 h 262"/>
                <a:gd name="T68" fmla="*/ 2147483647 w 170"/>
                <a:gd name="T69" fmla="*/ 2147483647 h 262"/>
                <a:gd name="T70" fmla="*/ 2147483647 w 170"/>
                <a:gd name="T71" fmla="*/ 2147483647 h 262"/>
                <a:gd name="T72" fmla="*/ 2147483647 w 170"/>
                <a:gd name="T73" fmla="*/ 2147483647 h 262"/>
                <a:gd name="T74" fmla="*/ 2147483647 w 170"/>
                <a:gd name="T75" fmla="*/ 2147483647 h 262"/>
                <a:gd name="T76" fmla="*/ 2147483647 w 170"/>
                <a:gd name="T77" fmla="*/ 2147483647 h 262"/>
                <a:gd name="T78" fmla="*/ 2147483647 w 170"/>
                <a:gd name="T79" fmla="*/ 2147483647 h 262"/>
                <a:gd name="T80" fmla="*/ 2147483647 w 170"/>
                <a:gd name="T81" fmla="*/ 2147483647 h 262"/>
                <a:gd name="T82" fmla="*/ 2147483647 w 170"/>
                <a:gd name="T83" fmla="*/ 2147483647 h 262"/>
                <a:gd name="T84" fmla="*/ 2147483647 w 170"/>
                <a:gd name="T85" fmla="*/ 2147483647 h 26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0"/>
                <a:gd name="T130" fmla="*/ 0 h 262"/>
                <a:gd name="T131" fmla="*/ 170 w 170"/>
                <a:gd name="T132" fmla="*/ 262 h 262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0" h="262">
                  <a:moveTo>
                    <a:pt x="106" y="250"/>
                  </a:moveTo>
                  <a:lnTo>
                    <a:pt x="88" y="250"/>
                  </a:lnTo>
                  <a:lnTo>
                    <a:pt x="64" y="258"/>
                  </a:lnTo>
                  <a:lnTo>
                    <a:pt x="40" y="262"/>
                  </a:lnTo>
                  <a:lnTo>
                    <a:pt x="10" y="246"/>
                  </a:lnTo>
                  <a:lnTo>
                    <a:pt x="12" y="226"/>
                  </a:lnTo>
                  <a:lnTo>
                    <a:pt x="6" y="204"/>
                  </a:lnTo>
                  <a:lnTo>
                    <a:pt x="10" y="188"/>
                  </a:lnTo>
                  <a:lnTo>
                    <a:pt x="22" y="182"/>
                  </a:lnTo>
                  <a:lnTo>
                    <a:pt x="28" y="170"/>
                  </a:lnTo>
                  <a:lnTo>
                    <a:pt x="64" y="142"/>
                  </a:lnTo>
                  <a:lnTo>
                    <a:pt x="72" y="140"/>
                  </a:lnTo>
                  <a:lnTo>
                    <a:pt x="70" y="124"/>
                  </a:lnTo>
                  <a:lnTo>
                    <a:pt x="54" y="116"/>
                  </a:lnTo>
                  <a:lnTo>
                    <a:pt x="44" y="102"/>
                  </a:lnTo>
                  <a:lnTo>
                    <a:pt x="50" y="86"/>
                  </a:lnTo>
                  <a:lnTo>
                    <a:pt x="42" y="82"/>
                  </a:lnTo>
                  <a:lnTo>
                    <a:pt x="44" y="62"/>
                  </a:lnTo>
                  <a:lnTo>
                    <a:pt x="34" y="48"/>
                  </a:lnTo>
                  <a:lnTo>
                    <a:pt x="20" y="48"/>
                  </a:lnTo>
                  <a:lnTo>
                    <a:pt x="0" y="30"/>
                  </a:lnTo>
                  <a:lnTo>
                    <a:pt x="10" y="22"/>
                  </a:lnTo>
                  <a:lnTo>
                    <a:pt x="24" y="38"/>
                  </a:lnTo>
                  <a:lnTo>
                    <a:pt x="66" y="42"/>
                  </a:lnTo>
                  <a:lnTo>
                    <a:pt x="76" y="32"/>
                  </a:lnTo>
                  <a:lnTo>
                    <a:pt x="84" y="12"/>
                  </a:lnTo>
                  <a:lnTo>
                    <a:pt x="104" y="0"/>
                  </a:lnTo>
                  <a:lnTo>
                    <a:pt x="126" y="8"/>
                  </a:lnTo>
                  <a:lnTo>
                    <a:pt x="136" y="22"/>
                  </a:lnTo>
                  <a:lnTo>
                    <a:pt x="126" y="32"/>
                  </a:lnTo>
                  <a:lnTo>
                    <a:pt x="122" y="54"/>
                  </a:lnTo>
                  <a:lnTo>
                    <a:pt x="146" y="68"/>
                  </a:lnTo>
                  <a:lnTo>
                    <a:pt x="130" y="84"/>
                  </a:lnTo>
                  <a:lnTo>
                    <a:pt x="140" y="102"/>
                  </a:lnTo>
                  <a:lnTo>
                    <a:pt x="146" y="118"/>
                  </a:lnTo>
                  <a:lnTo>
                    <a:pt x="138" y="138"/>
                  </a:lnTo>
                  <a:lnTo>
                    <a:pt x="148" y="148"/>
                  </a:lnTo>
                  <a:lnTo>
                    <a:pt x="156" y="162"/>
                  </a:lnTo>
                  <a:lnTo>
                    <a:pt x="146" y="172"/>
                  </a:lnTo>
                  <a:lnTo>
                    <a:pt x="170" y="190"/>
                  </a:lnTo>
                  <a:lnTo>
                    <a:pt x="162" y="204"/>
                  </a:lnTo>
                  <a:lnTo>
                    <a:pt x="136" y="228"/>
                  </a:lnTo>
                  <a:lnTo>
                    <a:pt x="106" y="250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69" name="Freeform 85"/>
            <p:cNvSpPr>
              <a:spLocks/>
            </p:cNvSpPr>
            <p:nvPr/>
          </p:nvSpPr>
          <p:spPr bwMode="gray">
            <a:xfrm>
              <a:off x="4527550" y="2551113"/>
              <a:ext cx="487363" cy="411162"/>
            </a:xfrm>
            <a:custGeom>
              <a:avLst/>
              <a:gdLst>
                <a:gd name="T0" fmla="*/ 2147483647 w 411"/>
                <a:gd name="T1" fmla="*/ 2147483647 h 338"/>
                <a:gd name="T2" fmla="*/ 2147483647 w 411"/>
                <a:gd name="T3" fmla="*/ 2147483647 h 338"/>
                <a:gd name="T4" fmla="*/ 2147483647 w 411"/>
                <a:gd name="T5" fmla="*/ 2147483647 h 338"/>
                <a:gd name="T6" fmla="*/ 2147483647 w 411"/>
                <a:gd name="T7" fmla="*/ 2147483647 h 338"/>
                <a:gd name="T8" fmla="*/ 2147483647 w 411"/>
                <a:gd name="T9" fmla="*/ 2147483647 h 338"/>
                <a:gd name="T10" fmla="*/ 2147483647 w 411"/>
                <a:gd name="T11" fmla="*/ 2147483647 h 338"/>
                <a:gd name="T12" fmla="*/ 2147483647 w 411"/>
                <a:gd name="T13" fmla="*/ 2147483647 h 338"/>
                <a:gd name="T14" fmla="*/ 2147483647 w 411"/>
                <a:gd name="T15" fmla="*/ 2147483647 h 338"/>
                <a:gd name="T16" fmla="*/ 0 w 411"/>
                <a:gd name="T17" fmla="*/ 2147483647 h 338"/>
                <a:gd name="T18" fmla="*/ 2147483647 w 411"/>
                <a:gd name="T19" fmla="*/ 2147483647 h 338"/>
                <a:gd name="T20" fmla="*/ 2147483647 w 411"/>
                <a:gd name="T21" fmla="*/ 2147483647 h 338"/>
                <a:gd name="T22" fmla="*/ 2147483647 w 411"/>
                <a:gd name="T23" fmla="*/ 2147483647 h 338"/>
                <a:gd name="T24" fmla="*/ 2147483647 w 411"/>
                <a:gd name="T25" fmla="*/ 2147483647 h 338"/>
                <a:gd name="T26" fmla="*/ 2147483647 w 411"/>
                <a:gd name="T27" fmla="*/ 2147483647 h 338"/>
                <a:gd name="T28" fmla="*/ 2147483647 w 411"/>
                <a:gd name="T29" fmla="*/ 2147483647 h 338"/>
                <a:gd name="T30" fmla="*/ 2147483647 w 411"/>
                <a:gd name="T31" fmla="*/ 2147483647 h 338"/>
                <a:gd name="T32" fmla="*/ 2147483647 w 411"/>
                <a:gd name="T33" fmla="*/ 2147483647 h 338"/>
                <a:gd name="T34" fmla="*/ 2147483647 w 411"/>
                <a:gd name="T35" fmla="*/ 2147483647 h 338"/>
                <a:gd name="T36" fmla="*/ 2147483647 w 411"/>
                <a:gd name="T37" fmla="*/ 2147483647 h 338"/>
                <a:gd name="T38" fmla="*/ 2147483647 w 411"/>
                <a:gd name="T39" fmla="*/ 2147483647 h 338"/>
                <a:gd name="T40" fmla="*/ 2147483647 w 411"/>
                <a:gd name="T41" fmla="*/ 2147483647 h 338"/>
                <a:gd name="T42" fmla="*/ 2147483647 w 411"/>
                <a:gd name="T43" fmla="*/ 2147483647 h 338"/>
                <a:gd name="T44" fmla="*/ 2147483647 w 411"/>
                <a:gd name="T45" fmla="*/ 2147483647 h 338"/>
                <a:gd name="T46" fmla="*/ 2147483647 w 411"/>
                <a:gd name="T47" fmla="*/ 2147483647 h 338"/>
                <a:gd name="T48" fmla="*/ 2147483647 w 411"/>
                <a:gd name="T49" fmla="*/ 2147483647 h 338"/>
                <a:gd name="T50" fmla="*/ 2147483647 w 411"/>
                <a:gd name="T51" fmla="*/ 2147483647 h 338"/>
                <a:gd name="T52" fmla="*/ 2147483647 w 411"/>
                <a:gd name="T53" fmla="*/ 2147483647 h 338"/>
                <a:gd name="T54" fmla="*/ 2147483647 w 411"/>
                <a:gd name="T55" fmla="*/ 2147483647 h 338"/>
                <a:gd name="T56" fmla="*/ 2147483647 w 411"/>
                <a:gd name="T57" fmla="*/ 2147483647 h 338"/>
                <a:gd name="T58" fmla="*/ 2147483647 w 411"/>
                <a:gd name="T59" fmla="*/ 2147483647 h 338"/>
                <a:gd name="T60" fmla="*/ 2147483647 w 411"/>
                <a:gd name="T61" fmla="*/ 2147483647 h 338"/>
                <a:gd name="T62" fmla="*/ 2147483647 w 411"/>
                <a:gd name="T63" fmla="*/ 2147483647 h 338"/>
                <a:gd name="T64" fmla="*/ 2147483647 w 411"/>
                <a:gd name="T65" fmla="*/ 2147483647 h 338"/>
                <a:gd name="T66" fmla="*/ 2147483647 w 411"/>
                <a:gd name="T67" fmla="*/ 2147483647 h 338"/>
                <a:gd name="T68" fmla="*/ 2147483647 w 411"/>
                <a:gd name="T69" fmla="*/ 2147483647 h 338"/>
                <a:gd name="T70" fmla="*/ 2147483647 w 411"/>
                <a:gd name="T71" fmla="*/ 2147483647 h 338"/>
                <a:gd name="T72" fmla="*/ 2147483647 w 411"/>
                <a:gd name="T73" fmla="*/ 2147483647 h 338"/>
                <a:gd name="T74" fmla="*/ 2147483647 w 411"/>
                <a:gd name="T75" fmla="*/ 2147483647 h 338"/>
                <a:gd name="T76" fmla="*/ 2147483647 w 411"/>
                <a:gd name="T77" fmla="*/ 2147483647 h 338"/>
                <a:gd name="T78" fmla="*/ 2147483647 w 411"/>
                <a:gd name="T79" fmla="*/ 2147483647 h 338"/>
                <a:gd name="T80" fmla="*/ 2147483647 w 411"/>
                <a:gd name="T81" fmla="*/ 2147483647 h 338"/>
                <a:gd name="T82" fmla="*/ 2147483647 w 411"/>
                <a:gd name="T83" fmla="*/ 2147483647 h 338"/>
                <a:gd name="T84" fmla="*/ 2147483647 w 411"/>
                <a:gd name="T85" fmla="*/ 2147483647 h 338"/>
                <a:gd name="T86" fmla="*/ 2147483647 w 411"/>
                <a:gd name="T87" fmla="*/ 2147483647 h 338"/>
                <a:gd name="T88" fmla="*/ 2147483647 w 411"/>
                <a:gd name="T89" fmla="*/ 2147483647 h 338"/>
                <a:gd name="T90" fmla="*/ 2147483647 w 411"/>
                <a:gd name="T91" fmla="*/ 2147483647 h 338"/>
                <a:gd name="T92" fmla="*/ 2147483647 w 411"/>
                <a:gd name="T93" fmla="*/ 2147483647 h 338"/>
                <a:gd name="T94" fmla="*/ 2147483647 w 411"/>
                <a:gd name="T95" fmla="*/ 2147483647 h 338"/>
                <a:gd name="T96" fmla="*/ 2147483647 w 411"/>
                <a:gd name="T97" fmla="*/ 2147483647 h 338"/>
                <a:gd name="T98" fmla="*/ 2147483647 w 411"/>
                <a:gd name="T99" fmla="*/ 2147483647 h 338"/>
                <a:gd name="T100" fmla="*/ 2147483647 w 411"/>
                <a:gd name="T101" fmla="*/ 2147483647 h 338"/>
                <a:gd name="T102" fmla="*/ 2147483647 w 411"/>
                <a:gd name="T103" fmla="*/ 2147483647 h 338"/>
                <a:gd name="T104" fmla="*/ 2147483647 w 411"/>
                <a:gd name="T105" fmla="*/ 2147483647 h 338"/>
                <a:gd name="T106" fmla="*/ 2147483647 w 411"/>
                <a:gd name="T107" fmla="*/ 2147483647 h 338"/>
                <a:gd name="T108" fmla="*/ 2147483647 w 411"/>
                <a:gd name="T109" fmla="*/ 2147483647 h 338"/>
                <a:gd name="T110" fmla="*/ 2147483647 w 411"/>
                <a:gd name="T111" fmla="*/ 2147483647 h 338"/>
                <a:gd name="T112" fmla="*/ 2147483647 w 411"/>
                <a:gd name="T113" fmla="*/ 2147483647 h 33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411"/>
                <a:gd name="T172" fmla="*/ 0 h 338"/>
                <a:gd name="T173" fmla="*/ 411 w 411"/>
                <a:gd name="T174" fmla="*/ 338 h 33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411" h="338">
                  <a:moveTo>
                    <a:pt x="96" y="314"/>
                  </a:moveTo>
                  <a:lnTo>
                    <a:pt x="92" y="310"/>
                  </a:lnTo>
                  <a:lnTo>
                    <a:pt x="88" y="300"/>
                  </a:lnTo>
                  <a:lnTo>
                    <a:pt x="82" y="312"/>
                  </a:lnTo>
                  <a:lnTo>
                    <a:pt x="74" y="316"/>
                  </a:lnTo>
                  <a:lnTo>
                    <a:pt x="62" y="328"/>
                  </a:lnTo>
                  <a:lnTo>
                    <a:pt x="42" y="338"/>
                  </a:lnTo>
                  <a:lnTo>
                    <a:pt x="24" y="334"/>
                  </a:lnTo>
                  <a:lnTo>
                    <a:pt x="12" y="324"/>
                  </a:lnTo>
                  <a:lnTo>
                    <a:pt x="10" y="316"/>
                  </a:lnTo>
                  <a:lnTo>
                    <a:pt x="18" y="306"/>
                  </a:lnTo>
                  <a:lnTo>
                    <a:pt x="16" y="302"/>
                  </a:lnTo>
                  <a:lnTo>
                    <a:pt x="6" y="304"/>
                  </a:lnTo>
                  <a:lnTo>
                    <a:pt x="4" y="296"/>
                  </a:lnTo>
                  <a:lnTo>
                    <a:pt x="18" y="286"/>
                  </a:lnTo>
                  <a:lnTo>
                    <a:pt x="8" y="280"/>
                  </a:lnTo>
                  <a:lnTo>
                    <a:pt x="4" y="272"/>
                  </a:lnTo>
                  <a:lnTo>
                    <a:pt x="0" y="250"/>
                  </a:lnTo>
                  <a:lnTo>
                    <a:pt x="4" y="240"/>
                  </a:lnTo>
                  <a:lnTo>
                    <a:pt x="26" y="230"/>
                  </a:lnTo>
                  <a:lnTo>
                    <a:pt x="42" y="226"/>
                  </a:lnTo>
                  <a:lnTo>
                    <a:pt x="56" y="220"/>
                  </a:lnTo>
                  <a:lnTo>
                    <a:pt x="62" y="208"/>
                  </a:lnTo>
                  <a:lnTo>
                    <a:pt x="70" y="208"/>
                  </a:lnTo>
                  <a:lnTo>
                    <a:pt x="84" y="210"/>
                  </a:lnTo>
                  <a:lnTo>
                    <a:pt x="98" y="202"/>
                  </a:lnTo>
                  <a:lnTo>
                    <a:pt x="94" y="194"/>
                  </a:lnTo>
                  <a:lnTo>
                    <a:pt x="84" y="204"/>
                  </a:lnTo>
                  <a:lnTo>
                    <a:pt x="74" y="202"/>
                  </a:lnTo>
                  <a:lnTo>
                    <a:pt x="92" y="184"/>
                  </a:lnTo>
                  <a:lnTo>
                    <a:pt x="103" y="178"/>
                  </a:lnTo>
                  <a:lnTo>
                    <a:pt x="113" y="164"/>
                  </a:lnTo>
                  <a:lnTo>
                    <a:pt x="127" y="140"/>
                  </a:lnTo>
                  <a:lnTo>
                    <a:pt x="137" y="134"/>
                  </a:lnTo>
                  <a:lnTo>
                    <a:pt x="137" y="122"/>
                  </a:lnTo>
                  <a:lnTo>
                    <a:pt x="157" y="106"/>
                  </a:lnTo>
                  <a:lnTo>
                    <a:pt x="167" y="100"/>
                  </a:lnTo>
                  <a:lnTo>
                    <a:pt x="175" y="86"/>
                  </a:lnTo>
                  <a:lnTo>
                    <a:pt x="183" y="86"/>
                  </a:lnTo>
                  <a:lnTo>
                    <a:pt x="185" y="72"/>
                  </a:lnTo>
                  <a:lnTo>
                    <a:pt x="175" y="78"/>
                  </a:lnTo>
                  <a:lnTo>
                    <a:pt x="163" y="78"/>
                  </a:lnTo>
                  <a:lnTo>
                    <a:pt x="161" y="72"/>
                  </a:lnTo>
                  <a:lnTo>
                    <a:pt x="165" y="62"/>
                  </a:lnTo>
                  <a:lnTo>
                    <a:pt x="175" y="56"/>
                  </a:lnTo>
                  <a:lnTo>
                    <a:pt x="183" y="64"/>
                  </a:lnTo>
                  <a:lnTo>
                    <a:pt x="201" y="68"/>
                  </a:lnTo>
                  <a:lnTo>
                    <a:pt x="203" y="60"/>
                  </a:lnTo>
                  <a:lnTo>
                    <a:pt x="193" y="54"/>
                  </a:lnTo>
                  <a:lnTo>
                    <a:pt x="199" y="44"/>
                  </a:lnTo>
                  <a:lnTo>
                    <a:pt x="217" y="48"/>
                  </a:lnTo>
                  <a:lnTo>
                    <a:pt x="225" y="30"/>
                  </a:lnTo>
                  <a:lnTo>
                    <a:pt x="237" y="30"/>
                  </a:lnTo>
                  <a:lnTo>
                    <a:pt x="243" y="40"/>
                  </a:lnTo>
                  <a:lnTo>
                    <a:pt x="257" y="32"/>
                  </a:lnTo>
                  <a:lnTo>
                    <a:pt x="267" y="38"/>
                  </a:lnTo>
                  <a:lnTo>
                    <a:pt x="273" y="26"/>
                  </a:lnTo>
                  <a:lnTo>
                    <a:pt x="285" y="24"/>
                  </a:lnTo>
                  <a:lnTo>
                    <a:pt x="285" y="34"/>
                  </a:lnTo>
                  <a:lnTo>
                    <a:pt x="291" y="36"/>
                  </a:lnTo>
                  <a:lnTo>
                    <a:pt x="295" y="16"/>
                  </a:lnTo>
                  <a:lnTo>
                    <a:pt x="309" y="16"/>
                  </a:lnTo>
                  <a:lnTo>
                    <a:pt x="329" y="0"/>
                  </a:lnTo>
                  <a:lnTo>
                    <a:pt x="337" y="4"/>
                  </a:lnTo>
                  <a:lnTo>
                    <a:pt x="319" y="22"/>
                  </a:lnTo>
                  <a:lnTo>
                    <a:pt x="319" y="32"/>
                  </a:lnTo>
                  <a:lnTo>
                    <a:pt x="343" y="10"/>
                  </a:lnTo>
                  <a:lnTo>
                    <a:pt x="343" y="22"/>
                  </a:lnTo>
                  <a:lnTo>
                    <a:pt x="359" y="4"/>
                  </a:lnTo>
                  <a:lnTo>
                    <a:pt x="373" y="6"/>
                  </a:lnTo>
                  <a:lnTo>
                    <a:pt x="369" y="20"/>
                  </a:lnTo>
                  <a:lnTo>
                    <a:pt x="387" y="10"/>
                  </a:lnTo>
                  <a:lnTo>
                    <a:pt x="411" y="20"/>
                  </a:lnTo>
                  <a:lnTo>
                    <a:pt x="401" y="32"/>
                  </a:lnTo>
                  <a:lnTo>
                    <a:pt x="381" y="30"/>
                  </a:lnTo>
                  <a:lnTo>
                    <a:pt x="397" y="44"/>
                  </a:lnTo>
                  <a:lnTo>
                    <a:pt x="397" y="50"/>
                  </a:lnTo>
                  <a:lnTo>
                    <a:pt x="387" y="52"/>
                  </a:lnTo>
                  <a:lnTo>
                    <a:pt x="377" y="38"/>
                  </a:lnTo>
                  <a:lnTo>
                    <a:pt x="355" y="30"/>
                  </a:lnTo>
                  <a:lnTo>
                    <a:pt x="335" y="42"/>
                  </a:lnTo>
                  <a:lnTo>
                    <a:pt x="333" y="44"/>
                  </a:lnTo>
                  <a:lnTo>
                    <a:pt x="329" y="60"/>
                  </a:lnTo>
                  <a:lnTo>
                    <a:pt x="317" y="72"/>
                  </a:lnTo>
                  <a:lnTo>
                    <a:pt x="303" y="70"/>
                  </a:lnTo>
                  <a:lnTo>
                    <a:pt x="275" y="68"/>
                  </a:lnTo>
                  <a:lnTo>
                    <a:pt x="267" y="58"/>
                  </a:lnTo>
                  <a:lnTo>
                    <a:pt x="261" y="52"/>
                  </a:lnTo>
                  <a:lnTo>
                    <a:pt x="251" y="60"/>
                  </a:lnTo>
                  <a:lnTo>
                    <a:pt x="241" y="62"/>
                  </a:lnTo>
                  <a:lnTo>
                    <a:pt x="241" y="78"/>
                  </a:lnTo>
                  <a:lnTo>
                    <a:pt x="227" y="78"/>
                  </a:lnTo>
                  <a:lnTo>
                    <a:pt x="227" y="70"/>
                  </a:lnTo>
                  <a:lnTo>
                    <a:pt x="213" y="72"/>
                  </a:lnTo>
                  <a:lnTo>
                    <a:pt x="213" y="84"/>
                  </a:lnTo>
                  <a:lnTo>
                    <a:pt x="195" y="86"/>
                  </a:lnTo>
                  <a:lnTo>
                    <a:pt x="183" y="102"/>
                  </a:lnTo>
                  <a:lnTo>
                    <a:pt x="183" y="114"/>
                  </a:lnTo>
                  <a:lnTo>
                    <a:pt x="171" y="124"/>
                  </a:lnTo>
                  <a:lnTo>
                    <a:pt x="169" y="136"/>
                  </a:lnTo>
                  <a:lnTo>
                    <a:pt x="155" y="140"/>
                  </a:lnTo>
                  <a:lnTo>
                    <a:pt x="153" y="154"/>
                  </a:lnTo>
                  <a:lnTo>
                    <a:pt x="143" y="170"/>
                  </a:lnTo>
                  <a:lnTo>
                    <a:pt x="149" y="184"/>
                  </a:lnTo>
                  <a:lnTo>
                    <a:pt x="145" y="188"/>
                  </a:lnTo>
                  <a:lnTo>
                    <a:pt x="113" y="198"/>
                  </a:lnTo>
                  <a:lnTo>
                    <a:pt x="113" y="248"/>
                  </a:lnTo>
                  <a:lnTo>
                    <a:pt x="125" y="254"/>
                  </a:lnTo>
                  <a:lnTo>
                    <a:pt x="127" y="266"/>
                  </a:lnTo>
                  <a:lnTo>
                    <a:pt x="113" y="268"/>
                  </a:lnTo>
                  <a:lnTo>
                    <a:pt x="125" y="276"/>
                  </a:lnTo>
                  <a:lnTo>
                    <a:pt x="121" y="288"/>
                  </a:lnTo>
                  <a:lnTo>
                    <a:pt x="113" y="296"/>
                  </a:lnTo>
                  <a:lnTo>
                    <a:pt x="113" y="312"/>
                  </a:lnTo>
                  <a:lnTo>
                    <a:pt x="96" y="31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70" name="Freeform 86"/>
            <p:cNvSpPr>
              <a:spLocks/>
            </p:cNvSpPr>
            <p:nvPr/>
          </p:nvSpPr>
          <p:spPr bwMode="gray">
            <a:xfrm>
              <a:off x="4878388" y="2917825"/>
              <a:ext cx="80962" cy="53975"/>
            </a:xfrm>
            <a:custGeom>
              <a:avLst/>
              <a:gdLst>
                <a:gd name="T0" fmla="*/ 2147483647 w 70"/>
                <a:gd name="T1" fmla="*/ 2147483647 h 44"/>
                <a:gd name="T2" fmla="*/ 2147483647 w 70"/>
                <a:gd name="T3" fmla="*/ 2147483647 h 44"/>
                <a:gd name="T4" fmla="*/ 2147483647 w 70"/>
                <a:gd name="T5" fmla="*/ 2147483647 h 44"/>
                <a:gd name="T6" fmla="*/ 2147483647 w 70"/>
                <a:gd name="T7" fmla="*/ 2147483647 h 44"/>
                <a:gd name="T8" fmla="*/ 2147483647 w 70"/>
                <a:gd name="T9" fmla="*/ 2147483647 h 44"/>
                <a:gd name="T10" fmla="*/ 2147483647 w 70"/>
                <a:gd name="T11" fmla="*/ 2147483647 h 44"/>
                <a:gd name="T12" fmla="*/ 2147483647 w 70"/>
                <a:gd name="T13" fmla="*/ 2147483647 h 44"/>
                <a:gd name="T14" fmla="*/ 2147483647 w 70"/>
                <a:gd name="T15" fmla="*/ 2147483647 h 44"/>
                <a:gd name="T16" fmla="*/ 2147483647 w 70"/>
                <a:gd name="T17" fmla="*/ 2147483647 h 44"/>
                <a:gd name="T18" fmla="*/ 2147483647 w 70"/>
                <a:gd name="T19" fmla="*/ 0 h 44"/>
                <a:gd name="T20" fmla="*/ 2147483647 w 70"/>
                <a:gd name="T21" fmla="*/ 2147483647 h 44"/>
                <a:gd name="T22" fmla="*/ 2147483647 w 70"/>
                <a:gd name="T23" fmla="*/ 2147483647 h 44"/>
                <a:gd name="T24" fmla="*/ 0 w 70"/>
                <a:gd name="T25" fmla="*/ 2147483647 h 44"/>
                <a:gd name="T26" fmla="*/ 2147483647 w 70"/>
                <a:gd name="T27" fmla="*/ 2147483647 h 44"/>
                <a:gd name="T28" fmla="*/ 2147483647 w 70"/>
                <a:gd name="T29" fmla="*/ 2147483647 h 44"/>
                <a:gd name="T30" fmla="*/ 2147483647 w 70"/>
                <a:gd name="T31" fmla="*/ 2147483647 h 4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0"/>
                <a:gd name="T49" fmla="*/ 0 h 44"/>
                <a:gd name="T50" fmla="*/ 70 w 70"/>
                <a:gd name="T51" fmla="*/ 44 h 4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0" h="44">
                  <a:moveTo>
                    <a:pt x="16" y="36"/>
                  </a:moveTo>
                  <a:lnTo>
                    <a:pt x="28" y="36"/>
                  </a:lnTo>
                  <a:lnTo>
                    <a:pt x="40" y="40"/>
                  </a:lnTo>
                  <a:lnTo>
                    <a:pt x="52" y="44"/>
                  </a:lnTo>
                  <a:lnTo>
                    <a:pt x="62" y="44"/>
                  </a:lnTo>
                  <a:lnTo>
                    <a:pt x="64" y="32"/>
                  </a:lnTo>
                  <a:lnTo>
                    <a:pt x="64" y="16"/>
                  </a:lnTo>
                  <a:lnTo>
                    <a:pt x="70" y="4"/>
                  </a:lnTo>
                  <a:lnTo>
                    <a:pt x="54" y="6"/>
                  </a:lnTo>
                  <a:lnTo>
                    <a:pt x="40" y="0"/>
                  </a:lnTo>
                  <a:lnTo>
                    <a:pt x="18" y="4"/>
                  </a:lnTo>
                  <a:lnTo>
                    <a:pt x="2" y="8"/>
                  </a:lnTo>
                  <a:lnTo>
                    <a:pt x="0" y="20"/>
                  </a:lnTo>
                  <a:lnTo>
                    <a:pt x="6" y="30"/>
                  </a:lnTo>
                  <a:lnTo>
                    <a:pt x="14" y="30"/>
                  </a:lnTo>
                  <a:lnTo>
                    <a:pt x="16" y="3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71" name="Freeform 87"/>
            <p:cNvSpPr>
              <a:spLocks/>
            </p:cNvSpPr>
            <p:nvPr/>
          </p:nvSpPr>
          <p:spPr bwMode="gray">
            <a:xfrm>
              <a:off x="4829175" y="2962275"/>
              <a:ext cx="139700" cy="65088"/>
            </a:xfrm>
            <a:custGeom>
              <a:avLst/>
              <a:gdLst>
                <a:gd name="T0" fmla="*/ 2147483647 w 116"/>
                <a:gd name="T1" fmla="*/ 2147483647 h 54"/>
                <a:gd name="T2" fmla="*/ 2147483647 w 116"/>
                <a:gd name="T3" fmla="*/ 2147483647 h 54"/>
                <a:gd name="T4" fmla="*/ 2147483647 w 116"/>
                <a:gd name="T5" fmla="*/ 2147483647 h 54"/>
                <a:gd name="T6" fmla="*/ 2147483647 w 116"/>
                <a:gd name="T7" fmla="*/ 2147483647 h 54"/>
                <a:gd name="T8" fmla="*/ 2147483647 w 116"/>
                <a:gd name="T9" fmla="*/ 2147483647 h 54"/>
                <a:gd name="T10" fmla="*/ 2147483647 w 116"/>
                <a:gd name="T11" fmla="*/ 0 h 54"/>
                <a:gd name="T12" fmla="*/ 2147483647 w 116"/>
                <a:gd name="T13" fmla="*/ 0 h 54"/>
                <a:gd name="T14" fmla="*/ 2147483647 w 116"/>
                <a:gd name="T15" fmla="*/ 2147483647 h 54"/>
                <a:gd name="T16" fmla="*/ 2147483647 w 116"/>
                <a:gd name="T17" fmla="*/ 2147483647 h 54"/>
                <a:gd name="T18" fmla="*/ 2147483647 w 116"/>
                <a:gd name="T19" fmla="*/ 2147483647 h 54"/>
                <a:gd name="T20" fmla="*/ 2147483647 w 116"/>
                <a:gd name="T21" fmla="*/ 2147483647 h 54"/>
                <a:gd name="T22" fmla="*/ 2147483647 w 116"/>
                <a:gd name="T23" fmla="*/ 2147483647 h 54"/>
                <a:gd name="T24" fmla="*/ 2147483647 w 116"/>
                <a:gd name="T25" fmla="*/ 2147483647 h 54"/>
                <a:gd name="T26" fmla="*/ 2147483647 w 116"/>
                <a:gd name="T27" fmla="*/ 2147483647 h 54"/>
                <a:gd name="T28" fmla="*/ 2147483647 w 116"/>
                <a:gd name="T29" fmla="*/ 2147483647 h 54"/>
                <a:gd name="T30" fmla="*/ 2147483647 w 116"/>
                <a:gd name="T31" fmla="*/ 2147483647 h 54"/>
                <a:gd name="T32" fmla="*/ 2147483647 w 116"/>
                <a:gd name="T33" fmla="*/ 2147483647 h 54"/>
                <a:gd name="T34" fmla="*/ 2147483647 w 116"/>
                <a:gd name="T35" fmla="*/ 2147483647 h 54"/>
                <a:gd name="T36" fmla="*/ 0 w 116"/>
                <a:gd name="T37" fmla="*/ 2147483647 h 54"/>
                <a:gd name="T38" fmla="*/ 0 w 116"/>
                <a:gd name="T39" fmla="*/ 2147483647 h 54"/>
                <a:gd name="T40" fmla="*/ 2147483647 w 116"/>
                <a:gd name="T41" fmla="*/ 2147483647 h 54"/>
                <a:gd name="T42" fmla="*/ 2147483647 w 116"/>
                <a:gd name="T43" fmla="*/ 2147483647 h 54"/>
                <a:gd name="T44" fmla="*/ 2147483647 w 116"/>
                <a:gd name="T45" fmla="*/ 2147483647 h 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16"/>
                <a:gd name="T70" fmla="*/ 0 h 54"/>
                <a:gd name="T71" fmla="*/ 116 w 116"/>
                <a:gd name="T72" fmla="*/ 54 h 5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16" h="54">
                  <a:moveTo>
                    <a:pt x="26" y="12"/>
                  </a:moveTo>
                  <a:lnTo>
                    <a:pt x="36" y="18"/>
                  </a:lnTo>
                  <a:lnTo>
                    <a:pt x="46" y="24"/>
                  </a:lnTo>
                  <a:lnTo>
                    <a:pt x="54" y="18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68" y="0"/>
                  </a:lnTo>
                  <a:lnTo>
                    <a:pt x="80" y="4"/>
                  </a:lnTo>
                  <a:lnTo>
                    <a:pt x="88" y="6"/>
                  </a:lnTo>
                  <a:lnTo>
                    <a:pt x="102" y="8"/>
                  </a:lnTo>
                  <a:lnTo>
                    <a:pt x="104" y="12"/>
                  </a:lnTo>
                  <a:lnTo>
                    <a:pt x="108" y="20"/>
                  </a:lnTo>
                  <a:lnTo>
                    <a:pt x="112" y="36"/>
                  </a:lnTo>
                  <a:lnTo>
                    <a:pt x="116" y="42"/>
                  </a:lnTo>
                  <a:lnTo>
                    <a:pt x="104" y="50"/>
                  </a:lnTo>
                  <a:lnTo>
                    <a:pt x="90" y="54"/>
                  </a:lnTo>
                  <a:lnTo>
                    <a:pt x="62" y="36"/>
                  </a:lnTo>
                  <a:lnTo>
                    <a:pt x="10" y="38"/>
                  </a:lnTo>
                  <a:lnTo>
                    <a:pt x="0" y="40"/>
                  </a:lnTo>
                  <a:lnTo>
                    <a:pt x="0" y="30"/>
                  </a:lnTo>
                  <a:lnTo>
                    <a:pt x="8" y="20"/>
                  </a:lnTo>
                  <a:lnTo>
                    <a:pt x="14" y="10"/>
                  </a:lnTo>
                  <a:lnTo>
                    <a:pt x="26" y="1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72" name="Freeform 88"/>
            <p:cNvSpPr>
              <a:spLocks/>
            </p:cNvSpPr>
            <p:nvPr/>
          </p:nvSpPr>
          <p:spPr bwMode="gray">
            <a:xfrm>
              <a:off x="4829175" y="3005138"/>
              <a:ext cx="106363" cy="65087"/>
            </a:xfrm>
            <a:custGeom>
              <a:avLst/>
              <a:gdLst>
                <a:gd name="T0" fmla="*/ 0 w 90"/>
                <a:gd name="T1" fmla="*/ 2147483647 h 54"/>
                <a:gd name="T2" fmla="*/ 2147483647 w 90"/>
                <a:gd name="T3" fmla="*/ 2147483647 h 54"/>
                <a:gd name="T4" fmla="*/ 2147483647 w 90"/>
                <a:gd name="T5" fmla="*/ 0 h 54"/>
                <a:gd name="T6" fmla="*/ 2147483647 w 90"/>
                <a:gd name="T7" fmla="*/ 2147483647 h 54"/>
                <a:gd name="T8" fmla="*/ 2147483647 w 90"/>
                <a:gd name="T9" fmla="*/ 2147483647 h 54"/>
                <a:gd name="T10" fmla="*/ 2147483647 w 90"/>
                <a:gd name="T11" fmla="*/ 2147483647 h 54"/>
                <a:gd name="T12" fmla="*/ 2147483647 w 90"/>
                <a:gd name="T13" fmla="*/ 2147483647 h 54"/>
                <a:gd name="T14" fmla="*/ 2147483647 w 90"/>
                <a:gd name="T15" fmla="*/ 2147483647 h 54"/>
                <a:gd name="T16" fmla="*/ 2147483647 w 90"/>
                <a:gd name="T17" fmla="*/ 2147483647 h 54"/>
                <a:gd name="T18" fmla="*/ 2147483647 w 90"/>
                <a:gd name="T19" fmla="*/ 2147483647 h 54"/>
                <a:gd name="T20" fmla="*/ 2147483647 w 90"/>
                <a:gd name="T21" fmla="*/ 2147483647 h 54"/>
                <a:gd name="T22" fmla="*/ 2147483647 w 90"/>
                <a:gd name="T23" fmla="*/ 2147483647 h 54"/>
                <a:gd name="T24" fmla="*/ 2147483647 w 90"/>
                <a:gd name="T25" fmla="*/ 2147483647 h 54"/>
                <a:gd name="T26" fmla="*/ 0 w 90"/>
                <a:gd name="T27" fmla="*/ 2147483647 h 5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0"/>
                <a:gd name="T43" fmla="*/ 0 h 54"/>
                <a:gd name="T44" fmla="*/ 90 w 90"/>
                <a:gd name="T45" fmla="*/ 54 h 5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0" h="54">
                  <a:moveTo>
                    <a:pt x="0" y="4"/>
                  </a:moveTo>
                  <a:lnTo>
                    <a:pt x="10" y="2"/>
                  </a:lnTo>
                  <a:lnTo>
                    <a:pt x="62" y="0"/>
                  </a:lnTo>
                  <a:lnTo>
                    <a:pt x="90" y="18"/>
                  </a:lnTo>
                  <a:lnTo>
                    <a:pt x="90" y="30"/>
                  </a:lnTo>
                  <a:lnTo>
                    <a:pt x="76" y="34"/>
                  </a:lnTo>
                  <a:lnTo>
                    <a:pt x="74" y="50"/>
                  </a:lnTo>
                  <a:lnTo>
                    <a:pt x="58" y="52"/>
                  </a:lnTo>
                  <a:lnTo>
                    <a:pt x="38" y="54"/>
                  </a:lnTo>
                  <a:lnTo>
                    <a:pt x="28" y="44"/>
                  </a:lnTo>
                  <a:lnTo>
                    <a:pt x="30" y="34"/>
                  </a:lnTo>
                  <a:lnTo>
                    <a:pt x="20" y="30"/>
                  </a:lnTo>
                  <a:lnTo>
                    <a:pt x="4" y="2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73" name="Freeform 89"/>
            <p:cNvSpPr>
              <a:spLocks/>
            </p:cNvSpPr>
            <p:nvPr/>
          </p:nvSpPr>
          <p:spPr bwMode="gray">
            <a:xfrm>
              <a:off x="4803775" y="3036888"/>
              <a:ext cx="60325" cy="23812"/>
            </a:xfrm>
            <a:custGeom>
              <a:avLst/>
              <a:gdLst>
                <a:gd name="T0" fmla="*/ 0 w 52"/>
                <a:gd name="T1" fmla="*/ 2147483647 h 20"/>
                <a:gd name="T2" fmla="*/ 2147483647 w 52"/>
                <a:gd name="T3" fmla="*/ 2147483647 h 20"/>
                <a:gd name="T4" fmla="*/ 2147483647 w 52"/>
                <a:gd name="T5" fmla="*/ 2147483647 h 20"/>
                <a:gd name="T6" fmla="*/ 2147483647 w 52"/>
                <a:gd name="T7" fmla="*/ 2147483647 h 20"/>
                <a:gd name="T8" fmla="*/ 2147483647 w 52"/>
                <a:gd name="T9" fmla="*/ 0 h 20"/>
                <a:gd name="T10" fmla="*/ 2147483647 w 52"/>
                <a:gd name="T11" fmla="*/ 2147483647 h 20"/>
                <a:gd name="T12" fmla="*/ 2147483647 w 52"/>
                <a:gd name="T13" fmla="*/ 2147483647 h 20"/>
                <a:gd name="T14" fmla="*/ 2147483647 w 52"/>
                <a:gd name="T15" fmla="*/ 2147483647 h 20"/>
                <a:gd name="T16" fmla="*/ 0 w 52"/>
                <a:gd name="T17" fmla="*/ 2147483647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2"/>
                <a:gd name="T28" fmla="*/ 0 h 20"/>
                <a:gd name="T29" fmla="*/ 52 w 52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2" h="20">
                  <a:moveTo>
                    <a:pt x="0" y="12"/>
                  </a:moveTo>
                  <a:lnTo>
                    <a:pt x="4" y="20"/>
                  </a:lnTo>
                  <a:lnTo>
                    <a:pt x="50" y="18"/>
                  </a:lnTo>
                  <a:lnTo>
                    <a:pt x="52" y="8"/>
                  </a:lnTo>
                  <a:lnTo>
                    <a:pt x="30" y="0"/>
                  </a:lnTo>
                  <a:lnTo>
                    <a:pt x="24" y="8"/>
                  </a:lnTo>
                  <a:lnTo>
                    <a:pt x="8" y="6"/>
                  </a:lnTo>
                  <a:lnTo>
                    <a:pt x="6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74" name="Freeform 90"/>
            <p:cNvSpPr>
              <a:spLocks/>
            </p:cNvSpPr>
            <p:nvPr/>
          </p:nvSpPr>
          <p:spPr bwMode="gray">
            <a:xfrm>
              <a:off x="4873625" y="3013075"/>
              <a:ext cx="176213" cy="128588"/>
            </a:xfrm>
            <a:custGeom>
              <a:avLst/>
              <a:gdLst>
                <a:gd name="T0" fmla="*/ 2147483647 w 150"/>
                <a:gd name="T1" fmla="*/ 2147483647 h 106"/>
                <a:gd name="T2" fmla="*/ 2147483647 w 150"/>
                <a:gd name="T3" fmla="*/ 2147483647 h 106"/>
                <a:gd name="T4" fmla="*/ 2147483647 w 150"/>
                <a:gd name="T5" fmla="*/ 2147483647 h 106"/>
                <a:gd name="T6" fmla="*/ 2147483647 w 150"/>
                <a:gd name="T7" fmla="*/ 2147483647 h 106"/>
                <a:gd name="T8" fmla="*/ 2147483647 w 150"/>
                <a:gd name="T9" fmla="*/ 2147483647 h 106"/>
                <a:gd name="T10" fmla="*/ 2147483647 w 150"/>
                <a:gd name="T11" fmla="*/ 2147483647 h 106"/>
                <a:gd name="T12" fmla="*/ 2147483647 w 150"/>
                <a:gd name="T13" fmla="*/ 2147483647 h 106"/>
                <a:gd name="T14" fmla="*/ 2147483647 w 150"/>
                <a:gd name="T15" fmla="*/ 0 h 106"/>
                <a:gd name="T16" fmla="*/ 2147483647 w 150"/>
                <a:gd name="T17" fmla="*/ 2147483647 h 106"/>
                <a:gd name="T18" fmla="*/ 2147483647 w 150"/>
                <a:gd name="T19" fmla="*/ 2147483647 h 106"/>
                <a:gd name="T20" fmla="*/ 2147483647 w 150"/>
                <a:gd name="T21" fmla="*/ 2147483647 h 106"/>
                <a:gd name="T22" fmla="*/ 2147483647 w 150"/>
                <a:gd name="T23" fmla="*/ 2147483647 h 106"/>
                <a:gd name="T24" fmla="*/ 2147483647 w 150"/>
                <a:gd name="T25" fmla="*/ 2147483647 h 106"/>
                <a:gd name="T26" fmla="*/ 2147483647 w 150"/>
                <a:gd name="T27" fmla="*/ 2147483647 h 106"/>
                <a:gd name="T28" fmla="*/ 2147483647 w 150"/>
                <a:gd name="T29" fmla="*/ 2147483647 h 106"/>
                <a:gd name="T30" fmla="*/ 2147483647 w 150"/>
                <a:gd name="T31" fmla="*/ 2147483647 h 106"/>
                <a:gd name="T32" fmla="*/ 2147483647 w 150"/>
                <a:gd name="T33" fmla="*/ 2147483647 h 106"/>
                <a:gd name="T34" fmla="*/ 2147483647 w 150"/>
                <a:gd name="T35" fmla="*/ 2147483647 h 106"/>
                <a:gd name="T36" fmla="*/ 2147483647 w 150"/>
                <a:gd name="T37" fmla="*/ 2147483647 h 106"/>
                <a:gd name="T38" fmla="*/ 2147483647 w 150"/>
                <a:gd name="T39" fmla="*/ 2147483647 h 106"/>
                <a:gd name="T40" fmla="*/ 2147483647 w 150"/>
                <a:gd name="T41" fmla="*/ 2147483647 h 106"/>
                <a:gd name="T42" fmla="*/ 2147483647 w 150"/>
                <a:gd name="T43" fmla="*/ 2147483647 h 106"/>
                <a:gd name="T44" fmla="*/ 2147483647 w 150"/>
                <a:gd name="T45" fmla="*/ 2147483647 h 106"/>
                <a:gd name="T46" fmla="*/ 2147483647 w 150"/>
                <a:gd name="T47" fmla="*/ 2147483647 h 106"/>
                <a:gd name="T48" fmla="*/ 2147483647 w 150"/>
                <a:gd name="T49" fmla="*/ 2147483647 h 106"/>
                <a:gd name="T50" fmla="*/ 0 w 150"/>
                <a:gd name="T51" fmla="*/ 2147483647 h 106"/>
                <a:gd name="T52" fmla="*/ 2147483647 w 150"/>
                <a:gd name="T53" fmla="*/ 2147483647 h 106"/>
                <a:gd name="T54" fmla="*/ 2147483647 w 150"/>
                <a:gd name="T55" fmla="*/ 2147483647 h 106"/>
                <a:gd name="T56" fmla="*/ 2147483647 w 150"/>
                <a:gd name="T57" fmla="*/ 2147483647 h 106"/>
                <a:gd name="T58" fmla="*/ 2147483647 w 150"/>
                <a:gd name="T59" fmla="*/ 2147483647 h 106"/>
                <a:gd name="T60" fmla="*/ 2147483647 w 150"/>
                <a:gd name="T61" fmla="*/ 2147483647 h 10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50"/>
                <a:gd name="T94" fmla="*/ 0 h 106"/>
                <a:gd name="T95" fmla="*/ 150 w 150"/>
                <a:gd name="T96" fmla="*/ 106 h 10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50" h="106">
                  <a:moveTo>
                    <a:pt x="2" y="48"/>
                  </a:moveTo>
                  <a:lnTo>
                    <a:pt x="24" y="44"/>
                  </a:lnTo>
                  <a:lnTo>
                    <a:pt x="38" y="44"/>
                  </a:lnTo>
                  <a:lnTo>
                    <a:pt x="40" y="28"/>
                  </a:lnTo>
                  <a:lnTo>
                    <a:pt x="54" y="24"/>
                  </a:lnTo>
                  <a:lnTo>
                    <a:pt x="54" y="12"/>
                  </a:lnTo>
                  <a:lnTo>
                    <a:pt x="68" y="8"/>
                  </a:lnTo>
                  <a:lnTo>
                    <a:pt x="80" y="0"/>
                  </a:lnTo>
                  <a:lnTo>
                    <a:pt x="98" y="4"/>
                  </a:lnTo>
                  <a:lnTo>
                    <a:pt x="98" y="10"/>
                  </a:lnTo>
                  <a:lnTo>
                    <a:pt x="118" y="12"/>
                  </a:lnTo>
                  <a:lnTo>
                    <a:pt x="122" y="34"/>
                  </a:lnTo>
                  <a:lnTo>
                    <a:pt x="150" y="64"/>
                  </a:lnTo>
                  <a:lnTo>
                    <a:pt x="148" y="66"/>
                  </a:lnTo>
                  <a:lnTo>
                    <a:pt x="130" y="66"/>
                  </a:lnTo>
                  <a:lnTo>
                    <a:pt x="130" y="86"/>
                  </a:lnTo>
                  <a:lnTo>
                    <a:pt x="118" y="88"/>
                  </a:lnTo>
                  <a:lnTo>
                    <a:pt x="114" y="106"/>
                  </a:lnTo>
                  <a:lnTo>
                    <a:pt x="94" y="104"/>
                  </a:lnTo>
                  <a:lnTo>
                    <a:pt x="92" y="98"/>
                  </a:lnTo>
                  <a:lnTo>
                    <a:pt x="64" y="98"/>
                  </a:lnTo>
                  <a:lnTo>
                    <a:pt x="46" y="94"/>
                  </a:lnTo>
                  <a:lnTo>
                    <a:pt x="16" y="88"/>
                  </a:lnTo>
                  <a:lnTo>
                    <a:pt x="6" y="102"/>
                  </a:lnTo>
                  <a:lnTo>
                    <a:pt x="6" y="88"/>
                  </a:lnTo>
                  <a:lnTo>
                    <a:pt x="0" y="84"/>
                  </a:lnTo>
                  <a:lnTo>
                    <a:pt x="2" y="78"/>
                  </a:lnTo>
                  <a:lnTo>
                    <a:pt x="10" y="78"/>
                  </a:lnTo>
                  <a:lnTo>
                    <a:pt x="10" y="64"/>
                  </a:lnTo>
                  <a:lnTo>
                    <a:pt x="6" y="60"/>
                  </a:lnTo>
                  <a:lnTo>
                    <a:pt x="2" y="4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75" name="Freeform 91"/>
            <p:cNvSpPr>
              <a:spLocks/>
            </p:cNvSpPr>
            <p:nvPr/>
          </p:nvSpPr>
          <p:spPr bwMode="gray">
            <a:xfrm>
              <a:off x="4598988" y="3348038"/>
              <a:ext cx="15875" cy="30162"/>
            </a:xfrm>
            <a:custGeom>
              <a:avLst/>
              <a:gdLst>
                <a:gd name="T0" fmla="*/ 2147483647 w 14"/>
                <a:gd name="T1" fmla="*/ 0 h 26"/>
                <a:gd name="T2" fmla="*/ 2147483647 w 14"/>
                <a:gd name="T3" fmla="*/ 2147483647 h 26"/>
                <a:gd name="T4" fmla="*/ 0 w 14"/>
                <a:gd name="T5" fmla="*/ 2147483647 h 26"/>
                <a:gd name="T6" fmla="*/ 0 w 14"/>
                <a:gd name="T7" fmla="*/ 2147483647 h 26"/>
                <a:gd name="T8" fmla="*/ 0 w 14"/>
                <a:gd name="T9" fmla="*/ 2147483647 h 26"/>
                <a:gd name="T10" fmla="*/ 2147483647 w 14"/>
                <a:gd name="T11" fmla="*/ 2147483647 h 26"/>
                <a:gd name="T12" fmla="*/ 2147483647 w 14"/>
                <a:gd name="T13" fmla="*/ 2147483647 h 26"/>
                <a:gd name="T14" fmla="*/ 2147483647 w 14"/>
                <a:gd name="T15" fmla="*/ 2147483647 h 26"/>
                <a:gd name="T16" fmla="*/ 2147483647 w 14"/>
                <a:gd name="T17" fmla="*/ 2147483647 h 26"/>
                <a:gd name="T18" fmla="*/ 2147483647 w 14"/>
                <a:gd name="T19" fmla="*/ 0 h 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26"/>
                <a:gd name="T32" fmla="*/ 14 w 14"/>
                <a:gd name="T33" fmla="*/ 26 h 2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26">
                  <a:moveTo>
                    <a:pt x="10" y="0"/>
                  </a:moveTo>
                  <a:lnTo>
                    <a:pt x="4" y="2"/>
                  </a:lnTo>
                  <a:lnTo>
                    <a:pt x="0" y="6"/>
                  </a:lnTo>
                  <a:lnTo>
                    <a:pt x="0" y="14"/>
                  </a:lnTo>
                  <a:lnTo>
                    <a:pt x="0" y="22"/>
                  </a:lnTo>
                  <a:lnTo>
                    <a:pt x="6" y="26"/>
                  </a:lnTo>
                  <a:lnTo>
                    <a:pt x="10" y="18"/>
                  </a:lnTo>
                  <a:lnTo>
                    <a:pt x="8" y="12"/>
                  </a:lnTo>
                  <a:lnTo>
                    <a:pt x="14" y="1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76" name="Freeform 92"/>
            <p:cNvSpPr>
              <a:spLocks/>
            </p:cNvSpPr>
            <p:nvPr/>
          </p:nvSpPr>
          <p:spPr bwMode="gray">
            <a:xfrm>
              <a:off x="4592638" y="3387725"/>
              <a:ext cx="22225" cy="46038"/>
            </a:xfrm>
            <a:custGeom>
              <a:avLst/>
              <a:gdLst>
                <a:gd name="T0" fmla="*/ 2147483647 w 20"/>
                <a:gd name="T1" fmla="*/ 0 h 38"/>
                <a:gd name="T2" fmla="*/ 2147483647 w 20"/>
                <a:gd name="T3" fmla="*/ 2147483647 h 38"/>
                <a:gd name="T4" fmla="*/ 2147483647 w 20"/>
                <a:gd name="T5" fmla="*/ 2147483647 h 38"/>
                <a:gd name="T6" fmla="*/ 0 w 20"/>
                <a:gd name="T7" fmla="*/ 2147483647 h 38"/>
                <a:gd name="T8" fmla="*/ 2147483647 w 20"/>
                <a:gd name="T9" fmla="*/ 2147483647 h 38"/>
                <a:gd name="T10" fmla="*/ 2147483647 w 20"/>
                <a:gd name="T11" fmla="*/ 2147483647 h 38"/>
                <a:gd name="T12" fmla="*/ 2147483647 w 20"/>
                <a:gd name="T13" fmla="*/ 2147483647 h 38"/>
                <a:gd name="T14" fmla="*/ 2147483647 w 20"/>
                <a:gd name="T15" fmla="*/ 2147483647 h 38"/>
                <a:gd name="T16" fmla="*/ 2147483647 w 20"/>
                <a:gd name="T17" fmla="*/ 2147483647 h 38"/>
                <a:gd name="T18" fmla="*/ 2147483647 w 20"/>
                <a:gd name="T19" fmla="*/ 2147483647 h 38"/>
                <a:gd name="T20" fmla="*/ 2147483647 w 20"/>
                <a:gd name="T21" fmla="*/ 2147483647 h 38"/>
                <a:gd name="T22" fmla="*/ 2147483647 w 20"/>
                <a:gd name="T23" fmla="*/ 2147483647 h 38"/>
                <a:gd name="T24" fmla="*/ 2147483647 w 20"/>
                <a:gd name="T25" fmla="*/ 2147483647 h 38"/>
                <a:gd name="T26" fmla="*/ 2147483647 w 20"/>
                <a:gd name="T27" fmla="*/ 0 h 3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0"/>
                <a:gd name="T43" fmla="*/ 0 h 38"/>
                <a:gd name="T44" fmla="*/ 20 w 20"/>
                <a:gd name="T45" fmla="*/ 38 h 3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0" h="38">
                  <a:moveTo>
                    <a:pt x="10" y="0"/>
                  </a:moveTo>
                  <a:lnTo>
                    <a:pt x="8" y="4"/>
                  </a:lnTo>
                  <a:lnTo>
                    <a:pt x="2" y="4"/>
                  </a:lnTo>
                  <a:lnTo>
                    <a:pt x="0" y="12"/>
                  </a:lnTo>
                  <a:lnTo>
                    <a:pt x="4" y="16"/>
                  </a:lnTo>
                  <a:lnTo>
                    <a:pt x="4" y="26"/>
                  </a:lnTo>
                  <a:lnTo>
                    <a:pt x="4" y="36"/>
                  </a:lnTo>
                  <a:lnTo>
                    <a:pt x="10" y="38"/>
                  </a:lnTo>
                  <a:lnTo>
                    <a:pt x="14" y="34"/>
                  </a:lnTo>
                  <a:lnTo>
                    <a:pt x="20" y="28"/>
                  </a:lnTo>
                  <a:lnTo>
                    <a:pt x="18" y="14"/>
                  </a:lnTo>
                  <a:lnTo>
                    <a:pt x="20" y="6"/>
                  </a:lnTo>
                  <a:lnTo>
                    <a:pt x="18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849BCD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77" name="Freeform 93"/>
            <p:cNvSpPr>
              <a:spLocks/>
            </p:cNvSpPr>
            <p:nvPr/>
          </p:nvSpPr>
          <p:spPr bwMode="gray">
            <a:xfrm>
              <a:off x="4483100" y="3138488"/>
              <a:ext cx="69850" cy="46037"/>
            </a:xfrm>
            <a:custGeom>
              <a:avLst/>
              <a:gdLst>
                <a:gd name="T0" fmla="*/ 0 w 60"/>
                <a:gd name="T1" fmla="*/ 2147483647 h 38"/>
                <a:gd name="T2" fmla="*/ 2147483647 w 60"/>
                <a:gd name="T3" fmla="*/ 2147483647 h 38"/>
                <a:gd name="T4" fmla="*/ 2147483647 w 60"/>
                <a:gd name="T5" fmla="*/ 2147483647 h 38"/>
                <a:gd name="T6" fmla="*/ 2147483647 w 60"/>
                <a:gd name="T7" fmla="*/ 0 h 38"/>
                <a:gd name="T8" fmla="*/ 2147483647 w 60"/>
                <a:gd name="T9" fmla="*/ 2147483647 h 38"/>
                <a:gd name="T10" fmla="*/ 2147483647 w 60"/>
                <a:gd name="T11" fmla="*/ 2147483647 h 38"/>
                <a:gd name="T12" fmla="*/ 2147483647 w 60"/>
                <a:gd name="T13" fmla="*/ 2147483647 h 38"/>
                <a:gd name="T14" fmla="*/ 2147483647 w 60"/>
                <a:gd name="T15" fmla="*/ 2147483647 h 38"/>
                <a:gd name="T16" fmla="*/ 2147483647 w 60"/>
                <a:gd name="T17" fmla="*/ 2147483647 h 38"/>
                <a:gd name="T18" fmla="*/ 2147483647 w 60"/>
                <a:gd name="T19" fmla="*/ 2147483647 h 38"/>
                <a:gd name="T20" fmla="*/ 2147483647 w 60"/>
                <a:gd name="T21" fmla="*/ 2147483647 h 38"/>
                <a:gd name="T22" fmla="*/ 2147483647 w 60"/>
                <a:gd name="T23" fmla="*/ 2147483647 h 38"/>
                <a:gd name="T24" fmla="*/ 2147483647 w 60"/>
                <a:gd name="T25" fmla="*/ 2147483647 h 38"/>
                <a:gd name="T26" fmla="*/ 2147483647 w 60"/>
                <a:gd name="T27" fmla="*/ 2147483647 h 38"/>
                <a:gd name="T28" fmla="*/ 2147483647 w 60"/>
                <a:gd name="T29" fmla="*/ 2147483647 h 38"/>
                <a:gd name="T30" fmla="*/ 2147483647 w 60"/>
                <a:gd name="T31" fmla="*/ 2147483647 h 38"/>
                <a:gd name="T32" fmla="*/ 0 w 60"/>
                <a:gd name="T33" fmla="*/ 2147483647 h 3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0"/>
                <a:gd name="T52" fmla="*/ 0 h 38"/>
                <a:gd name="T53" fmla="*/ 60 w 60"/>
                <a:gd name="T54" fmla="*/ 38 h 3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0" h="38">
                  <a:moveTo>
                    <a:pt x="0" y="6"/>
                  </a:moveTo>
                  <a:lnTo>
                    <a:pt x="12" y="2"/>
                  </a:lnTo>
                  <a:lnTo>
                    <a:pt x="26" y="2"/>
                  </a:lnTo>
                  <a:lnTo>
                    <a:pt x="38" y="0"/>
                  </a:lnTo>
                  <a:lnTo>
                    <a:pt x="46" y="2"/>
                  </a:lnTo>
                  <a:lnTo>
                    <a:pt x="50" y="4"/>
                  </a:lnTo>
                  <a:lnTo>
                    <a:pt x="56" y="12"/>
                  </a:lnTo>
                  <a:lnTo>
                    <a:pt x="60" y="20"/>
                  </a:lnTo>
                  <a:lnTo>
                    <a:pt x="58" y="26"/>
                  </a:lnTo>
                  <a:lnTo>
                    <a:pt x="52" y="26"/>
                  </a:lnTo>
                  <a:lnTo>
                    <a:pt x="52" y="38"/>
                  </a:lnTo>
                  <a:lnTo>
                    <a:pt x="46" y="38"/>
                  </a:lnTo>
                  <a:lnTo>
                    <a:pt x="38" y="34"/>
                  </a:lnTo>
                  <a:lnTo>
                    <a:pt x="36" y="30"/>
                  </a:lnTo>
                  <a:lnTo>
                    <a:pt x="24" y="26"/>
                  </a:lnTo>
                  <a:lnTo>
                    <a:pt x="10" y="14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78" name="Freeform 94"/>
            <p:cNvSpPr>
              <a:spLocks/>
            </p:cNvSpPr>
            <p:nvPr/>
          </p:nvSpPr>
          <p:spPr bwMode="gray">
            <a:xfrm>
              <a:off x="4705350" y="3051175"/>
              <a:ext cx="182563" cy="144463"/>
            </a:xfrm>
            <a:custGeom>
              <a:avLst/>
              <a:gdLst>
                <a:gd name="T0" fmla="*/ 0 w 154"/>
                <a:gd name="T1" fmla="*/ 2147483647 h 120"/>
                <a:gd name="T2" fmla="*/ 2147483647 w 154"/>
                <a:gd name="T3" fmla="*/ 2147483647 h 120"/>
                <a:gd name="T4" fmla="*/ 2147483647 w 154"/>
                <a:gd name="T5" fmla="*/ 2147483647 h 120"/>
                <a:gd name="T6" fmla="*/ 2147483647 w 154"/>
                <a:gd name="T7" fmla="*/ 0 h 120"/>
                <a:gd name="T8" fmla="*/ 2147483647 w 154"/>
                <a:gd name="T9" fmla="*/ 0 h 120"/>
                <a:gd name="T10" fmla="*/ 2147483647 w 154"/>
                <a:gd name="T11" fmla="*/ 2147483647 h 120"/>
                <a:gd name="T12" fmla="*/ 2147483647 w 154"/>
                <a:gd name="T13" fmla="*/ 2147483647 h 120"/>
                <a:gd name="T14" fmla="*/ 2147483647 w 154"/>
                <a:gd name="T15" fmla="*/ 2147483647 h 120"/>
                <a:gd name="T16" fmla="*/ 2147483647 w 154"/>
                <a:gd name="T17" fmla="*/ 2147483647 h 120"/>
                <a:gd name="T18" fmla="*/ 2147483647 w 154"/>
                <a:gd name="T19" fmla="*/ 2147483647 h 120"/>
                <a:gd name="T20" fmla="*/ 2147483647 w 154"/>
                <a:gd name="T21" fmla="*/ 2147483647 h 120"/>
                <a:gd name="T22" fmla="*/ 2147483647 w 154"/>
                <a:gd name="T23" fmla="*/ 2147483647 h 120"/>
                <a:gd name="T24" fmla="*/ 2147483647 w 154"/>
                <a:gd name="T25" fmla="*/ 2147483647 h 120"/>
                <a:gd name="T26" fmla="*/ 2147483647 w 154"/>
                <a:gd name="T27" fmla="*/ 2147483647 h 120"/>
                <a:gd name="T28" fmla="*/ 2147483647 w 154"/>
                <a:gd name="T29" fmla="*/ 2147483647 h 120"/>
                <a:gd name="T30" fmla="*/ 2147483647 w 154"/>
                <a:gd name="T31" fmla="*/ 2147483647 h 120"/>
                <a:gd name="T32" fmla="*/ 2147483647 w 154"/>
                <a:gd name="T33" fmla="*/ 2147483647 h 120"/>
                <a:gd name="T34" fmla="*/ 2147483647 w 154"/>
                <a:gd name="T35" fmla="*/ 2147483647 h 120"/>
                <a:gd name="T36" fmla="*/ 2147483647 w 154"/>
                <a:gd name="T37" fmla="*/ 2147483647 h 120"/>
                <a:gd name="T38" fmla="*/ 2147483647 w 154"/>
                <a:gd name="T39" fmla="*/ 2147483647 h 120"/>
                <a:gd name="T40" fmla="*/ 2147483647 w 154"/>
                <a:gd name="T41" fmla="*/ 2147483647 h 120"/>
                <a:gd name="T42" fmla="*/ 2147483647 w 154"/>
                <a:gd name="T43" fmla="*/ 2147483647 h 120"/>
                <a:gd name="T44" fmla="*/ 2147483647 w 154"/>
                <a:gd name="T45" fmla="*/ 2147483647 h 120"/>
                <a:gd name="T46" fmla="*/ 2147483647 w 154"/>
                <a:gd name="T47" fmla="*/ 2147483647 h 120"/>
                <a:gd name="T48" fmla="*/ 2147483647 w 154"/>
                <a:gd name="T49" fmla="*/ 2147483647 h 120"/>
                <a:gd name="T50" fmla="*/ 2147483647 w 154"/>
                <a:gd name="T51" fmla="*/ 2147483647 h 120"/>
                <a:gd name="T52" fmla="*/ 2147483647 w 154"/>
                <a:gd name="T53" fmla="*/ 2147483647 h 120"/>
                <a:gd name="T54" fmla="*/ 2147483647 w 154"/>
                <a:gd name="T55" fmla="*/ 2147483647 h 120"/>
                <a:gd name="T56" fmla="*/ 2147483647 w 154"/>
                <a:gd name="T57" fmla="*/ 2147483647 h 120"/>
                <a:gd name="T58" fmla="*/ 2147483647 w 154"/>
                <a:gd name="T59" fmla="*/ 2147483647 h 120"/>
                <a:gd name="T60" fmla="*/ 2147483647 w 154"/>
                <a:gd name="T61" fmla="*/ 2147483647 h 120"/>
                <a:gd name="T62" fmla="*/ 2147483647 w 154"/>
                <a:gd name="T63" fmla="*/ 2147483647 h 120"/>
                <a:gd name="T64" fmla="*/ 2147483647 w 154"/>
                <a:gd name="T65" fmla="*/ 2147483647 h 120"/>
                <a:gd name="T66" fmla="*/ 2147483647 w 154"/>
                <a:gd name="T67" fmla="*/ 2147483647 h 120"/>
                <a:gd name="T68" fmla="*/ 2147483647 w 154"/>
                <a:gd name="T69" fmla="*/ 2147483647 h 120"/>
                <a:gd name="T70" fmla="*/ 2147483647 w 154"/>
                <a:gd name="T71" fmla="*/ 2147483647 h 120"/>
                <a:gd name="T72" fmla="*/ 2147483647 w 154"/>
                <a:gd name="T73" fmla="*/ 2147483647 h 120"/>
                <a:gd name="T74" fmla="*/ 2147483647 w 154"/>
                <a:gd name="T75" fmla="*/ 2147483647 h 120"/>
                <a:gd name="T76" fmla="*/ 2147483647 w 154"/>
                <a:gd name="T77" fmla="*/ 2147483647 h 120"/>
                <a:gd name="T78" fmla="*/ 2147483647 w 154"/>
                <a:gd name="T79" fmla="*/ 2147483647 h 120"/>
                <a:gd name="T80" fmla="*/ 2147483647 w 154"/>
                <a:gd name="T81" fmla="*/ 2147483647 h 120"/>
                <a:gd name="T82" fmla="*/ 2147483647 w 154"/>
                <a:gd name="T83" fmla="*/ 2147483647 h 120"/>
                <a:gd name="T84" fmla="*/ 2147483647 w 154"/>
                <a:gd name="T85" fmla="*/ 2147483647 h 120"/>
                <a:gd name="T86" fmla="*/ 0 w 154"/>
                <a:gd name="T87" fmla="*/ 2147483647 h 120"/>
                <a:gd name="T88" fmla="*/ 2147483647 w 154"/>
                <a:gd name="T89" fmla="*/ 2147483647 h 120"/>
                <a:gd name="T90" fmla="*/ 0 w 154"/>
                <a:gd name="T91" fmla="*/ 2147483647 h 12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54"/>
                <a:gd name="T139" fmla="*/ 0 h 120"/>
                <a:gd name="T140" fmla="*/ 154 w 154"/>
                <a:gd name="T141" fmla="*/ 120 h 12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54" h="120">
                  <a:moveTo>
                    <a:pt x="0" y="20"/>
                  </a:moveTo>
                  <a:lnTo>
                    <a:pt x="16" y="16"/>
                  </a:lnTo>
                  <a:lnTo>
                    <a:pt x="32" y="10"/>
                  </a:lnTo>
                  <a:lnTo>
                    <a:pt x="48" y="0"/>
                  </a:lnTo>
                  <a:lnTo>
                    <a:pt x="66" y="0"/>
                  </a:lnTo>
                  <a:lnTo>
                    <a:pt x="70" y="8"/>
                  </a:lnTo>
                  <a:lnTo>
                    <a:pt x="88" y="8"/>
                  </a:lnTo>
                  <a:lnTo>
                    <a:pt x="108" y="8"/>
                  </a:lnTo>
                  <a:lnTo>
                    <a:pt x="134" y="6"/>
                  </a:lnTo>
                  <a:lnTo>
                    <a:pt x="140" y="12"/>
                  </a:lnTo>
                  <a:lnTo>
                    <a:pt x="144" y="16"/>
                  </a:lnTo>
                  <a:lnTo>
                    <a:pt x="148" y="28"/>
                  </a:lnTo>
                  <a:lnTo>
                    <a:pt x="152" y="32"/>
                  </a:lnTo>
                  <a:lnTo>
                    <a:pt x="152" y="46"/>
                  </a:lnTo>
                  <a:lnTo>
                    <a:pt x="144" y="46"/>
                  </a:lnTo>
                  <a:lnTo>
                    <a:pt x="142" y="52"/>
                  </a:lnTo>
                  <a:lnTo>
                    <a:pt x="148" y="56"/>
                  </a:lnTo>
                  <a:lnTo>
                    <a:pt x="148" y="70"/>
                  </a:lnTo>
                  <a:lnTo>
                    <a:pt x="150" y="76"/>
                  </a:lnTo>
                  <a:lnTo>
                    <a:pt x="152" y="84"/>
                  </a:lnTo>
                  <a:lnTo>
                    <a:pt x="154" y="88"/>
                  </a:lnTo>
                  <a:lnTo>
                    <a:pt x="144" y="94"/>
                  </a:lnTo>
                  <a:lnTo>
                    <a:pt x="136" y="102"/>
                  </a:lnTo>
                  <a:lnTo>
                    <a:pt x="132" y="110"/>
                  </a:lnTo>
                  <a:lnTo>
                    <a:pt x="130" y="120"/>
                  </a:lnTo>
                  <a:lnTo>
                    <a:pt x="126" y="116"/>
                  </a:lnTo>
                  <a:lnTo>
                    <a:pt x="116" y="112"/>
                  </a:lnTo>
                  <a:lnTo>
                    <a:pt x="108" y="112"/>
                  </a:lnTo>
                  <a:lnTo>
                    <a:pt x="98" y="116"/>
                  </a:lnTo>
                  <a:lnTo>
                    <a:pt x="88" y="118"/>
                  </a:lnTo>
                  <a:lnTo>
                    <a:pt x="84" y="110"/>
                  </a:lnTo>
                  <a:lnTo>
                    <a:pt x="74" y="108"/>
                  </a:lnTo>
                  <a:lnTo>
                    <a:pt x="66" y="102"/>
                  </a:lnTo>
                  <a:lnTo>
                    <a:pt x="58" y="98"/>
                  </a:lnTo>
                  <a:lnTo>
                    <a:pt x="52" y="94"/>
                  </a:lnTo>
                  <a:lnTo>
                    <a:pt x="44" y="92"/>
                  </a:lnTo>
                  <a:lnTo>
                    <a:pt x="42" y="96"/>
                  </a:lnTo>
                  <a:lnTo>
                    <a:pt x="34" y="94"/>
                  </a:lnTo>
                  <a:lnTo>
                    <a:pt x="32" y="86"/>
                  </a:lnTo>
                  <a:lnTo>
                    <a:pt x="24" y="84"/>
                  </a:lnTo>
                  <a:lnTo>
                    <a:pt x="12" y="78"/>
                  </a:lnTo>
                  <a:lnTo>
                    <a:pt x="8" y="70"/>
                  </a:lnTo>
                  <a:lnTo>
                    <a:pt x="8" y="46"/>
                  </a:lnTo>
                  <a:lnTo>
                    <a:pt x="0" y="42"/>
                  </a:lnTo>
                  <a:lnTo>
                    <a:pt x="4" y="30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79" name="Freeform 95"/>
            <p:cNvSpPr>
              <a:spLocks/>
            </p:cNvSpPr>
            <p:nvPr/>
          </p:nvSpPr>
          <p:spPr bwMode="gray">
            <a:xfrm>
              <a:off x="4741863" y="3208338"/>
              <a:ext cx="119062" cy="68262"/>
            </a:xfrm>
            <a:custGeom>
              <a:avLst/>
              <a:gdLst>
                <a:gd name="T0" fmla="*/ 0 w 100"/>
                <a:gd name="T1" fmla="*/ 2147483647 h 56"/>
                <a:gd name="T2" fmla="*/ 2147483647 w 100"/>
                <a:gd name="T3" fmla="*/ 2147483647 h 56"/>
                <a:gd name="T4" fmla="*/ 2147483647 w 100"/>
                <a:gd name="T5" fmla="*/ 2147483647 h 56"/>
                <a:gd name="T6" fmla="*/ 2147483647 w 100"/>
                <a:gd name="T7" fmla="*/ 2147483647 h 56"/>
                <a:gd name="T8" fmla="*/ 2147483647 w 100"/>
                <a:gd name="T9" fmla="*/ 2147483647 h 56"/>
                <a:gd name="T10" fmla="*/ 2147483647 w 100"/>
                <a:gd name="T11" fmla="*/ 2147483647 h 56"/>
                <a:gd name="T12" fmla="*/ 2147483647 w 100"/>
                <a:gd name="T13" fmla="*/ 2147483647 h 56"/>
                <a:gd name="T14" fmla="*/ 2147483647 w 100"/>
                <a:gd name="T15" fmla="*/ 2147483647 h 56"/>
                <a:gd name="T16" fmla="*/ 2147483647 w 100"/>
                <a:gd name="T17" fmla="*/ 2147483647 h 56"/>
                <a:gd name="T18" fmla="*/ 2147483647 w 100"/>
                <a:gd name="T19" fmla="*/ 2147483647 h 56"/>
                <a:gd name="T20" fmla="*/ 2147483647 w 100"/>
                <a:gd name="T21" fmla="*/ 0 h 56"/>
                <a:gd name="T22" fmla="*/ 2147483647 w 100"/>
                <a:gd name="T23" fmla="*/ 2147483647 h 56"/>
                <a:gd name="T24" fmla="*/ 2147483647 w 100"/>
                <a:gd name="T25" fmla="*/ 2147483647 h 56"/>
                <a:gd name="T26" fmla="*/ 2147483647 w 100"/>
                <a:gd name="T27" fmla="*/ 2147483647 h 56"/>
                <a:gd name="T28" fmla="*/ 2147483647 w 100"/>
                <a:gd name="T29" fmla="*/ 2147483647 h 56"/>
                <a:gd name="T30" fmla="*/ 2147483647 w 100"/>
                <a:gd name="T31" fmla="*/ 2147483647 h 56"/>
                <a:gd name="T32" fmla="*/ 2147483647 w 100"/>
                <a:gd name="T33" fmla="*/ 2147483647 h 56"/>
                <a:gd name="T34" fmla="*/ 2147483647 w 100"/>
                <a:gd name="T35" fmla="*/ 2147483647 h 56"/>
                <a:gd name="T36" fmla="*/ 2147483647 w 100"/>
                <a:gd name="T37" fmla="*/ 2147483647 h 56"/>
                <a:gd name="T38" fmla="*/ 2147483647 w 100"/>
                <a:gd name="T39" fmla="*/ 2147483647 h 56"/>
                <a:gd name="T40" fmla="*/ 2147483647 w 100"/>
                <a:gd name="T41" fmla="*/ 2147483647 h 56"/>
                <a:gd name="T42" fmla="*/ 2147483647 w 100"/>
                <a:gd name="T43" fmla="*/ 2147483647 h 56"/>
                <a:gd name="T44" fmla="*/ 0 w 100"/>
                <a:gd name="T45" fmla="*/ 2147483647 h 5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0"/>
                <a:gd name="T70" fmla="*/ 0 h 56"/>
                <a:gd name="T71" fmla="*/ 100 w 100"/>
                <a:gd name="T72" fmla="*/ 56 h 5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0" h="56">
                  <a:moveTo>
                    <a:pt x="0" y="30"/>
                  </a:moveTo>
                  <a:lnTo>
                    <a:pt x="2" y="24"/>
                  </a:lnTo>
                  <a:lnTo>
                    <a:pt x="8" y="18"/>
                  </a:lnTo>
                  <a:lnTo>
                    <a:pt x="18" y="14"/>
                  </a:lnTo>
                  <a:lnTo>
                    <a:pt x="34" y="16"/>
                  </a:lnTo>
                  <a:lnTo>
                    <a:pt x="38" y="10"/>
                  </a:lnTo>
                  <a:lnTo>
                    <a:pt x="46" y="10"/>
                  </a:lnTo>
                  <a:lnTo>
                    <a:pt x="52" y="6"/>
                  </a:lnTo>
                  <a:lnTo>
                    <a:pt x="62" y="6"/>
                  </a:lnTo>
                  <a:lnTo>
                    <a:pt x="64" y="4"/>
                  </a:lnTo>
                  <a:lnTo>
                    <a:pt x="70" y="0"/>
                  </a:lnTo>
                  <a:lnTo>
                    <a:pt x="90" y="4"/>
                  </a:lnTo>
                  <a:lnTo>
                    <a:pt x="96" y="8"/>
                  </a:lnTo>
                  <a:lnTo>
                    <a:pt x="100" y="14"/>
                  </a:lnTo>
                  <a:lnTo>
                    <a:pt x="92" y="22"/>
                  </a:lnTo>
                  <a:lnTo>
                    <a:pt x="82" y="36"/>
                  </a:lnTo>
                  <a:lnTo>
                    <a:pt x="68" y="50"/>
                  </a:lnTo>
                  <a:lnTo>
                    <a:pt x="48" y="50"/>
                  </a:lnTo>
                  <a:lnTo>
                    <a:pt x="40" y="54"/>
                  </a:lnTo>
                  <a:lnTo>
                    <a:pt x="22" y="56"/>
                  </a:lnTo>
                  <a:lnTo>
                    <a:pt x="10" y="46"/>
                  </a:lnTo>
                  <a:lnTo>
                    <a:pt x="2" y="38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80" name="Freeform 96"/>
            <p:cNvSpPr>
              <a:spLocks/>
            </p:cNvSpPr>
            <p:nvPr/>
          </p:nvSpPr>
          <p:spPr bwMode="gray">
            <a:xfrm>
              <a:off x="4683125" y="3246438"/>
              <a:ext cx="61913" cy="34925"/>
            </a:xfrm>
            <a:custGeom>
              <a:avLst/>
              <a:gdLst>
                <a:gd name="T0" fmla="*/ 2147483647 w 52"/>
                <a:gd name="T1" fmla="*/ 2147483647 h 30"/>
                <a:gd name="T2" fmla="*/ 2147483647 w 52"/>
                <a:gd name="T3" fmla="*/ 2147483647 h 30"/>
                <a:gd name="T4" fmla="*/ 2147483647 w 52"/>
                <a:gd name="T5" fmla="*/ 2147483647 h 30"/>
                <a:gd name="T6" fmla="*/ 2147483647 w 52"/>
                <a:gd name="T7" fmla="*/ 2147483647 h 30"/>
                <a:gd name="T8" fmla="*/ 2147483647 w 52"/>
                <a:gd name="T9" fmla="*/ 2147483647 h 30"/>
                <a:gd name="T10" fmla="*/ 2147483647 w 52"/>
                <a:gd name="T11" fmla="*/ 2147483647 h 30"/>
                <a:gd name="T12" fmla="*/ 2147483647 w 52"/>
                <a:gd name="T13" fmla="*/ 0 h 30"/>
                <a:gd name="T14" fmla="*/ 2147483647 w 52"/>
                <a:gd name="T15" fmla="*/ 2147483647 h 30"/>
                <a:gd name="T16" fmla="*/ 2147483647 w 52"/>
                <a:gd name="T17" fmla="*/ 2147483647 h 30"/>
                <a:gd name="T18" fmla="*/ 2147483647 w 52"/>
                <a:gd name="T19" fmla="*/ 2147483647 h 30"/>
                <a:gd name="T20" fmla="*/ 2147483647 w 52"/>
                <a:gd name="T21" fmla="*/ 2147483647 h 30"/>
                <a:gd name="T22" fmla="*/ 2147483647 w 52"/>
                <a:gd name="T23" fmla="*/ 2147483647 h 30"/>
                <a:gd name="T24" fmla="*/ 0 w 52"/>
                <a:gd name="T25" fmla="*/ 2147483647 h 30"/>
                <a:gd name="T26" fmla="*/ 2147483647 w 52"/>
                <a:gd name="T27" fmla="*/ 2147483647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2"/>
                <a:gd name="T43" fmla="*/ 0 h 30"/>
                <a:gd name="T44" fmla="*/ 52 w 52"/>
                <a:gd name="T45" fmla="*/ 30 h 30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2" h="30">
                  <a:moveTo>
                    <a:pt x="10" y="28"/>
                  </a:moveTo>
                  <a:lnTo>
                    <a:pt x="20" y="30"/>
                  </a:lnTo>
                  <a:lnTo>
                    <a:pt x="32" y="28"/>
                  </a:lnTo>
                  <a:lnTo>
                    <a:pt x="38" y="22"/>
                  </a:lnTo>
                  <a:lnTo>
                    <a:pt x="44" y="16"/>
                  </a:lnTo>
                  <a:lnTo>
                    <a:pt x="52" y="8"/>
                  </a:lnTo>
                  <a:lnTo>
                    <a:pt x="50" y="0"/>
                  </a:lnTo>
                  <a:lnTo>
                    <a:pt x="44" y="4"/>
                  </a:lnTo>
                  <a:lnTo>
                    <a:pt x="30" y="10"/>
                  </a:lnTo>
                  <a:lnTo>
                    <a:pt x="18" y="12"/>
                  </a:lnTo>
                  <a:lnTo>
                    <a:pt x="8" y="8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10" y="28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81" name="Freeform 97"/>
            <p:cNvSpPr>
              <a:spLocks/>
            </p:cNvSpPr>
            <p:nvPr/>
          </p:nvSpPr>
          <p:spPr bwMode="gray">
            <a:xfrm>
              <a:off x="4689475" y="3255963"/>
              <a:ext cx="106363" cy="88900"/>
            </a:xfrm>
            <a:custGeom>
              <a:avLst/>
              <a:gdLst>
                <a:gd name="T0" fmla="*/ 2147483647 w 90"/>
                <a:gd name="T1" fmla="*/ 2147483647 h 74"/>
                <a:gd name="T2" fmla="*/ 2147483647 w 90"/>
                <a:gd name="T3" fmla="*/ 2147483647 h 74"/>
                <a:gd name="T4" fmla="*/ 2147483647 w 90"/>
                <a:gd name="T5" fmla="*/ 2147483647 h 74"/>
                <a:gd name="T6" fmla="*/ 2147483647 w 90"/>
                <a:gd name="T7" fmla="*/ 2147483647 h 74"/>
                <a:gd name="T8" fmla="*/ 2147483647 w 90"/>
                <a:gd name="T9" fmla="*/ 2147483647 h 74"/>
                <a:gd name="T10" fmla="*/ 2147483647 w 90"/>
                <a:gd name="T11" fmla="*/ 2147483647 h 74"/>
                <a:gd name="T12" fmla="*/ 2147483647 w 90"/>
                <a:gd name="T13" fmla="*/ 2147483647 h 74"/>
                <a:gd name="T14" fmla="*/ 2147483647 w 90"/>
                <a:gd name="T15" fmla="*/ 2147483647 h 74"/>
                <a:gd name="T16" fmla="*/ 2147483647 w 90"/>
                <a:gd name="T17" fmla="*/ 2147483647 h 74"/>
                <a:gd name="T18" fmla="*/ 2147483647 w 90"/>
                <a:gd name="T19" fmla="*/ 2147483647 h 74"/>
                <a:gd name="T20" fmla="*/ 2147483647 w 90"/>
                <a:gd name="T21" fmla="*/ 2147483647 h 74"/>
                <a:gd name="T22" fmla="*/ 2147483647 w 90"/>
                <a:gd name="T23" fmla="*/ 2147483647 h 74"/>
                <a:gd name="T24" fmla="*/ 2147483647 w 90"/>
                <a:gd name="T25" fmla="*/ 2147483647 h 74"/>
                <a:gd name="T26" fmla="*/ 2147483647 w 90"/>
                <a:gd name="T27" fmla="*/ 2147483647 h 74"/>
                <a:gd name="T28" fmla="*/ 2147483647 w 90"/>
                <a:gd name="T29" fmla="*/ 2147483647 h 74"/>
                <a:gd name="T30" fmla="*/ 2147483647 w 90"/>
                <a:gd name="T31" fmla="*/ 2147483647 h 74"/>
                <a:gd name="T32" fmla="*/ 2147483647 w 90"/>
                <a:gd name="T33" fmla="*/ 2147483647 h 74"/>
                <a:gd name="T34" fmla="*/ 2147483647 w 90"/>
                <a:gd name="T35" fmla="*/ 2147483647 h 74"/>
                <a:gd name="T36" fmla="*/ 2147483647 w 90"/>
                <a:gd name="T37" fmla="*/ 2147483647 h 74"/>
                <a:gd name="T38" fmla="*/ 2147483647 w 90"/>
                <a:gd name="T39" fmla="*/ 2147483647 h 74"/>
                <a:gd name="T40" fmla="*/ 2147483647 w 90"/>
                <a:gd name="T41" fmla="*/ 2147483647 h 74"/>
                <a:gd name="T42" fmla="*/ 0 w 90"/>
                <a:gd name="T43" fmla="*/ 2147483647 h 74"/>
                <a:gd name="T44" fmla="*/ 0 w 90"/>
                <a:gd name="T45" fmla="*/ 2147483647 h 74"/>
                <a:gd name="T46" fmla="*/ 2147483647 w 90"/>
                <a:gd name="T47" fmla="*/ 2147483647 h 74"/>
                <a:gd name="T48" fmla="*/ 2147483647 w 90"/>
                <a:gd name="T49" fmla="*/ 2147483647 h 74"/>
                <a:gd name="T50" fmla="*/ 2147483647 w 90"/>
                <a:gd name="T51" fmla="*/ 2147483647 h 74"/>
                <a:gd name="T52" fmla="*/ 2147483647 w 90"/>
                <a:gd name="T53" fmla="*/ 2147483647 h 74"/>
                <a:gd name="T54" fmla="*/ 2147483647 w 90"/>
                <a:gd name="T55" fmla="*/ 2147483647 h 74"/>
                <a:gd name="T56" fmla="*/ 2147483647 w 90"/>
                <a:gd name="T57" fmla="*/ 2147483647 h 74"/>
                <a:gd name="T58" fmla="*/ 2147483647 w 90"/>
                <a:gd name="T59" fmla="*/ 0 h 74"/>
                <a:gd name="T60" fmla="*/ 2147483647 w 90"/>
                <a:gd name="T61" fmla="*/ 2147483647 h 74"/>
                <a:gd name="T62" fmla="*/ 2147483647 w 90"/>
                <a:gd name="T63" fmla="*/ 2147483647 h 74"/>
                <a:gd name="T64" fmla="*/ 2147483647 w 90"/>
                <a:gd name="T65" fmla="*/ 2147483647 h 74"/>
                <a:gd name="T66" fmla="*/ 2147483647 w 90"/>
                <a:gd name="T67" fmla="*/ 2147483647 h 7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90"/>
                <a:gd name="T103" fmla="*/ 0 h 74"/>
                <a:gd name="T104" fmla="*/ 90 w 90"/>
                <a:gd name="T105" fmla="*/ 74 h 7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90" h="74">
                  <a:moveTo>
                    <a:pt x="84" y="16"/>
                  </a:moveTo>
                  <a:lnTo>
                    <a:pt x="86" y="24"/>
                  </a:lnTo>
                  <a:lnTo>
                    <a:pt x="90" y="30"/>
                  </a:lnTo>
                  <a:lnTo>
                    <a:pt x="86" y="34"/>
                  </a:lnTo>
                  <a:lnTo>
                    <a:pt x="70" y="32"/>
                  </a:lnTo>
                  <a:lnTo>
                    <a:pt x="54" y="30"/>
                  </a:lnTo>
                  <a:lnTo>
                    <a:pt x="48" y="28"/>
                  </a:lnTo>
                  <a:lnTo>
                    <a:pt x="36" y="30"/>
                  </a:lnTo>
                  <a:lnTo>
                    <a:pt x="38" y="38"/>
                  </a:lnTo>
                  <a:lnTo>
                    <a:pt x="42" y="50"/>
                  </a:lnTo>
                  <a:lnTo>
                    <a:pt x="46" y="56"/>
                  </a:lnTo>
                  <a:lnTo>
                    <a:pt x="56" y="64"/>
                  </a:lnTo>
                  <a:lnTo>
                    <a:pt x="62" y="68"/>
                  </a:lnTo>
                  <a:lnTo>
                    <a:pt x="60" y="74"/>
                  </a:lnTo>
                  <a:lnTo>
                    <a:pt x="48" y="64"/>
                  </a:lnTo>
                  <a:lnTo>
                    <a:pt x="36" y="56"/>
                  </a:lnTo>
                  <a:lnTo>
                    <a:pt x="28" y="48"/>
                  </a:lnTo>
                  <a:lnTo>
                    <a:pt x="24" y="40"/>
                  </a:lnTo>
                  <a:lnTo>
                    <a:pt x="22" y="32"/>
                  </a:lnTo>
                  <a:lnTo>
                    <a:pt x="16" y="32"/>
                  </a:lnTo>
                  <a:lnTo>
                    <a:pt x="8" y="36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8" y="22"/>
                  </a:lnTo>
                  <a:lnTo>
                    <a:pt x="14" y="22"/>
                  </a:lnTo>
                  <a:lnTo>
                    <a:pt x="26" y="20"/>
                  </a:lnTo>
                  <a:lnTo>
                    <a:pt x="32" y="14"/>
                  </a:lnTo>
                  <a:lnTo>
                    <a:pt x="38" y="8"/>
                  </a:lnTo>
                  <a:lnTo>
                    <a:pt x="46" y="0"/>
                  </a:lnTo>
                  <a:lnTo>
                    <a:pt x="54" y="8"/>
                  </a:lnTo>
                  <a:lnTo>
                    <a:pt x="66" y="18"/>
                  </a:lnTo>
                  <a:lnTo>
                    <a:pt x="74" y="18"/>
                  </a:lnTo>
                  <a:lnTo>
                    <a:pt x="84" y="16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82" name="Freeform 98"/>
            <p:cNvSpPr>
              <a:spLocks/>
            </p:cNvSpPr>
            <p:nvPr/>
          </p:nvSpPr>
          <p:spPr bwMode="gray">
            <a:xfrm>
              <a:off x="4783138" y="3268663"/>
              <a:ext cx="80962" cy="95250"/>
            </a:xfrm>
            <a:custGeom>
              <a:avLst/>
              <a:gdLst>
                <a:gd name="T0" fmla="*/ 2147483647 w 70"/>
                <a:gd name="T1" fmla="*/ 2147483647 h 78"/>
                <a:gd name="T2" fmla="*/ 2147483647 w 70"/>
                <a:gd name="T3" fmla="*/ 2147483647 h 78"/>
                <a:gd name="T4" fmla="*/ 0 w 70"/>
                <a:gd name="T5" fmla="*/ 2147483647 h 78"/>
                <a:gd name="T6" fmla="*/ 2147483647 w 70"/>
                <a:gd name="T7" fmla="*/ 2147483647 h 78"/>
                <a:gd name="T8" fmla="*/ 2147483647 w 70"/>
                <a:gd name="T9" fmla="*/ 2147483647 h 78"/>
                <a:gd name="T10" fmla="*/ 2147483647 w 70"/>
                <a:gd name="T11" fmla="*/ 2147483647 h 78"/>
                <a:gd name="T12" fmla="*/ 2147483647 w 70"/>
                <a:gd name="T13" fmla="*/ 2147483647 h 78"/>
                <a:gd name="T14" fmla="*/ 2147483647 w 70"/>
                <a:gd name="T15" fmla="*/ 2147483647 h 78"/>
                <a:gd name="T16" fmla="*/ 2147483647 w 70"/>
                <a:gd name="T17" fmla="*/ 2147483647 h 78"/>
                <a:gd name="T18" fmla="*/ 2147483647 w 70"/>
                <a:gd name="T19" fmla="*/ 2147483647 h 78"/>
                <a:gd name="T20" fmla="*/ 2147483647 w 70"/>
                <a:gd name="T21" fmla="*/ 2147483647 h 78"/>
                <a:gd name="T22" fmla="*/ 2147483647 w 70"/>
                <a:gd name="T23" fmla="*/ 2147483647 h 78"/>
                <a:gd name="T24" fmla="*/ 2147483647 w 70"/>
                <a:gd name="T25" fmla="*/ 2147483647 h 78"/>
                <a:gd name="T26" fmla="*/ 2147483647 w 70"/>
                <a:gd name="T27" fmla="*/ 0 h 78"/>
                <a:gd name="T28" fmla="*/ 2147483647 w 70"/>
                <a:gd name="T29" fmla="*/ 0 h 78"/>
                <a:gd name="T30" fmla="*/ 2147483647 w 70"/>
                <a:gd name="T31" fmla="*/ 2147483647 h 78"/>
                <a:gd name="T32" fmla="*/ 2147483647 w 70"/>
                <a:gd name="T33" fmla="*/ 2147483647 h 78"/>
                <a:gd name="T34" fmla="*/ 2147483647 w 70"/>
                <a:gd name="T35" fmla="*/ 2147483647 h 78"/>
                <a:gd name="T36" fmla="*/ 2147483647 w 70"/>
                <a:gd name="T37" fmla="*/ 2147483647 h 78"/>
                <a:gd name="T38" fmla="*/ 2147483647 w 70"/>
                <a:gd name="T39" fmla="*/ 2147483647 h 78"/>
                <a:gd name="T40" fmla="*/ 2147483647 w 70"/>
                <a:gd name="T41" fmla="*/ 2147483647 h 78"/>
                <a:gd name="T42" fmla="*/ 2147483647 w 70"/>
                <a:gd name="T43" fmla="*/ 2147483647 h 78"/>
                <a:gd name="T44" fmla="*/ 2147483647 w 70"/>
                <a:gd name="T45" fmla="*/ 2147483647 h 78"/>
                <a:gd name="T46" fmla="*/ 2147483647 w 70"/>
                <a:gd name="T47" fmla="*/ 2147483647 h 78"/>
                <a:gd name="T48" fmla="*/ 2147483647 w 70"/>
                <a:gd name="T49" fmla="*/ 2147483647 h 78"/>
                <a:gd name="T50" fmla="*/ 2147483647 w 70"/>
                <a:gd name="T51" fmla="*/ 2147483647 h 78"/>
                <a:gd name="T52" fmla="*/ 2147483647 w 70"/>
                <a:gd name="T53" fmla="*/ 2147483647 h 78"/>
                <a:gd name="T54" fmla="*/ 2147483647 w 70"/>
                <a:gd name="T55" fmla="*/ 2147483647 h 78"/>
                <a:gd name="T56" fmla="*/ 2147483647 w 70"/>
                <a:gd name="T57" fmla="*/ 2147483647 h 78"/>
                <a:gd name="T58" fmla="*/ 2147483647 w 70"/>
                <a:gd name="T59" fmla="*/ 2147483647 h 78"/>
                <a:gd name="T60" fmla="*/ 2147483647 w 70"/>
                <a:gd name="T61" fmla="*/ 2147483647 h 7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0"/>
                <a:gd name="T94" fmla="*/ 0 h 78"/>
                <a:gd name="T95" fmla="*/ 70 w 70"/>
                <a:gd name="T96" fmla="*/ 78 h 7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0" h="78">
                  <a:moveTo>
                    <a:pt x="14" y="78"/>
                  </a:moveTo>
                  <a:lnTo>
                    <a:pt x="6" y="72"/>
                  </a:lnTo>
                  <a:lnTo>
                    <a:pt x="0" y="68"/>
                  </a:lnTo>
                  <a:lnTo>
                    <a:pt x="2" y="56"/>
                  </a:lnTo>
                  <a:lnTo>
                    <a:pt x="8" y="56"/>
                  </a:lnTo>
                  <a:lnTo>
                    <a:pt x="10" y="48"/>
                  </a:lnTo>
                  <a:lnTo>
                    <a:pt x="18" y="42"/>
                  </a:lnTo>
                  <a:lnTo>
                    <a:pt x="12" y="34"/>
                  </a:lnTo>
                  <a:lnTo>
                    <a:pt x="16" y="30"/>
                  </a:lnTo>
                  <a:lnTo>
                    <a:pt x="14" y="22"/>
                  </a:lnTo>
                  <a:lnTo>
                    <a:pt x="8" y="22"/>
                  </a:lnTo>
                  <a:lnTo>
                    <a:pt x="12" y="18"/>
                  </a:lnTo>
                  <a:lnTo>
                    <a:pt x="6" y="4"/>
                  </a:lnTo>
                  <a:lnTo>
                    <a:pt x="14" y="0"/>
                  </a:lnTo>
                  <a:lnTo>
                    <a:pt x="34" y="0"/>
                  </a:lnTo>
                  <a:lnTo>
                    <a:pt x="36" y="8"/>
                  </a:lnTo>
                  <a:lnTo>
                    <a:pt x="42" y="16"/>
                  </a:lnTo>
                  <a:lnTo>
                    <a:pt x="50" y="28"/>
                  </a:lnTo>
                  <a:lnTo>
                    <a:pt x="66" y="30"/>
                  </a:lnTo>
                  <a:lnTo>
                    <a:pt x="66" y="40"/>
                  </a:lnTo>
                  <a:lnTo>
                    <a:pt x="60" y="44"/>
                  </a:lnTo>
                  <a:lnTo>
                    <a:pt x="66" y="52"/>
                  </a:lnTo>
                  <a:lnTo>
                    <a:pt x="70" y="58"/>
                  </a:lnTo>
                  <a:lnTo>
                    <a:pt x="64" y="70"/>
                  </a:lnTo>
                  <a:lnTo>
                    <a:pt x="54" y="72"/>
                  </a:lnTo>
                  <a:lnTo>
                    <a:pt x="44" y="76"/>
                  </a:lnTo>
                  <a:lnTo>
                    <a:pt x="36" y="76"/>
                  </a:lnTo>
                  <a:lnTo>
                    <a:pt x="28" y="70"/>
                  </a:lnTo>
                  <a:lnTo>
                    <a:pt x="20" y="68"/>
                  </a:lnTo>
                  <a:lnTo>
                    <a:pt x="16" y="72"/>
                  </a:lnTo>
                  <a:lnTo>
                    <a:pt x="14" y="7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83" name="Freeform 99"/>
            <p:cNvSpPr>
              <a:spLocks/>
            </p:cNvSpPr>
            <p:nvPr/>
          </p:nvSpPr>
          <p:spPr bwMode="gray">
            <a:xfrm>
              <a:off x="4822825" y="3354388"/>
              <a:ext cx="47625" cy="38100"/>
            </a:xfrm>
            <a:custGeom>
              <a:avLst/>
              <a:gdLst>
                <a:gd name="T0" fmla="*/ 2147483647 w 40"/>
                <a:gd name="T1" fmla="*/ 0 h 32"/>
                <a:gd name="T2" fmla="*/ 2147483647 w 40"/>
                <a:gd name="T3" fmla="*/ 2147483647 h 32"/>
                <a:gd name="T4" fmla="*/ 2147483647 w 40"/>
                <a:gd name="T5" fmla="*/ 2147483647 h 32"/>
                <a:gd name="T6" fmla="*/ 2147483647 w 40"/>
                <a:gd name="T7" fmla="*/ 2147483647 h 32"/>
                <a:gd name="T8" fmla="*/ 2147483647 w 40"/>
                <a:gd name="T9" fmla="*/ 2147483647 h 32"/>
                <a:gd name="T10" fmla="*/ 2147483647 w 40"/>
                <a:gd name="T11" fmla="*/ 2147483647 h 32"/>
                <a:gd name="T12" fmla="*/ 2147483647 w 40"/>
                <a:gd name="T13" fmla="*/ 2147483647 h 32"/>
                <a:gd name="T14" fmla="*/ 0 w 40"/>
                <a:gd name="T15" fmla="*/ 2147483647 h 32"/>
                <a:gd name="T16" fmla="*/ 2147483647 w 40"/>
                <a:gd name="T17" fmla="*/ 2147483647 h 32"/>
                <a:gd name="T18" fmla="*/ 2147483647 w 40"/>
                <a:gd name="T19" fmla="*/ 2147483647 h 32"/>
                <a:gd name="T20" fmla="*/ 2147483647 w 40"/>
                <a:gd name="T21" fmla="*/ 2147483647 h 32"/>
                <a:gd name="T22" fmla="*/ 2147483647 w 40"/>
                <a:gd name="T23" fmla="*/ 0 h 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0"/>
                <a:gd name="T37" fmla="*/ 0 h 32"/>
                <a:gd name="T38" fmla="*/ 40 w 40"/>
                <a:gd name="T39" fmla="*/ 32 h 3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0" h="32">
                  <a:moveTo>
                    <a:pt x="30" y="0"/>
                  </a:moveTo>
                  <a:lnTo>
                    <a:pt x="32" y="8"/>
                  </a:lnTo>
                  <a:lnTo>
                    <a:pt x="38" y="14"/>
                  </a:lnTo>
                  <a:lnTo>
                    <a:pt x="40" y="20"/>
                  </a:lnTo>
                  <a:lnTo>
                    <a:pt x="32" y="26"/>
                  </a:lnTo>
                  <a:lnTo>
                    <a:pt x="20" y="28"/>
                  </a:lnTo>
                  <a:lnTo>
                    <a:pt x="6" y="32"/>
                  </a:lnTo>
                  <a:lnTo>
                    <a:pt x="0" y="20"/>
                  </a:lnTo>
                  <a:lnTo>
                    <a:pt x="2" y="6"/>
                  </a:lnTo>
                  <a:lnTo>
                    <a:pt x="10" y="6"/>
                  </a:lnTo>
                  <a:lnTo>
                    <a:pt x="20" y="2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84" name="Freeform 100"/>
            <p:cNvSpPr>
              <a:spLocks/>
            </p:cNvSpPr>
            <p:nvPr/>
          </p:nvSpPr>
          <p:spPr bwMode="gray">
            <a:xfrm>
              <a:off x="4673600" y="3455988"/>
              <a:ext cx="49213" cy="28575"/>
            </a:xfrm>
            <a:custGeom>
              <a:avLst/>
              <a:gdLst>
                <a:gd name="T0" fmla="*/ 2147483647 w 42"/>
                <a:gd name="T1" fmla="*/ 0 h 24"/>
                <a:gd name="T2" fmla="*/ 2147483647 w 42"/>
                <a:gd name="T3" fmla="*/ 0 h 24"/>
                <a:gd name="T4" fmla="*/ 2147483647 w 42"/>
                <a:gd name="T5" fmla="*/ 0 h 24"/>
                <a:gd name="T6" fmla="*/ 2147483647 w 42"/>
                <a:gd name="T7" fmla="*/ 0 h 24"/>
                <a:gd name="T8" fmla="*/ 2147483647 w 42"/>
                <a:gd name="T9" fmla="*/ 2147483647 h 24"/>
                <a:gd name="T10" fmla="*/ 2147483647 w 42"/>
                <a:gd name="T11" fmla="*/ 2147483647 h 24"/>
                <a:gd name="T12" fmla="*/ 2147483647 w 42"/>
                <a:gd name="T13" fmla="*/ 2147483647 h 24"/>
                <a:gd name="T14" fmla="*/ 2147483647 w 42"/>
                <a:gd name="T15" fmla="*/ 2147483647 h 24"/>
                <a:gd name="T16" fmla="*/ 2147483647 w 42"/>
                <a:gd name="T17" fmla="*/ 2147483647 h 24"/>
                <a:gd name="T18" fmla="*/ 2147483647 w 42"/>
                <a:gd name="T19" fmla="*/ 2147483647 h 24"/>
                <a:gd name="T20" fmla="*/ 2147483647 w 42"/>
                <a:gd name="T21" fmla="*/ 2147483647 h 24"/>
                <a:gd name="T22" fmla="*/ 0 w 42"/>
                <a:gd name="T23" fmla="*/ 2147483647 h 24"/>
                <a:gd name="T24" fmla="*/ 2147483647 w 42"/>
                <a:gd name="T25" fmla="*/ 0 h 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2"/>
                <a:gd name="T40" fmla="*/ 0 h 24"/>
                <a:gd name="T41" fmla="*/ 42 w 42"/>
                <a:gd name="T42" fmla="*/ 24 h 2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2" h="24">
                  <a:moveTo>
                    <a:pt x="2" y="0"/>
                  </a:moveTo>
                  <a:lnTo>
                    <a:pt x="16" y="0"/>
                  </a:lnTo>
                  <a:lnTo>
                    <a:pt x="26" y="0"/>
                  </a:lnTo>
                  <a:lnTo>
                    <a:pt x="42" y="0"/>
                  </a:lnTo>
                  <a:lnTo>
                    <a:pt x="42" y="4"/>
                  </a:lnTo>
                  <a:lnTo>
                    <a:pt x="36" y="10"/>
                  </a:lnTo>
                  <a:lnTo>
                    <a:pt x="38" y="18"/>
                  </a:lnTo>
                  <a:lnTo>
                    <a:pt x="34" y="24"/>
                  </a:lnTo>
                  <a:lnTo>
                    <a:pt x="26" y="16"/>
                  </a:lnTo>
                  <a:lnTo>
                    <a:pt x="16" y="16"/>
                  </a:lnTo>
                  <a:lnTo>
                    <a:pt x="10" y="10"/>
                  </a:lnTo>
                  <a:lnTo>
                    <a:pt x="0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85" name="Freeform 101"/>
            <p:cNvSpPr>
              <a:spLocks/>
            </p:cNvSpPr>
            <p:nvPr/>
          </p:nvSpPr>
          <p:spPr bwMode="gray">
            <a:xfrm>
              <a:off x="4943475" y="3211513"/>
              <a:ext cx="61913" cy="73025"/>
            </a:xfrm>
            <a:custGeom>
              <a:avLst/>
              <a:gdLst>
                <a:gd name="T0" fmla="*/ 2147483647 w 52"/>
                <a:gd name="T1" fmla="*/ 2147483647 h 60"/>
                <a:gd name="T2" fmla="*/ 2147483647 w 52"/>
                <a:gd name="T3" fmla="*/ 2147483647 h 60"/>
                <a:gd name="T4" fmla="*/ 2147483647 w 52"/>
                <a:gd name="T5" fmla="*/ 2147483647 h 60"/>
                <a:gd name="T6" fmla="*/ 2147483647 w 52"/>
                <a:gd name="T7" fmla="*/ 2147483647 h 60"/>
                <a:gd name="T8" fmla="*/ 2147483647 w 52"/>
                <a:gd name="T9" fmla="*/ 2147483647 h 60"/>
                <a:gd name="T10" fmla="*/ 2147483647 w 52"/>
                <a:gd name="T11" fmla="*/ 2147483647 h 60"/>
                <a:gd name="T12" fmla="*/ 2147483647 w 52"/>
                <a:gd name="T13" fmla="*/ 2147483647 h 60"/>
                <a:gd name="T14" fmla="*/ 0 w 52"/>
                <a:gd name="T15" fmla="*/ 2147483647 h 60"/>
                <a:gd name="T16" fmla="*/ 2147483647 w 52"/>
                <a:gd name="T17" fmla="*/ 0 h 60"/>
                <a:gd name="T18" fmla="*/ 2147483647 w 52"/>
                <a:gd name="T19" fmla="*/ 2147483647 h 60"/>
                <a:gd name="T20" fmla="*/ 2147483647 w 52"/>
                <a:gd name="T21" fmla="*/ 2147483647 h 60"/>
                <a:gd name="T22" fmla="*/ 2147483647 w 52"/>
                <a:gd name="T23" fmla="*/ 2147483647 h 60"/>
                <a:gd name="T24" fmla="*/ 2147483647 w 52"/>
                <a:gd name="T25" fmla="*/ 2147483647 h 60"/>
                <a:gd name="T26" fmla="*/ 2147483647 w 52"/>
                <a:gd name="T27" fmla="*/ 2147483647 h 60"/>
                <a:gd name="T28" fmla="*/ 2147483647 w 52"/>
                <a:gd name="T29" fmla="*/ 2147483647 h 60"/>
                <a:gd name="T30" fmla="*/ 2147483647 w 52"/>
                <a:gd name="T31" fmla="*/ 2147483647 h 60"/>
                <a:gd name="T32" fmla="*/ 2147483647 w 52"/>
                <a:gd name="T33" fmla="*/ 2147483647 h 60"/>
                <a:gd name="T34" fmla="*/ 2147483647 w 52"/>
                <a:gd name="T35" fmla="*/ 2147483647 h 60"/>
                <a:gd name="T36" fmla="*/ 2147483647 w 52"/>
                <a:gd name="T37" fmla="*/ 2147483647 h 60"/>
                <a:gd name="T38" fmla="*/ 2147483647 w 52"/>
                <a:gd name="T39" fmla="*/ 2147483647 h 60"/>
                <a:gd name="T40" fmla="*/ 2147483647 w 52"/>
                <a:gd name="T41" fmla="*/ 2147483647 h 6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2"/>
                <a:gd name="T64" fmla="*/ 0 h 60"/>
                <a:gd name="T65" fmla="*/ 52 w 52"/>
                <a:gd name="T66" fmla="*/ 60 h 60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2" h="60">
                  <a:moveTo>
                    <a:pt x="20" y="60"/>
                  </a:moveTo>
                  <a:lnTo>
                    <a:pt x="16" y="48"/>
                  </a:lnTo>
                  <a:lnTo>
                    <a:pt x="20" y="36"/>
                  </a:lnTo>
                  <a:lnTo>
                    <a:pt x="18" y="32"/>
                  </a:lnTo>
                  <a:lnTo>
                    <a:pt x="14" y="26"/>
                  </a:lnTo>
                  <a:lnTo>
                    <a:pt x="4" y="18"/>
                  </a:lnTo>
                  <a:lnTo>
                    <a:pt x="2" y="10"/>
                  </a:lnTo>
                  <a:lnTo>
                    <a:pt x="0" y="4"/>
                  </a:lnTo>
                  <a:lnTo>
                    <a:pt x="4" y="0"/>
                  </a:lnTo>
                  <a:lnTo>
                    <a:pt x="18" y="2"/>
                  </a:lnTo>
                  <a:lnTo>
                    <a:pt x="30" y="6"/>
                  </a:lnTo>
                  <a:lnTo>
                    <a:pt x="34" y="14"/>
                  </a:lnTo>
                  <a:lnTo>
                    <a:pt x="38" y="22"/>
                  </a:lnTo>
                  <a:lnTo>
                    <a:pt x="48" y="28"/>
                  </a:lnTo>
                  <a:lnTo>
                    <a:pt x="52" y="36"/>
                  </a:lnTo>
                  <a:lnTo>
                    <a:pt x="48" y="42"/>
                  </a:lnTo>
                  <a:lnTo>
                    <a:pt x="40" y="42"/>
                  </a:lnTo>
                  <a:lnTo>
                    <a:pt x="30" y="40"/>
                  </a:lnTo>
                  <a:lnTo>
                    <a:pt x="30" y="48"/>
                  </a:lnTo>
                  <a:lnTo>
                    <a:pt x="24" y="56"/>
                  </a:lnTo>
                  <a:lnTo>
                    <a:pt x="20" y="6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86" name="Freeform 102"/>
            <p:cNvSpPr>
              <a:spLocks/>
            </p:cNvSpPr>
            <p:nvPr/>
          </p:nvSpPr>
          <p:spPr bwMode="gray">
            <a:xfrm>
              <a:off x="4822825" y="3216275"/>
              <a:ext cx="168275" cy="109538"/>
            </a:xfrm>
            <a:custGeom>
              <a:avLst/>
              <a:gdLst>
                <a:gd name="T0" fmla="*/ 2147483647 w 142"/>
                <a:gd name="T1" fmla="*/ 2147483647 h 90"/>
                <a:gd name="T2" fmla="*/ 2147483647 w 142"/>
                <a:gd name="T3" fmla="*/ 2147483647 h 90"/>
                <a:gd name="T4" fmla="*/ 2147483647 w 142"/>
                <a:gd name="T5" fmla="*/ 2147483647 h 90"/>
                <a:gd name="T6" fmla="*/ 2147483647 w 142"/>
                <a:gd name="T7" fmla="*/ 2147483647 h 90"/>
                <a:gd name="T8" fmla="*/ 2147483647 w 142"/>
                <a:gd name="T9" fmla="*/ 2147483647 h 90"/>
                <a:gd name="T10" fmla="*/ 2147483647 w 142"/>
                <a:gd name="T11" fmla="*/ 0 h 90"/>
                <a:gd name="T12" fmla="*/ 2147483647 w 142"/>
                <a:gd name="T13" fmla="*/ 0 h 90"/>
                <a:gd name="T14" fmla="*/ 2147483647 w 142"/>
                <a:gd name="T15" fmla="*/ 2147483647 h 90"/>
                <a:gd name="T16" fmla="*/ 2147483647 w 142"/>
                <a:gd name="T17" fmla="*/ 2147483647 h 90"/>
                <a:gd name="T18" fmla="*/ 2147483647 w 142"/>
                <a:gd name="T19" fmla="*/ 2147483647 h 90"/>
                <a:gd name="T20" fmla="*/ 2147483647 w 142"/>
                <a:gd name="T21" fmla="*/ 2147483647 h 90"/>
                <a:gd name="T22" fmla="*/ 2147483647 w 142"/>
                <a:gd name="T23" fmla="*/ 2147483647 h 90"/>
                <a:gd name="T24" fmla="*/ 2147483647 w 142"/>
                <a:gd name="T25" fmla="*/ 2147483647 h 90"/>
                <a:gd name="T26" fmla="*/ 2147483647 w 142"/>
                <a:gd name="T27" fmla="*/ 2147483647 h 90"/>
                <a:gd name="T28" fmla="*/ 2147483647 w 142"/>
                <a:gd name="T29" fmla="*/ 2147483647 h 90"/>
                <a:gd name="T30" fmla="*/ 2147483647 w 142"/>
                <a:gd name="T31" fmla="*/ 2147483647 h 90"/>
                <a:gd name="T32" fmla="*/ 2147483647 w 142"/>
                <a:gd name="T33" fmla="*/ 2147483647 h 90"/>
                <a:gd name="T34" fmla="*/ 2147483647 w 142"/>
                <a:gd name="T35" fmla="*/ 2147483647 h 90"/>
                <a:gd name="T36" fmla="*/ 2147483647 w 142"/>
                <a:gd name="T37" fmla="*/ 2147483647 h 90"/>
                <a:gd name="T38" fmla="*/ 2147483647 w 142"/>
                <a:gd name="T39" fmla="*/ 2147483647 h 90"/>
                <a:gd name="T40" fmla="*/ 2147483647 w 142"/>
                <a:gd name="T41" fmla="*/ 2147483647 h 90"/>
                <a:gd name="T42" fmla="*/ 2147483647 w 142"/>
                <a:gd name="T43" fmla="*/ 2147483647 h 90"/>
                <a:gd name="T44" fmla="*/ 2147483647 w 142"/>
                <a:gd name="T45" fmla="*/ 2147483647 h 90"/>
                <a:gd name="T46" fmla="*/ 2147483647 w 142"/>
                <a:gd name="T47" fmla="*/ 2147483647 h 90"/>
                <a:gd name="T48" fmla="*/ 2147483647 w 142"/>
                <a:gd name="T49" fmla="*/ 2147483647 h 90"/>
                <a:gd name="T50" fmla="*/ 2147483647 w 142"/>
                <a:gd name="T51" fmla="*/ 2147483647 h 90"/>
                <a:gd name="T52" fmla="*/ 2147483647 w 142"/>
                <a:gd name="T53" fmla="*/ 2147483647 h 90"/>
                <a:gd name="T54" fmla="*/ 2147483647 w 142"/>
                <a:gd name="T55" fmla="*/ 2147483647 h 90"/>
                <a:gd name="T56" fmla="*/ 2147483647 w 142"/>
                <a:gd name="T57" fmla="*/ 2147483647 h 90"/>
                <a:gd name="T58" fmla="*/ 2147483647 w 142"/>
                <a:gd name="T59" fmla="*/ 2147483647 h 90"/>
                <a:gd name="T60" fmla="*/ 2147483647 w 142"/>
                <a:gd name="T61" fmla="*/ 2147483647 h 90"/>
                <a:gd name="T62" fmla="*/ 2147483647 w 142"/>
                <a:gd name="T63" fmla="*/ 2147483647 h 90"/>
                <a:gd name="T64" fmla="*/ 0 w 142"/>
                <a:gd name="T65" fmla="*/ 2147483647 h 90"/>
                <a:gd name="T66" fmla="*/ 2147483647 w 142"/>
                <a:gd name="T67" fmla="*/ 2147483647 h 90"/>
                <a:gd name="T68" fmla="*/ 2147483647 w 142"/>
                <a:gd name="T69" fmla="*/ 2147483647 h 90"/>
                <a:gd name="T70" fmla="*/ 2147483647 w 142"/>
                <a:gd name="T71" fmla="*/ 2147483647 h 9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42"/>
                <a:gd name="T109" fmla="*/ 0 h 90"/>
                <a:gd name="T110" fmla="*/ 142 w 142"/>
                <a:gd name="T111" fmla="*/ 90 h 9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42" h="90">
                  <a:moveTo>
                    <a:pt x="32" y="10"/>
                  </a:moveTo>
                  <a:lnTo>
                    <a:pt x="46" y="4"/>
                  </a:lnTo>
                  <a:lnTo>
                    <a:pt x="54" y="2"/>
                  </a:lnTo>
                  <a:lnTo>
                    <a:pt x="66" y="8"/>
                  </a:lnTo>
                  <a:lnTo>
                    <a:pt x="86" y="8"/>
                  </a:lnTo>
                  <a:lnTo>
                    <a:pt x="90" y="0"/>
                  </a:lnTo>
                  <a:lnTo>
                    <a:pt x="102" y="0"/>
                  </a:lnTo>
                  <a:lnTo>
                    <a:pt x="106" y="10"/>
                  </a:lnTo>
                  <a:lnTo>
                    <a:pt x="108" y="16"/>
                  </a:lnTo>
                  <a:lnTo>
                    <a:pt x="120" y="28"/>
                  </a:lnTo>
                  <a:lnTo>
                    <a:pt x="122" y="32"/>
                  </a:lnTo>
                  <a:lnTo>
                    <a:pt x="118" y="42"/>
                  </a:lnTo>
                  <a:lnTo>
                    <a:pt x="120" y="52"/>
                  </a:lnTo>
                  <a:lnTo>
                    <a:pt x="122" y="58"/>
                  </a:lnTo>
                  <a:lnTo>
                    <a:pt x="132" y="60"/>
                  </a:lnTo>
                  <a:lnTo>
                    <a:pt x="136" y="56"/>
                  </a:lnTo>
                  <a:lnTo>
                    <a:pt x="142" y="62"/>
                  </a:lnTo>
                  <a:lnTo>
                    <a:pt x="138" y="68"/>
                  </a:lnTo>
                  <a:lnTo>
                    <a:pt x="130" y="72"/>
                  </a:lnTo>
                  <a:lnTo>
                    <a:pt x="126" y="78"/>
                  </a:lnTo>
                  <a:lnTo>
                    <a:pt x="124" y="90"/>
                  </a:lnTo>
                  <a:lnTo>
                    <a:pt x="118" y="90"/>
                  </a:lnTo>
                  <a:lnTo>
                    <a:pt x="106" y="84"/>
                  </a:lnTo>
                  <a:lnTo>
                    <a:pt x="92" y="80"/>
                  </a:lnTo>
                  <a:lnTo>
                    <a:pt x="84" y="88"/>
                  </a:lnTo>
                  <a:lnTo>
                    <a:pt x="72" y="88"/>
                  </a:lnTo>
                  <a:lnTo>
                    <a:pt x="44" y="88"/>
                  </a:lnTo>
                  <a:lnTo>
                    <a:pt x="32" y="84"/>
                  </a:lnTo>
                  <a:lnTo>
                    <a:pt x="32" y="74"/>
                  </a:lnTo>
                  <a:lnTo>
                    <a:pt x="16" y="72"/>
                  </a:lnTo>
                  <a:lnTo>
                    <a:pt x="8" y="60"/>
                  </a:lnTo>
                  <a:lnTo>
                    <a:pt x="2" y="52"/>
                  </a:lnTo>
                  <a:lnTo>
                    <a:pt x="0" y="44"/>
                  </a:lnTo>
                  <a:lnTo>
                    <a:pt x="14" y="30"/>
                  </a:lnTo>
                  <a:lnTo>
                    <a:pt x="24" y="16"/>
                  </a:lnTo>
                  <a:lnTo>
                    <a:pt x="32" y="10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87" name="Freeform 103"/>
            <p:cNvSpPr>
              <a:spLocks/>
            </p:cNvSpPr>
            <p:nvPr/>
          </p:nvSpPr>
          <p:spPr bwMode="gray">
            <a:xfrm>
              <a:off x="4926013" y="3363913"/>
              <a:ext cx="49212" cy="36512"/>
            </a:xfrm>
            <a:custGeom>
              <a:avLst/>
              <a:gdLst>
                <a:gd name="T0" fmla="*/ 0 w 42"/>
                <a:gd name="T1" fmla="*/ 2147483647 h 30"/>
                <a:gd name="T2" fmla="*/ 0 w 42"/>
                <a:gd name="T3" fmla="*/ 2147483647 h 30"/>
                <a:gd name="T4" fmla="*/ 2147483647 w 42"/>
                <a:gd name="T5" fmla="*/ 2147483647 h 30"/>
                <a:gd name="T6" fmla="*/ 2147483647 w 42"/>
                <a:gd name="T7" fmla="*/ 2147483647 h 30"/>
                <a:gd name="T8" fmla="*/ 2147483647 w 42"/>
                <a:gd name="T9" fmla="*/ 2147483647 h 30"/>
                <a:gd name="T10" fmla="*/ 2147483647 w 42"/>
                <a:gd name="T11" fmla="*/ 2147483647 h 30"/>
                <a:gd name="T12" fmla="*/ 2147483647 w 42"/>
                <a:gd name="T13" fmla="*/ 2147483647 h 30"/>
                <a:gd name="T14" fmla="*/ 2147483647 w 42"/>
                <a:gd name="T15" fmla="*/ 2147483647 h 30"/>
                <a:gd name="T16" fmla="*/ 2147483647 w 42"/>
                <a:gd name="T17" fmla="*/ 2147483647 h 30"/>
                <a:gd name="T18" fmla="*/ 2147483647 w 42"/>
                <a:gd name="T19" fmla="*/ 2147483647 h 30"/>
                <a:gd name="T20" fmla="*/ 2147483647 w 42"/>
                <a:gd name="T21" fmla="*/ 2147483647 h 30"/>
                <a:gd name="T22" fmla="*/ 2147483647 w 42"/>
                <a:gd name="T23" fmla="*/ 2147483647 h 30"/>
                <a:gd name="T24" fmla="*/ 2147483647 w 42"/>
                <a:gd name="T25" fmla="*/ 2147483647 h 30"/>
                <a:gd name="T26" fmla="*/ 2147483647 w 42"/>
                <a:gd name="T27" fmla="*/ 0 h 30"/>
                <a:gd name="T28" fmla="*/ 2147483647 w 42"/>
                <a:gd name="T29" fmla="*/ 2147483647 h 30"/>
                <a:gd name="T30" fmla="*/ 0 w 42"/>
                <a:gd name="T31" fmla="*/ 2147483647 h 30"/>
                <a:gd name="T32" fmla="*/ 0 w 42"/>
                <a:gd name="T33" fmla="*/ 2147483647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2"/>
                <a:gd name="T52" fmla="*/ 0 h 30"/>
                <a:gd name="T53" fmla="*/ 42 w 42"/>
                <a:gd name="T54" fmla="*/ 30 h 3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2" h="30">
                  <a:moveTo>
                    <a:pt x="0" y="14"/>
                  </a:moveTo>
                  <a:lnTo>
                    <a:pt x="0" y="20"/>
                  </a:lnTo>
                  <a:lnTo>
                    <a:pt x="2" y="26"/>
                  </a:lnTo>
                  <a:lnTo>
                    <a:pt x="10" y="26"/>
                  </a:lnTo>
                  <a:lnTo>
                    <a:pt x="4" y="30"/>
                  </a:lnTo>
                  <a:lnTo>
                    <a:pt x="14" y="28"/>
                  </a:lnTo>
                  <a:lnTo>
                    <a:pt x="26" y="20"/>
                  </a:lnTo>
                  <a:lnTo>
                    <a:pt x="34" y="16"/>
                  </a:lnTo>
                  <a:lnTo>
                    <a:pt x="42" y="18"/>
                  </a:lnTo>
                  <a:lnTo>
                    <a:pt x="38" y="14"/>
                  </a:lnTo>
                  <a:lnTo>
                    <a:pt x="32" y="10"/>
                  </a:lnTo>
                  <a:lnTo>
                    <a:pt x="30" y="4"/>
                  </a:lnTo>
                  <a:lnTo>
                    <a:pt x="22" y="4"/>
                  </a:lnTo>
                  <a:lnTo>
                    <a:pt x="12" y="0"/>
                  </a:lnTo>
                  <a:lnTo>
                    <a:pt x="4" y="4"/>
                  </a:lnTo>
                  <a:lnTo>
                    <a:pt x="0" y="1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88" name="Freeform 104"/>
            <p:cNvSpPr>
              <a:spLocks/>
            </p:cNvSpPr>
            <p:nvPr/>
          </p:nvSpPr>
          <p:spPr bwMode="gray">
            <a:xfrm>
              <a:off x="4878388" y="3511550"/>
              <a:ext cx="50800" cy="12700"/>
            </a:xfrm>
            <a:custGeom>
              <a:avLst/>
              <a:gdLst>
                <a:gd name="T0" fmla="*/ 2147483647 w 44"/>
                <a:gd name="T1" fmla="*/ 0 h 10"/>
                <a:gd name="T2" fmla="*/ 2147483647 w 44"/>
                <a:gd name="T3" fmla="*/ 0 h 10"/>
                <a:gd name="T4" fmla="*/ 2147483647 w 44"/>
                <a:gd name="T5" fmla="*/ 2147483647 h 10"/>
                <a:gd name="T6" fmla="*/ 2147483647 w 44"/>
                <a:gd name="T7" fmla="*/ 2147483647 h 10"/>
                <a:gd name="T8" fmla="*/ 2147483647 w 44"/>
                <a:gd name="T9" fmla="*/ 2147483647 h 10"/>
                <a:gd name="T10" fmla="*/ 2147483647 w 44"/>
                <a:gd name="T11" fmla="*/ 2147483647 h 10"/>
                <a:gd name="T12" fmla="*/ 2147483647 w 44"/>
                <a:gd name="T13" fmla="*/ 2147483647 h 10"/>
                <a:gd name="T14" fmla="*/ 2147483647 w 44"/>
                <a:gd name="T15" fmla="*/ 2147483647 h 10"/>
                <a:gd name="T16" fmla="*/ 2147483647 w 44"/>
                <a:gd name="T17" fmla="*/ 2147483647 h 10"/>
                <a:gd name="T18" fmla="*/ 2147483647 w 44"/>
                <a:gd name="T19" fmla="*/ 2147483647 h 10"/>
                <a:gd name="T20" fmla="*/ 2147483647 w 44"/>
                <a:gd name="T21" fmla="*/ 2147483647 h 10"/>
                <a:gd name="T22" fmla="*/ 2147483647 w 44"/>
                <a:gd name="T23" fmla="*/ 2147483647 h 10"/>
                <a:gd name="T24" fmla="*/ 2147483647 w 44"/>
                <a:gd name="T25" fmla="*/ 2147483647 h 10"/>
                <a:gd name="T26" fmla="*/ 2147483647 w 44"/>
                <a:gd name="T27" fmla="*/ 2147483647 h 10"/>
                <a:gd name="T28" fmla="*/ 0 w 44"/>
                <a:gd name="T29" fmla="*/ 2147483647 h 10"/>
                <a:gd name="T30" fmla="*/ 2147483647 w 44"/>
                <a:gd name="T31" fmla="*/ 0 h 1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"/>
                <a:gd name="T49" fmla="*/ 0 h 10"/>
                <a:gd name="T50" fmla="*/ 44 w 44"/>
                <a:gd name="T51" fmla="*/ 10 h 10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" h="10">
                  <a:moveTo>
                    <a:pt x="4" y="0"/>
                  </a:moveTo>
                  <a:lnTo>
                    <a:pt x="10" y="0"/>
                  </a:lnTo>
                  <a:lnTo>
                    <a:pt x="16" y="2"/>
                  </a:lnTo>
                  <a:lnTo>
                    <a:pt x="22" y="2"/>
                  </a:lnTo>
                  <a:lnTo>
                    <a:pt x="30" y="2"/>
                  </a:lnTo>
                  <a:lnTo>
                    <a:pt x="34" y="2"/>
                  </a:lnTo>
                  <a:lnTo>
                    <a:pt x="42" y="4"/>
                  </a:lnTo>
                  <a:lnTo>
                    <a:pt x="44" y="8"/>
                  </a:lnTo>
                  <a:lnTo>
                    <a:pt x="40" y="10"/>
                  </a:lnTo>
                  <a:lnTo>
                    <a:pt x="32" y="8"/>
                  </a:lnTo>
                  <a:lnTo>
                    <a:pt x="24" y="8"/>
                  </a:lnTo>
                  <a:lnTo>
                    <a:pt x="18" y="10"/>
                  </a:lnTo>
                  <a:lnTo>
                    <a:pt x="16" y="6"/>
                  </a:lnTo>
                  <a:lnTo>
                    <a:pt x="8" y="6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89" name="Freeform 105"/>
            <p:cNvSpPr>
              <a:spLocks/>
            </p:cNvSpPr>
            <p:nvPr/>
          </p:nvSpPr>
          <p:spPr bwMode="gray">
            <a:xfrm>
              <a:off x="4813300" y="3373438"/>
              <a:ext cx="112713" cy="119062"/>
            </a:xfrm>
            <a:custGeom>
              <a:avLst/>
              <a:gdLst>
                <a:gd name="T0" fmla="*/ 2147483647 w 94"/>
                <a:gd name="T1" fmla="*/ 2147483647 h 98"/>
                <a:gd name="T2" fmla="*/ 2147483647 w 94"/>
                <a:gd name="T3" fmla="*/ 2147483647 h 98"/>
                <a:gd name="T4" fmla="*/ 2147483647 w 94"/>
                <a:gd name="T5" fmla="*/ 2147483647 h 98"/>
                <a:gd name="T6" fmla="*/ 2147483647 w 94"/>
                <a:gd name="T7" fmla="*/ 2147483647 h 98"/>
                <a:gd name="T8" fmla="*/ 2147483647 w 94"/>
                <a:gd name="T9" fmla="*/ 2147483647 h 98"/>
                <a:gd name="T10" fmla="*/ 2147483647 w 94"/>
                <a:gd name="T11" fmla="*/ 2147483647 h 98"/>
                <a:gd name="T12" fmla="*/ 2147483647 w 94"/>
                <a:gd name="T13" fmla="*/ 2147483647 h 98"/>
                <a:gd name="T14" fmla="*/ 2147483647 w 94"/>
                <a:gd name="T15" fmla="*/ 2147483647 h 98"/>
                <a:gd name="T16" fmla="*/ 2147483647 w 94"/>
                <a:gd name="T17" fmla="*/ 2147483647 h 98"/>
                <a:gd name="T18" fmla="*/ 2147483647 w 94"/>
                <a:gd name="T19" fmla="*/ 2147483647 h 98"/>
                <a:gd name="T20" fmla="*/ 2147483647 w 94"/>
                <a:gd name="T21" fmla="*/ 2147483647 h 98"/>
                <a:gd name="T22" fmla="*/ 2147483647 w 94"/>
                <a:gd name="T23" fmla="*/ 2147483647 h 98"/>
                <a:gd name="T24" fmla="*/ 2147483647 w 94"/>
                <a:gd name="T25" fmla="*/ 2147483647 h 98"/>
                <a:gd name="T26" fmla="*/ 2147483647 w 94"/>
                <a:gd name="T27" fmla="*/ 2147483647 h 98"/>
                <a:gd name="T28" fmla="*/ 2147483647 w 94"/>
                <a:gd name="T29" fmla="*/ 2147483647 h 98"/>
                <a:gd name="T30" fmla="*/ 2147483647 w 94"/>
                <a:gd name="T31" fmla="*/ 2147483647 h 98"/>
                <a:gd name="T32" fmla="*/ 2147483647 w 94"/>
                <a:gd name="T33" fmla="*/ 2147483647 h 98"/>
                <a:gd name="T34" fmla="*/ 2147483647 w 94"/>
                <a:gd name="T35" fmla="*/ 2147483647 h 98"/>
                <a:gd name="T36" fmla="*/ 2147483647 w 94"/>
                <a:gd name="T37" fmla="*/ 2147483647 h 98"/>
                <a:gd name="T38" fmla="*/ 2147483647 w 94"/>
                <a:gd name="T39" fmla="*/ 2147483647 h 98"/>
                <a:gd name="T40" fmla="*/ 2147483647 w 94"/>
                <a:gd name="T41" fmla="*/ 2147483647 h 98"/>
                <a:gd name="T42" fmla="*/ 2147483647 w 94"/>
                <a:gd name="T43" fmla="*/ 2147483647 h 98"/>
                <a:gd name="T44" fmla="*/ 2147483647 w 94"/>
                <a:gd name="T45" fmla="*/ 2147483647 h 98"/>
                <a:gd name="T46" fmla="*/ 2147483647 w 94"/>
                <a:gd name="T47" fmla="*/ 2147483647 h 98"/>
                <a:gd name="T48" fmla="*/ 2147483647 w 94"/>
                <a:gd name="T49" fmla="*/ 2147483647 h 98"/>
                <a:gd name="T50" fmla="*/ 2147483647 w 94"/>
                <a:gd name="T51" fmla="*/ 2147483647 h 98"/>
                <a:gd name="T52" fmla="*/ 2147483647 w 94"/>
                <a:gd name="T53" fmla="*/ 2147483647 h 98"/>
                <a:gd name="T54" fmla="*/ 2147483647 w 94"/>
                <a:gd name="T55" fmla="*/ 0 h 98"/>
                <a:gd name="T56" fmla="*/ 2147483647 w 94"/>
                <a:gd name="T57" fmla="*/ 2147483647 h 98"/>
                <a:gd name="T58" fmla="*/ 2147483647 w 94"/>
                <a:gd name="T59" fmla="*/ 2147483647 h 98"/>
                <a:gd name="T60" fmla="*/ 2147483647 w 94"/>
                <a:gd name="T61" fmla="*/ 2147483647 h 98"/>
                <a:gd name="T62" fmla="*/ 2147483647 w 94"/>
                <a:gd name="T63" fmla="*/ 2147483647 h 98"/>
                <a:gd name="T64" fmla="*/ 0 w 94"/>
                <a:gd name="T65" fmla="*/ 2147483647 h 98"/>
                <a:gd name="T66" fmla="*/ 2147483647 w 94"/>
                <a:gd name="T67" fmla="*/ 2147483647 h 98"/>
                <a:gd name="T68" fmla="*/ 2147483647 w 94"/>
                <a:gd name="T69" fmla="*/ 2147483647 h 98"/>
                <a:gd name="T70" fmla="*/ 2147483647 w 94"/>
                <a:gd name="T71" fmla="*/ 2147483647 h 98"/>
                <a:gd name="T72" fmla="*/ 2147483647 w 94"/>
                <a:gd name="T73" fmla="*/ 2147483647 h 98"/>
                <a:gd name="T74" fmla="*/ 2147483647 w 94"/>
                <a:gd name="T75" fmla="*/ 2147483647 h 9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4"/>
                <a:gd name="T115" fmla="*/ 0 h 98"/>
                <a:gd name="T116" fmla="*/ 94 w 94"/>
                <a:gd name="T117" fmla="*/ 98 h 9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4" h="98">
                  <a:moveTo>
                    <a:pt x="42" y="62"/>
                  </a:moveTo>
                  <a:lnTo>
                    <a:pt x="46" y="64"/>
                  </a:lnTo>
                  <a:lnTo>
                    <a:pt x="44" y="68"/>
                  </a:lnTo>
                  <a:lnTo>
                    <a:pt x="38" y="68"/>
                  </a:lnTo>
                  <a:lnTo>
                    <a:pt x="30" y="66"/>
                  </a:lnTo>
                  <a:lnTo>
                    <a:pt x="24" y="66"/>
                  </a:lnTo>
                  <a:lnTo>
                    <a:pt x="20" y="70"/>
                  </a:lnTo>
                  <a:lnTo>
                    <a:pt x="20" y="78"/>
                  </a:lnTo>
                  <a:lnTo>
                    <a:pt x="26" y="82"/>
                  </a:lnTo>
                  <a:lnTo>
                    <a:pt x="26" y="88"/>
                  </a:lnTo>
                  <a:lnTo>
                    <a:pt x="28" y="92"/>
                  </a:lnTo>
                  <a:lnTo>
                    <a:pt x="32" y="86"/>
                  </a:lnTo>
                  <a:lnTo>
                    <a:pt x="34" y="90"/>
                  </a:lnTo>
                  <a:lnTo>
                    <a:pt x="36" y="98"/>
                  </a:lnTo>
                  <a:lnTo>
                    <a:pt x="42" y="96"/>
                  </a:lnTo>
                  <a:lnTo>
                    <a:pt x="42" y="92"/>
                  </a:lnTo>
                  <a:lnTo>
                    <a:pt x="46" y="98"/>
                  </a:lnTo>
                  <a:lnTo>
                    <a:pt x="48" y="94"/>
                  </a:lnTo>
                  <a:lnTo>
                    <a:pt x="48" y="90"/>
                  </a:lnTo>
                  <a:lnTo>
                    <a:pt x="44" y="86"/>
                  </a:lnTo>
                  <a:lnTo>
                    <a:pt x="40" y="80"/>
                  </a:lnTo>
                  <a:lnTo>
                    <a:pt x="42" y="76"/>
                  </a:lnTo>
                  <a:lnTo>
                    <a:pt x="46" y="76"/>
                  </a:lnTo>
                  <a:lnTo>
                    <a:pt x="52" y="74"/>
                  </a:lnTo>
                  <a:lnTo>
                    <a:pt x="48" y="7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8" y="70"/>
                  </a:lnTo>
                  <a:lnTo>
                    <a:pt x="64" y="66"/>
                  </a:lnTo>
                  <a:lnTo>
                    <a:pt x="62" y="60"/>
                  </a:lnTo>
                  <a:lnTo>
                    <a:pt x="58" y="56"/>
                  </a:lnTo>
                  <a:lnTo>
                    <a:pt x="50" y="54"/>
                  </a:lnTo>
                  <a:lnTo>
                    <a:pt x="46" y="5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38" y="32"/>
                  </a:lnTo>
                  <a:lnTo>
                    <a:pt x="36" y="28"/>
                  </a:lnTo>
                  <a:lnTo>
                    <a:pt x="38" y="22"/>
                  </a:lnTo>
                  <a:lnTo>
                    <a:pt x="44" y="20"/>
                  </a:lnTo>
                  <a:lnTo>
                    <a:pt x="48" y="26"/>
                  </a:lnTo>
                  <a:lnTo>
                    <a:pt x="56" y="28"/>
                  </a:lnTo>
                  <a:lnTo>
                    <a:pt x="58" y="26"/>
                  </a:lnTo>
                  <a:lnTo>
                    <a:pt x="60" y="22"/>
                  </a:lnTo>
                  <a:lnTo>
                    <a:pt x="58" y="16"/>
                  </a:lnTo>
                  <a:lnTo>
                    <a:pt x="64" y="16"/>
                  </a:lnTo>
                  <a:lnTo>
                    <a:pt x="70" y="14"/>
                  </a:lnTo>
                  <a:lnTo>
                    <a:pt x="78" y="14"/>
                  </a:lnTo>
                  <a:lnTo>
                    <a:pt x="84" y="14"/>
                  </a:lnTo>
                  <a:lnTo>
                    <a:pt x="90" y="14"/>
                  </a:lnTo>
                  <a:lnTo>
                    <a:pt x="94" y="12"/>
                  </a:lnTo>
                  <a:lnTo>
                    <a:pt x="94" y="6"/>
                  </a:lnTo>
                  <a:lnTo>
                    <a:pt x="86" y="6"/>
                  </a:lnTo>
                  <a:lnTo>
                    <a:pt x="74" y="6"/>
                  </a:lnTo>
                  <a:lnTo>
                    <a:pt x="70" y="4"/>
                  </a:lnTo>
                  <a:lnTo>
                    <a:pt x="64" y="2"/>
                  </a:lnTo>
                  <a:lnTo>
                    <a:pt x="58" y="0"/>
                  </a:lnTo>
                  <a:lnTo>
                    <a:pt x="48" y="4"/>
                  </a:lnTo>
                  <a:lnTo>
                    <a:pt x="40" y="10"/>
                  </a:lnTo>
                  <a:lnTo>
                    <a:pt x="34" y="10"/>
                  </a:lnTo>
                  <a:lnTo>
                    <a:pt x="26" y="12"/>
                  </a:lnTo>
                  <a:lnTo>
                    <a:pt x="18" y="14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0" y="26"/>
                  </a:lnTo>
                  <a:lnTo>
                    <a:pt x="2" y="34"/>
                  </a:lnTo>
                  <a:lnTo>
                    <a:pt x="0" y="38"/>
                  </a:lnTo>
                  <a:lnTo>
                    <a:pt x="4" y="42"/>
                  </a:lnTo>
                  <a:lnTo>
                    <a:pt x="10" y="46"/>
                  </a:lnTo>
                  <a:lnTo>
                    <a:pt x="16" y="46"/>
                  </a:lnTo>
                  <a:lnTo>
                    <a:pt x="20" y="48"/>
                  </a:lnTo>
                  <a:lnTo>
                    <a:pt x="14" y="52"/>
                  </a:lnTo>
                  <a:lnTo>
                    <a:pt x="14" y="58"/>
                  </a:lnTo>
                  <a:lnTo>
                    <a:pt x="18" y="60"/>
                  </a:lnTo>
                  <a:lnTo>
                    <a:pt x="26" y="58"/>
                  </a:lnTo>
                  <a:lnTo>
                    <a:pt x="32" y="60"/>
                  </a:lnTo>
                  <a:lnTo>
                    <a:pt x="42" y="62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90" name="Freeform 106"/>
            <p:cNvSpPr>
              <a:spLocks/>
            </p:cNvSpPr>
            <p:nvPr/>
          </p:nvSpPr>
          <p:spPr bwMode="gray">
            <a:xfrm>
              <a:off x="4799013" y="3351213"/>
              <a:ext cx="30162" cy="68262"/>
            </a:xfrm>
            <a:custGeom>
              <a:avLst/>
              <a:gdLst>
                <a:gd name="T0" fmla="*/ 0 w 26"/>
                <a:gd name="T1" fmla="*/ 2147483647 h 56"/>
                <a:gd name="T2" fmla="*/ 2147483647 w 26"/>
                <a:gd name="T3" fmla="*/ 2147483647 h 56"/>
                <a:gd name="T4" fmla="*/ 2147483647 w 26"/>
                <a:gd name="T5" fmla="*/ 0 h 56"/>
                <a:gd name="T6" fmla="*/ 2147483647 w 26"/>
                <a:gd name="T7" fmla="*/ 2147483647 h 56"/>
                <a:gd name="T8" fmla="*/ 2147483647 w 26"/>
                <a:gd name="T9" fmla="*/ 2147483647 h 56"/>
                <a:gd name="T10" fmla="*/ 2147483647 w 26"/>
                <a:gd name="T11" fmla="*/ 2147483647 h 56"/>
                <a:gd name="T12" fmla="*/ 2147483647 w 26"/>
                <a:gd name="T13" fmla="*/ 2147483647 h 56"/>
                <a:gd name="T14" fmla="*/ 2147483647 w 26"/>
                <a:gd name="T15" fmla="*/ 2147483647 h 56"/>
                <a:gd name="T16" fmla="*/ 2147483647 w 26"/>
                <a:gd name="T17" fmla="*/ 2147483647 h 56"/>
                <a:gd name="T18" fmla="*/ 2147483647 w 26"/>
                <a:gd name="T19" fmla="*/ 2147483647 h 56"/>
                <a:gd name="T20" fmla="*/ 2147483647 w 26"/>
                <a:gd name="T21" fmla="*/ 2147483647 h 56"/>
                <a:gd name="T22" fmla="*/ 2147483647 w 26"/>
                <a:gd name="T23" fmla="*/ 2147483647 h 56"/>
                <a:gd name="T24" fmla="*/ 2147483647 w 26"/>
                <a:gd name="T25" fmla="*/ 2147483647 h 56"/>
                <a:gd name="T26" fmla="*/ 2147483647 w 26"/>
                <a:gd name="T27" fmla="*/ 2147483647 h 56"/>
                <a:gd name="T28" fmla="*/ 2147483647 w 26"/>
                <a:gd name="T29" fmla="*/ 2147483647 h 56"/>
                <a:gd name="T30" fmla="*/ 0 w 26"/>
                <a:gd name="T31" fmla="*/ 2147483647 h 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6"/>
                <a:gd name="T49" fmla="*/ 0 h 56"/>
                <a:gd name="T50" fmla="*/ 26 w 26"/>
                <a:gd name="T51" fmla="*/ 56 h 5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6" h="56">
                  <a:moveTo>
                    <a:pt x="0" y="12"/>
                  </a:moveTo>
                  <a:lnTo>
                    <a:pt x="2" y="4"/>
                  </a:lnTo>
                  <a:lnTo>
                    <a:pt x="6" y="0"/>
                  </a:lnTo>
                  <a:lnTo>
                    <a:pt x="14" y="2"/>
                  </a:lnTo>
                  <a:lnTo>
                    <a:pt x="22" y="8"/>
                  </a:lnTo>
                  <a:lnTo>
                    <a:pt x="20" y="16"/>
                  </a:lnTo>
                  <a:lnTo>
                    <a:pt x="20" y="22"/>
                  </a:lnTo>
                  <a:lnTo>
                    <a:pt x="24" y="30"/>
                  </a:lnTo>
                  <a:lnTo>
                    <a:pt x="26" y="34"/>
                  </a:lnTo>
                  <a:lnTo>
                    <a:pt x="26" y="38"/>
                  </a:lnTo>
                  <a:lnTo>
                    <a:pt x="22" y="44"/>
                  </a:lnTo>
                  <a:lnTo>
                    <a:pt x="12" y="56"/>
                  </a:lnTo>
                  <a:lnTo>
                    <a:pt x="2" y="40"/>
                  </a:lnTo>
                  <a:lnTo>
                    <a:pt x="4" y="28"/>
                  </a:lnTo>
                  <a:lnTo>
                    <a:pt x="2" y="18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91" name="Freeform 107"/>
            <p:cNvSpPr>
              <a:spLocks/>
            </p:cNvSpPr>
            <p:nvPr/>
          </p:nvSpPr>
          <p:spPr bwMode="gray">
            <a:xfrm>
              <a:off x="4638675" y="2205038"/>
              <a:ext cx="198438" cy="146050"/>
            </a:xfrm>
            <a:custGeom>
              <a:avLst/>
              <a:gdLst>
                <a:gd name="T0" fmla="*/ 2147483647 w 167"/>
                <a:gd name="T1" fmla="*/ 2147483647 h 120"/>
                <a:gd name="T2" fmla="*/ 2147483647 w 167"/>
                <a:gd name="T3" fmla="*/ 2147483647 h 120"/>
                <a:gd name="T4" fmla="*/ 2147483647 w 167"/>
                <a:gd name="T5" fmla="*/ 2147483647 h 120"/>
                <a:gd name="T6" fmla="*/ 2147483647 w 167"/>
                <a:gd name="T7" fmla="*/ 2147483647 h 120"/>
                <a:gd name="T8" fmla="*/ 2147483647 w 167"/>
                <a:gd name="T9" fmla="*/ 2147483647 h 120"/>
                <a:gd name="T10" fmla="*/ 2147483647 w 167"/>
                <a:gd name="T11" fmla="*/ 2147483647 h 120"/>
                <a:gd name="T12" fmla="*/ 2147483647 w 167"/>
                <a:gd name="T13" fmla="*/ 2147483647 h 120"/>
                <a:gd name="T14" fmla="*/ 2147483647 w 167"/>
                <a:gd name="T15" fmla="*/ 2147483647 h 120"/>
                <a:gd name="T16" fmla="*/ 2147483647 w 167"/>
                <a:gd name="T17" fmla="*/ 2147483647 h 120"/>
                <a:gd name="T18" fmla="*/ 2147483647 w 167"/>
                <a:gd name="T19" fmla="*/ 2147483647 h 120"/>
                <a:gd name="T20" fmla="*/ 2147483647 w 167"/>
                <a:gd name="T21" fmla="*/ 2147483647 h 120"/>
                <a:gd name="T22" fmla="*/ 2147483647 w 167"/>
                <a:gd name="T23" fmla="*/ 2147483647 h 120"/>
                <a:gd name="T24" fmla="*/ 2147483647 w 167"/>
                <a:gd name="T25" fmla="*/ 2147483647 h 120"/>
                <a:gd name="T26" fmla="*/ 0 w 167"/>
                <a:gd name="T27" fmla="*/ 2147483647 h 120"/>
                <a:gd name="T28" fmla="*/ 2147483647 w 167"/>
                <a:gd name="T29" fmla="*/ 2147483647 h 120"/>
                <a:gd name="T30" fmla="*/ 2147483647 w 167"/>
                <a:gd name="T31" fmla="*/ 2147483647 h 120"/>
                <a:gd name="T32" fmla="*/ 2147483647 w 167"/>
                <a:gd name="T33" fmla="*/ 2147483647 h 120"/>
                <a:gd name="T34" fmla="*/ 2147483647 w 167"/>
                <a:gd name="T35" fmla="*/ 2147483647 h 120"/>
                <a:gd name="T36" fmla="*/ 2147483647 w 167"/>
                <a:gd name="T37" fmla="*/ 2147483647 h 120"/>
                <a:gd name="T38" fmla="*/ 2147483647 w 167"/>
                <a:gd name="T39" fmla="*/ 2147483647 h 120"/>
                <a:gd name="T40" fmla="*/ 2147483647 w 167"/>
                <a:gd name="T41" fmla="*/ 2147483647 h 120"/>
                <a:gd name="T42" fmla="*/ 2147483647 w 167"/>
                <a:gd name="T43" fmla="*/ 0 h 120"/>
                <a:gd name="T44" fmla="*/ 2147483647 w 167"/>
                <a:gd name="T45" fmla="*/ 2147483647 h 120"/>
                <a:gd name="T46" fmla="*/ 2147483647 w 167"/>
                <a:gd name="T47" fmla="*/ 2147483647 h 120"/>
                <a:gd name="T48" fmla="*/ 2147483647 w 167"/>
                <a:gd name="T49" fmla="*/ 2147483647 h 120"/>
                <a:gd name="T50" fmla="*/ 2147483647 w 167"/>
                <a:gd name="T51" fmla="*/ 2147483647 h 120"/>
                <a:gd name="T52" fmla="*/ 2147483647 w 167"/>
                <a:gd name="T53" fmla="*/ 2147483647 h 120"/>
                <a:gd name="T54" fmla="*/ 2147483647 w 167"/>
                <a:gd name="T55" fmla="*/ 2147483647 h 120"/>
                <a:gd name="T56" fmla="*/ 2147483647 w 167"/>
                <a:gd name="T57" fmla="*/ 2147483647 h 120"/>
                <a:gd name="T58" fmla="*/ 2147483647 w 167"/>
                <a:gd name="T59" fmla="*/ 2147483647 h 120"/>
                <a:gd name="T60" fmla="*/ 2147483647 w 167"/>
                <a:gd name="T61" fmla="*/ 2147483647 h 120"/>
                <a:gd name="T62" fmla="*/ 2147483647 w 167"/>
                <a:gd name="T63" fmla="*/ 2147483647 h 120"/>
                <a:gd name="T64" fmla="*/ 2147483647 w 167"/>
                <a:gd name="T65" fmla="*/ 2147483647 h 12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7"/>
                <a:gd name="T100" fmla="*/ 0 h 120"/>
                <a:gd name="T101" fmla="*/ 167 w 167"/>
                <a:gd name="T102" fmla="*/ 120 h 12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7" h="120">
                  <a:moveTo>
                    <a:pt x="45" y="92"/>
                  </a:moveTo>
                  <a:lnTo>
                    <a:pt x="55" y="84"/>
                  </a:lnTo>
                  <a:lnTo>
                    <a:pt x="83" y="88"/>
                  </a:lnTo>
                  <a:lnTo>
                    <a:pt x="71" y="80"/>
                  </a:lnTo>
                  <a:lnTo>
                    <a:pt x="59" y="76"/>
                  </a:lnTo>
                  <a:lnTo>
                    <a:pt x="43" y="78"/>
                  </a:lnTo>
                  <a:lnTo>
                    <a:pt x="43" y="68"/>
                  </a:lnTo>
                  <a:lnTo>
                    <a:pt x="55" y="64"/>
                  </a:lnTo>
                  <a:lnTo>
                    <a:pt x="69" y="60"/>
                  </a:lnTo>
                  <a:lnTo>
                    <a:pt x="85" y="60"/>
                  </a:lnTo>
                  <a:lnTo>
                    <a:pt x="97" y="56"/>
                  </a:lnTo>
                  <a:lnTo>
                    <a:pt x="89" y="48"/>
                  </a:lnTo>
                  <a:lnTo>
                    <a:pt x="83" y="52"/>
                  </a:lnTo>
                  <a:lnTo>
                    <a:pt x="71" y="52"/>
                  </a:lnTo>
                  <a:lnTo>
                    <a:pt x="71" y="44"/>
                  </a:lnTo>
                  <a:lnTo>
                    <a:pt x="65" y="42"/>
                  </a:lnTo>
                  <a:lnTo>
                    <a:pt x="61" y="48"/>
                  </a:lnTo>
                  <a:lnTo>
                    <a:pt x="55" y="48"/>
                  </a:lnTo>
                  <a:lnTo>
                    <a:pt x="51" y="56"/>
                  </a:lnTo>
                  <a:lnTo>
                    <a:pt x="37" y="64"/>
                  </a:lnTo>
                  <a:lnTo>
                    <a:pt x="27" y="58"/>
                  </a:lnTo>
                  <a:lnTo>
                    <a:pt x="11" y="46"/>
                  </a:lnTo>
                  <a:lnTo>
                    <a:pt x="7" y="36"/>
                  </a:lnTo>
                  <a:lnTo>
                    <a:pt x="19" y="28"/>
                  </a:lnTo>
                  <a:lnTo>
                    <a:pt x="19" y="24"/>
                  </a:lnTo>
                  <a:lnTo>
                    <a:pt x="11" y="24"/>
                  </a:lnTo>
                  <a:lnTo>
                    <a:pt x="2" y="30"/>
                  </a:lnTo>
                  <a:lnTo>
                    <a:pt x="0" y="20"/>
                  </a:lnTo>
                  <a:lnTo>
                    <a:pt x="4" y="12"/>
                  </a:lnTo>
                  <a:lnTo>
                    <a:pt x="19" y="8"/>
                  </a:lnTo>
                  <a:lnTo>
                    <a:pt x="33" y="8"/>
                  </a:lnTo>
                  <a:lnTo>
                    <a:pt x="47" y="10"/>
                  </a:lnTo>
                  <a:lnTo>
                    <a:pt x="51" y="26"/>
                  </a:lnTo>
                  <a:lnTo>
                    <a:pt x="55" y="12"/>
                  </a:lnTo>
                  <a:lnTo>
                    <a:pt x="63" y="10"/>
                  </a:lnTo>
                  <a:lnTo>
                    <a:pt x="73" y="14"/>
                  </a:lnTo>
                  <a:lnTo>
                    <a:pt x="75" y="22"/>
                  </a:lnTo>
                  <a:lnTo>
                    <a:pt x="77" y="28"/>
                  </a:lnTo>
                  <a:lnTo>
                    <a:pt x="83" y="36"/>
                  </a:lnTo>
                  <a:lnTo>
                    <a:pt x="89" y="38"/>
                  </a:lnTo>
                  <a:lnTo>
                    <a:pt x="87" y="24"/>
                  </a:lnTo>
                  <a:lnTo>
                    <a:pt x="83" y="12"/>
                  </a:lnTo>
                  <a:lnTo>
                    <a:pt x="81" y="4"/>
                  </a:lnTo>
                  <a:lnTo>
                    <a:pt x="85" y="0"/>
                  </a:lnTo>
                  <a:lnTo>
                    <a:pt x="95" y="4"/>
                  </a:lnTo>
                  <a:lnTo>
                    <a:pt x="107" y="8"/>
                  </a:lnTo>
                  <a:lnTo>
                    <a:pt x="103" y="20"/>
                  </a:lnTo>
                  <a:lnTo>
                    <a:pt x="111" y="22"/>
                  </a:lnTo>
                  <a:lnTo>
                    <a:pt x="115" y="16"/>
                  </a:lnTo>
                  <a:lnTo>
                    <a:pt x="127" y="22"/>
                  </a:lnTo>
                  <a:lnTo>
                    <a:pt x="127" y="30"/>
                  </a:lnTo>
                  <a:lnTo>
                    <a:pt x="151" y="36"/>
                  </a:lnTo>
                  <a:lnTo>
                    <a:pt x="167" y="44"/>
                  </a:lnTo>
                  <a:lnTo>
                    <a:pt x="159" y="48"/>
                  </a:lnTo>
                  <a:lnTo>
                    <a:pt x="137" y="52"/>
                  </a:lnTo>
                  <a:lnTo>
                    <a:pt x="123" y="60"/>
                  </a:lnTo>
                  <a:lnTo>
                    <a:pt x="119" y="68"/>
                  </a:lnTo>
                  <a:lnTo>
                    <a:pt x="117" y="84"/>
                  </a:lnTo>
                  <a:lnTo>
                    <a:pt x="107" y="88"/>
                  </a:lnTo>
                  <a:lnTo>
                    <a:pt x="101" y="102"/>
                  </a:lnTo>
                  <a:lnTo>
                    <a:pt x="93" y="120"/>
                  </a:lnTo>
                  <a:lnTo>
                    <a:pt x="81" y="114"/>
                  </a:lnTo>
                  <a:lnTo>
                    <a:pt x="81" y="102"/>
                  </a:lnTo>
                  <a:lnTo>
                    <a:pt x="67" y="104"/>
                  </a:lnTo>
                  <a:lnTo>
                    <a:pt x="59" y="98"/>
                  </a:lnTo>
                  <a:lnTo>
                    <a:pt x="45" y="9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92" name="Freeform 108"/>
            <p:cNvSpPr>
              <a:spLocks/>
            </p:cNvSpPr>
            <p:nvPr/>
          </p:nvSpPr>
          <p:spPr bwMode="gray">
            <a:xfrm>
              <a:off x="4776788" y="2184400"/>
              <a:ext cx="171450" cy="60325"/>
            </a:xfrm>
            <a:custGeom>
              <a:avLst/>
              <a:gdLst>
                <a:gd name="T0" fmla="*/ 2147483647 w 144"/>
                <a:gd name="T1" fmla="*/ 2147483647 h 50"/>
                <a:gd name="T2" fmla="*/ 2147483647 w 144"/>
                <a:gd name="T3" fmla="*/ 2147483647 h 50"/>
                <a:gd name="T4" fmla="*/ 2147483647 w 144"/>
                <a:gd name="T5" fmla="*/ 2147483647 h 50"/>
                <a:gd name="T6" fmla="*/ 2147483647 w 144"/>
                <a:gd name="T7" fmla="*/ 2147483647 h 50"/>
                <a:gd name="T8" fmla="*/ 2147483647 w 144"/>
                <a:gd name="T9" fmla="*/ 2147483647 h 50"/>
                <a:gd name="T10" fmla="*/ 2147483647 w 144"/>
                <a:gd name="T11" fmla="*/ 2147483647 h 50"/>
                <a:gd name="T12" fmla="*/ 2147483647 w 144"/>
                <a:gd name="T13" fmla="*/ 2147483647 h 50"/>
                <a:gd name="T14" fmla="*/ 2147483647 w 144"/>
                <a:gd name="T15" fmla="*/ 2147483647 h 50"/>
                <a:gd name="T16" fmla="*/ 2147483647 w 144"/>
                <a:gd name="T17" fmla="*/ 2147483647 h 50"/>
                <a:gd name="T18" fmla="*/ 2147483647 w 144"/>
                <a:gd name="T19" fmla="*/ 2147483647 h 50"/>
                <a:gd name="T20" fmla="*/ 0 w 144"/>
                <a:gd name="T21" fmla="*/ 2147483647 h 50"/>
                <a:gd name="T22" fmla="*/ 2147483647 w 144"/>
                <a:gd name="T23" fmla="*/ 2147483647 h 50"/>
                <a:gd name="T24" fmla="*/ 2147483647 w 144"/>
                <a:gd name="T25" fmla="*/ 2147483647 h 50"/>
                <a:gd name="T26" fmla="*/ 2147483647 w 144"/>
                <a:gd name="T27" fmla="*/ 2147483647 h 50"/>
                <a:gd name="T28" fmla="*/ 2147483647 w 144"/>
                <a:gd name="T29" fmla="*/ 2147483647 h 50"/>
                <a:gd name="T30" fmla="*/ 2147483647 w 144"/>
                <a:gd name="T31" fmla="*/ 2147483647 h 50"/>
                <a:gd name="T32" fmla="*/ 2147483647 w 144"/>
                <a:gd name="T33" fmla="*/ 2147483647 h 50"/>
                <a:gd name="T34" fmla="*/ 2147483647 w 144"/>
                <a:gd name="T35" fmla="*/ 0 h 50"/>
                <a:gd name="T36" fmla="*/ 2147483647 w 144"/>
                <a:gd name="T37" fmla="*/ 2147483647 h 50"/>
                <a:gd name="T38" fmla="*/ 2147483647 w 144"/>
                <a:gd name="T39" fmla="*/ 2147483647 h 50"/>
                <a:gd name="T40" fmla="*/ 2147483647 w 144"/>
                <a:gd name="T41" fmla="*/ 2147483647 h 50"/>
                <a:gd name="T42" fmla="*/ 2147483647 w 144"/>
                <a:gd name="T43" fmla="*/ 2147483647 h 50"/>
                <a:gd name="T44" fmla="*/ 2147483647 w 144"/>
                <a:gd name="T45" fmla="*/ 2147483647 h 50"/>
                <a:gd name="T46" fmla="*/ 2147483647 w 144"/>
                <a:gd name="T47" fmla="*/ 2147483647 h 50"/>
                <a:gd name="T48" fmla="*/ 2147483647 w 144"/>
                <a:gd name="T49" fmla="*/ 2147483647 h 50"/>
                <a:gd name="T50" fmla="*/ 2147483647 w 144"/>
                <a:gd name="T51" fmla="*/ 2147483647 h 50"/>
                <a:gd name="T52" fmla="*/ 2147483647 w 144"/>
                <a:gd name="T53" fmla="*/ 2147483647 h 50"/>
                <a:gd name="T54" fmla="*/ 2147483647 w 144"/>
                <a:gd name="T55" fmla="*/ 2147483647 h 50"/>
                <a:gd name="T56" fmla="*/ 2147483647 w 144"/>
                <a:gd name="T57" fmla="*/ 2147483647 h 50"/>
                <a:gd name="T58" fmla="*/ 2147483647 w 144"/>
                <a:gd name="T59" fmla="*/ 2147483647 h 50"/>
                <a:gd name="T60" fmla="*/ 2147483647 w 144"/>
                <a:gd name="T61" fmla="*/ 2147483647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44"/>
                <a:gd name="T94" fmla="*/ 0 h 50"/>
                <a:gd name="T95" fmla="*/ 144 w 144"/>
                <a:gd name="T96" fmla="*/ 50 h 5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44" h="50">
                  <a:moveTo>
                    <a:pt x="62" y="38"/>
                  </a:moveTo>
                  <a:lnTo>
                    <a:pt x="52" y="38"/>
                  </a:lnTo>
                  <a:lnTo>
                    <a:pt x="34" y="38"/>
                  </a:lnTo>
                  <a:lnTo>
                    <a:pt x="36" y="30"/>
                  </a:lnTo>
                  <a:lnTo>
                    <a:pt x="54" y="28"/>
                  </a:lnTo>
                  <a:lnTo>
                    <a:pt x="60" y="24"/>
                  </a:lnTo>
                  <a:lnTo>
                    <a:pt x="50" y="22"/>
                  </a:lnTo>
                  <a:lnTo>
                    <a:pt x="34" y="22"/>
                  </a:lnTo>
                  <a:lnTo>
                    <a:pt x="18" y="26"/>
                  </a:lnTo>
                  <a:lnTo>
                    <a:pt x="2" y="24"/>
                  </a:lnTo>
                  <a:lnTo>
                    <a:pt x="0" y="18"/>
                  </a:lnTo>
                  <a:lnTo>
                    <a:pt x="10" y="14"/>
                  </a:lnTo>
                  <a:lnTo>
                    <a:pt x="22" y="6"/>
                  </a:lnTo>
                  <a:lnTo>
                    <a:pt x="30" y="6"/>
                  </a:lnTo>
                  <a:lnTo>
                    <a:pt x="46" y="10"/>
                  </a:lnTo>
                  <a:lnTo>
                    <a:pt x="56" y="10"/>
                  </a:lnTo>
                  <a:lnTo>
                    <a:pt x="66" y="12"/>
                  </a:lnTo>
                  <a:lnTo>
                    <a:pt x="74" y="0"/>
                  </a:lnTo>
                  <a:lnTo>
                    <a:pt x="82" y="14"/>
                  </a:lnTo>
                  <a:lnTo>
                    <a:pt x="96" y="8"/>
                  </a:lnTo>
                  <a:lnTo>
                    <a:pt x="114" y="10"/>
                  </a:lnTo>
                  <a:lnTo>
                    <a:pt x="132" y="14"/>
                  </a:lnTo>
                  <a:lnTo>
                    <a:pt x="144" y="16"/>
                  </a:lnTo>
                  <a:lnTo>
                    <a:pt x="138" y="22"/>
                  </a:lnTo>
                  <a:lnTo>
                    <a:pt x="122" y="30"/>
                  </a:lnTo>
                  <a:lnTo>
                    <a:pt x="114" y="38"/>
                  </a:lnTo>
                  <a:lnTo>
                    <a:pt x="100" y="38"/>
                  </a:lnTo>
                  <a:lnTo>
                    <a:pt x="92" y="50"/>
                  </a:lnTo>
                  <a:lnTo>
                    <a:pt x="74" y="46"/>
                  </a:lnTo>
                  <a:lnTo>
                    <a:pt x="68" y="38"/>
                  </a:lnTo>
                  <a:lnTo>
                    <a:pt x="62" y="3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93" name="Freeform 109"/>
            <p:cNvSpPr>
              <a:spLocks/>
            </p:cNvSpPr>
            <p:nvPr/>
          </p:nvSpPr>
          <p:spPr bwMode="gray">
            <a:xfrm>
              <a:off x="4826000" y="2282825"/>
              <a:ext cx="66675" cy="39688"/>
            </a:xfrm>
            <a:custGeom>
              <a:avLst/>
              <a:gdLst>
                <a:gd name="T0" fmla="*/ 2147483647 w 58"/>
                <a:gd name="T1" fmla="*/ 2147483647 h 32"/>
                <a:gd name="T2" fmla="*/ 2147483647 w 58"/>
                <a:gd name="T3" fmla="*/ 2147483647 h 32"/>
                <a:gd name="T4" fmla="*/ 2147483647 w 58"/>
                <a:gd name="T5" fmla="*/ 0 h 32"/>
                <a:gd name="T6" fmla="*/ 2147483647 w 58"/>
                <a:gd name="T7" fmla="*/ 0 h 32"/>
                <a:gd name="T8" fmla="*/ 2147483647 w 58"/>
                <a:gd name="T9" fmla="*/ 2147483647 h 32"/>
                <a:gd name="T10" fmla="*/ 2147483647 w 58"/>
                <a:gd name="T11" fmla="*/ 2147483647 h 32"/>
                <a:gd name="T12" fmla="*/ 2147483647 w 58"/>
                <a:gd name="T13" fmla="*/ 2147483647 h 32"/>
                <a:gd name="T14" fmla="*/ 2147483647 w 58"/>
                <a:gd name="T15" fmla="*/ 2147483647 h 32"/>
                <a:gd name="T16" fmla="*/ 2147483647 w 58"/>
                <a:gd name="T17" fmla="*/ 2147483647 h 32"/>
                <a:gd name="T18" fmla="*/ 2147483647 w 58"/>
                <a:gd name="T19" fmla="*/ 2147483647 h 32"/>
                <a:gd name="T20" fmla="*/ 2147483647 w 58"/>
                <a:gd name="T21" fmla="*/ 2147483647 h 32"/>
                <a:gd name="T22" fmla="*/ 2147483647 w 58"/>
                <a:gd name="T23" fmla="*/ 2147483647 h 32"/>
                <a:gd name="T24" fmla="*/ 2147483647 w 58"/>
                <a:gd name="T25" fmla="*/ 2147483647 h 32"/>
                <a:gd name="T26" fmla="*/ 2147483647 w 58"/>
                <a:gd name="T27" fmla="*/ 2147483647 h 32"/>
                <a:gd name="T28" fmla="*/ 0 w 58"/>
                <a:gd name="T29" fmla="*/ 2147483647 h 32"/>
                <a:gd name="T30" fmla="*/ 2147483647 w 58"/>
                <a:gd name="T31" fmla="*/ 2147483647 h 32"/>
                <a:gd name="T32" fmla="*/ 2147483647 w 58"/>
                <a:gd name="T33" fmla="*/ 2147483647 h 3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8"/>
                <a:gd name="T52" fmla="*/ 0 h 32"/>
                <a:gd name="T53" fmla="*/ 58 w 58"/>
                <a:gd name="T54" fmla="*/ 32 h 3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8" h="32">
                  <a:moveTo>
                    <a:pt x="10" y="8"/>
                  </a:moveTo>
                  <a:lnTo>
                    <a:pt x="14" y="4"/>
                  </a:lnTo>
                  <a:lnTo>
                    <a:pt x="30" y="0"/>
                  </a:lnTo>
                  <a:lnTo>
                    <a:pt x="38" y="0"/>
                  </a:lnTo>
                  <a:lnTo>
                    <a:pt x="42" y="8"/>
                  </a:lnTo>
                  <a:lnTo>
                    <a:pt x="48" y="12"/>
                  </a:lnTo>
                  <a:lnTo>
                    <a:pt x="58" y="12"/>
                  </a:lnTo>
                  <a:lnTo>
                    <a:pt x="52" y="20"/>
                  </a:lnTo>
                  <a:lnTo>
                    <a:pt x="38" y="28"/>
                  </a:lnTo>
                  <a:lnTo>
                    <a:pt x="26" y="32"/>
                  </a:lnTo>
                  <a:lnTo>
                    <a:pt x="26" y="20"/>
                  </a:lnTo>
                  <a:lnTo>
                    <a:pt x="18" y="20"/>
                  </a:lnTo>
                  <a:lnTo>
                    <a:pt x="10" y="22"/>
                  </a:lnTo>
                  <a:lnTo>
                    <a:pt x="4" y="28"/>
                  </a:lnTo>
                  <a:lnTo>
                    <a:pt x="0" y="20"/>
                  </a:lnTo>
                  <a:lnTo>
                    <a:pt x="6" y="14"/>
                  </a:lnTo>
                  <a:lnTo>
                    <a:pt x="10" y="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94" name="Freeform 110"/>
            <p:cNvSpPr>
              <a:spLocks/>
            </p:cNvSpPr>
            <p:nvPr/>
          </p:nvSpPr>
          <p:spPr bwMode="gray">
            <a:xfrm>
              <a:off x="5254625" y="3381375"/>
              <a:ext cx="60325" cy="52388"/>
            </a:xfrm>
            <a:custGeom>
              <a:avLst/>
              <a:gdLst>
                <a:gd name="T0" fmla="*/ 0 w 52"/>
                <a:gd name="T1" fmla="*/ 2147483647 h 44"/>
                <a:gd name="T2" fmla="*/ 2147483647 w 52"/>
                <a:gd name="T3" fmla="*/ 2147483647 h 44"/>
                <a:gd name="T4" fmla="*/ 2147483647 w 52"/>
                <a:gd name="T5" fmla="*/ 0 h 44"/>
                <a:gd name="T6" fmla="*/ 2147483647 w 52"/>
                <a:gd name="T7" fmla="*/ 0 h 44"/>
                <a:gd name="T8" fmla="*/ 2147483647 w 52"/>
                <a:gd name="T9" fmla="*/ 2147483647 h 44"/>
                <a:gd name="T10" fmla="*/ 2147483647 w 52"/>
                <a:gd name="T11" fmla="*/ 2147483647 h 44"/>
                <a:gd name="T12" fmla="*/ 2147483647 w 52"/>
                <a:gd name="T13" fmla="*/ 2147483647 h 44"/>
                <a:gd name="T14" fmla="*/ 2147483647 w 52"/>
                <a:gd name="T15" fmla="*/ 2147483647 h 44"/>
                <a:gd name="T16" fmla="*/ 2147483647 w 52"/>
                <a:gd name="T17" fmla="*/ 2147483647 h 44"/>
                <a:gd name="T18" fmla="*/ 2147483647 w 52"/>
                <a:gd name="T19" fmla="*/ 2147483647 h 44"/>
                <a:gd name="T20" fmla="*/ 2147483647 w 52"/>
                <a:gd name="T21" fmla="*/ 2147483647 h 44"/>
                <a:gd name="T22" fmla="*/ 2147483647 w 52"/>
                <a:gd name="T23" fmla="*/ 2147483647 h 44"/>
                <a:gd name="T24" fmla="*/ 2147483647 w 52"/>
                <a:gd name="T25" fmla="*/ 2147483647 h 44"/>
                <a:gd name="T26" fmla="*/ 2147483647 w 52"/>
                <a:gd name="T27" fmla="*/ 2147483647 h 44"/>
                <a:gd name="T28" fmla="*/ 2147483647 w 52"/>
                <a:gd name="T29" fmla="*/ 2147483647 h 44"/>
                <a:gd name="T30" fmla="*/ 2147483647 w 52"/>
                <a:gd name="T31" fmla="*/ 2147483647 h 44"/>
                <a:gd name="T32" fmla="*/ 2147483647 w 52"/>
                <a:gd name="T33" fmla="*/ 2147483647 h 44"/>
                <a:gd name="T34" fmla="*/ 2147483647 w 52"/>
                <a:gd name="T35" fmla="*/ 2147483647 h 44"/>
                <a:gd name="T36" fmla="*/ 2147483647 w 52"/>
                <a:gd name="T37" fmla="*/ 2147483647 h 44"/>
                <a:gd name="T38" fmla="*/ 2147483647 w 52"/>
                <a:gd name="T39" fmla="*/ 2147483647 h 44"/>
                <a:gd name="T40" fmla="*/ 0 w 52"/>
                <a:gd name="T41" fmla="*/ 2147483647 h 44"/>
                <a:gd name="T42" fmla="*/ 0 w 52"/>
                <a:gd name="T43" fmla="*/ 2147483647 h 44"/>
                <a:gd name="T44" fmla="*/ 0 w 52"/>
                <a:gd name="T45" fmla="*/ 2147483647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2"/>
                <a:gd name="T70" fmla="*/ 0 h 44"/>
                <a:gd name="T71" fmla="*/ 52 w 52"/>
                <a:gd name="T72" fmla="*/ 44 h 4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2" h="44">
                  <a:moveTo>
                    <a:pt x="0" y="6"/>
                  </a:moveTo>
                  <a:lnTo>
                    <a:pt x="6" y="4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8" y="4"/>
                  </a:lnTo>
                  <a:lnTo>
                    <a:pt x="30" y="10"/>
                  </a:lnTo>
                  <a:lnTo>
                    <a:pt x="32" y="18"/>
                  </a:lnTo>
                  <a:lnTo>
                    <a:pt x="36" y="24"/>
                  </a:lnTo>
                  <a:lnTo>
                    <a:pt x="40" y="28"/>
                  </a:lnTo>
                  <a:lnTo>
                    <a:pt x="46" y="30"/>
                  </a:lnTo>
                  <a:lnTo>
                    <a:pt x="50" y="34"/>
                  </a:lnTo>
                  <a:lnTo>
                    <a:pt x="52" y="38"/>
                  </a:lnTo>
                  <a:lnTo>
                    <a:pt x="50" y="44"/>
                  </a:lnTo>
                  <a:lnTo>
                    <a:pt x="42" y="42"/>
                  </a:lnTo>
                  <a:lnTo>
                    <a:pt x="40" y="34"/>
                  </a:lnTo>
                  <a:lnTo>
                    <a:pt x="34" y="32"/>
                  </a:lnTo>
                  <a:lnTo>
                    <a:pt x="28" y="28"/>
                  </a:lnTo>
                  <a:lnTo>
                    <a:pt x="20" y="28"/>
                  </a:lnTo>
                  <a:lnTo>
                    <a:pt x="18" y="32"/>
                  </a:lnTo>
                  <a:lnTo>
                    <a:pt x="12" y="28"/>
                  </a:lnTo>
                  <a:lnTo>
                    <a:pt x="0" y="28"/>
                  </a:lnTo>
                  <a:lnTo>
                    <a:pt x="0" y="16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95" name="Freeform 111"/>
            <p:cNvSpPr>
              <a:spLocks/>
            </p:cNvSpPr>
            <p:nvPr/>
          </p:nvSpPr>
          <p:spPr bwMode="gray">
            <a:xfrm>
              <a:off x="5283200" y="3367088"/>
              <a:ext cx="100013" cy="79375"/>
            </a:xfrm>
            <a:custGeom>
              <a:avLst/>
              <a:gdLst>
                <a:gd name="T0" fmla="*/ 2147483647 w 84"/>
                <a:gd name="T1" fmla="*/ 0 h 66"/>
                <a:gd name="T2" fmla="*/ 2147483647 w 84"/>
                <a:gd name="T3" fmla="*/ 2147483647 h 66"/>
                <a:gd name="T4" fmla="*/ 2147483647 w 84"/>
                <a:gd name="T5" fmla="*/ 2147483647 h 66"/>
                <a:gd name="T6" fmla="*/ 2147483647 w 84"/>
                <a:gd name="T7" fmla="*/ 2147483647 h 66"/>
                <a:gd name="T8" fmla="*/ 2147483647 w 84"/>
                <a:gd name="T9" fmla="*/ 2147483647 h 66"/>
                <a:gd name="T10" fmla="*/ 2147483647 w 84"/>
                <a:gd name="T11" fmla="*/ 2147483647 h 66"/>
                <a:gd name="T12" fmla="*/ 2147483647 w 84"/>
                <a:gd name="T13" fmla="*/ 2147483647 h 66"/>
                <a:gd name="T14" fmla="*/ 2147483647 w 84"/>
                <a:gd name="T15" fmla="*/ 2147483647 h 66"/>
                <a:gd name="T16" fmla="*/ 2147483647 w 84"/>
                <a:gd name="T17" fmla="*/ 2147483647 h 66"/>
                <a:gd name="T18" fmla="*/ 2147483647 w 84"/>
                <a:gd name="T19" fmla="*/ 2147483647 h 66"/>
                <a:gd name="T20" fmla="*/ 2147483647 w 84"/>
                <a:gd name="T21" fmla="*/ 2147483647 h 66"/>
                <a:gd name="T22" fmla="*/ 2147483647 w 84"/>
                <a:gd name="T23" fmla="*/ 2147483647 h 66"/>
                <a:gd name="T24" fmla="*/ 2147483647 w 84"/>
                <a:gd name="T25" fmla="*/ 2147483647 h 66"/>
                <a:gd name="T26" fmla="*/ 2147483647 w 84"/>
                <a:gd name="T27" fmla="*/ 2147483647 h 66"/>
                <a:gd name="T28" fmla="*/ 2147483647 w 84"/>
                <a:gd name="T29" fmla="*/ 2147483647 h 66"/>
                <a:gd name="T30" fmla="*/ 2147483647 w 84"/>
                <a:gd name="T31" fmla="*/ 2147483647 h 66"/>
                <a:gd name="T32" fmla="*/ 2147483647 w 84"/>
                <a:gd name="T33" fmla="*/ 2147483647 h 66"/>
                <a:gd name="T34" fmla="*/ 2147483647 w 84"/>
                <a:gd name="T35" fmla="*/ 2147483647 h 66"/>
                <a:gd name="T36" fmla="*/ 2147483647 w 84"/>
                <a:gd name="T37" fmla="*/ 2147483647 h 66"/>
                <a:gd name="T38" fmla="*/ 2147483647 w 84"/>
                <a:gd name="T39" fmla="*/ 2147483647 h 66"/>
                <a:gd name="T40" fmla="*/ 2147483647 w 84"/>
                <a:gd name="T41" fmla="*/ 2147483647 h 66"/>
                <a:gd name="T42" fmla="*/ 2147483647 w 84"/>
                <a:gd name="T43" fmla="*/ 2147483647 h 66"/>
                <a:gd name="T44" fmla="*/ 2147483647 w 84"/>
                <a:gd name="T45" fmla="*/ 2147483647 h 66"/>
                <a:gd name="T46" fmla="*/ 2147483647 w 84"/>
                <a:gd name="T47" fmla="*/ 2147483647 h 66"/>
                <a:gd name="T48" fmla="*/ 2147483647 w 84"/>
                <a:gd name="T49" fmla="*/ 2147483647 h 66"/>
                <a:gd name="T50" fmla="*/ 2147483647 w 84"/>
                <a:gd name="T51" fmla="*/ 2147483647 h 66"/>
                <a:gd name="T52" fmla="*/ 2147483647 w 84"/>
                <a:gd name="T53" fmla="*/ 2147483647 h 66"/>
                <a:gd name="T54" fmla="*/ 2147483647 w 84"/>
                <a:gd name="T55" fmla="*/ 2147483647 h 66"/>
                <a:gd name="T56" fmla="*/ 2147483647 w 84"/>
                <a:gd name="T57" fmla="*/ 2147483647 h 66"/>
                <a:gd name="T58" fmla="*/ 2147483647 w 84"/>
                <a:gd name="T59" fmla="*/ 2147483647 h 66"/>
                <a:gd name="T60" fmla="*/ 2147483647 w 84"/>
                <a:gd name="T61" fmla="*/ 2147483647 h 66"/>
                <a:gd name="T62" fmla="*/ 2147483647 w 84"/>
                <a:gd name="T63" fmla="*/ 2147483647 h 66"/>
                <a:gd name="T64" fmla="*/ 2147483647 w 84"/>
                <a:gd name="T65" fmla="*/ 2147483647 h 66"/>
                <a:gd name="T66" fmla="*/ 2147483647 w 84"/>
                <a:gd name="T67" fmla="*/ 2147483647 h 66"/>
                <a:gd name="T68" fmla="*/ 2147483647 w 84"/>
                <a:gd name="T69" fmla="*/ 2147483647 h 66"/>
                <a:gd name="T70" fmla="*/ 2147483647 w 84"/>
                <a:gd name="T71" fmla="*/ 2147483647 h 66"/>
                <a:gd name="T72" fmla="*/ 2147483647 w 84"/>
                <a:gd name="T73" fmla="*/ 2147483647 h 66"/>
                <a:gd name="T74" fmla="*/ 2147483647 w 84"/>
                <a:gd name="T75" fmla="*/ 2147483647 h 66"/>
                <a:gd name="T76" fmla="*/ 2147483647 w 84"/>
                <a:gd name="T77" fmla="*/ 2147483647 h 66"/>
                <a:gd name="T78" fmla="*/ 0 w 84"/>
                <a:gd name="T79" fmla="*/ 2147483647 h 66"/>
                <a:gd name="T80" fmla="*/ 2147483647 w 84"/>
                <a:gd name="T81" fmla="*/ 2147483647 h 66"/>
                <a:gd name="T82" fmla="*/ 2147483647 w 84"/>
                <a:gd name="T83" fmla="*/ 2147483647 h 66"/>
                <a:gd name="T84" fmla="*/ 2147483647 w 84"/>
                <a:gd name="T85" fmla="*/ 2147483647 h 66"/>
                <a:gd name="T86" fmla="*/ 2147483647 w 84"/>
                <a:gd name="T87" fmla="*/ 2147483647 h 66"/>
                <a:gd name="T88" fmla="*/ 2147483647 w 84"/>
                <a:gd name="T89" fmla="*/ 2147483647 h 66"/>
                <a:gd name="T90" fmla="*/ 2147483647 w 84"/>
                <a:gd name="T91" fmla="*/ 2147483647 h 66"/>
                <a:gd name="T92" fmla="*/ 2147483647 w 84"/>
                <a:gd name="T93" fmla="*/ 2147483647 h 66"/>
                <a:gd name="T94" fmla="*/ 2147483647 w 84"/>
                <a:gd name="T95" fmla="*/ 0 h 6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84"/>
                <a:gd name="T145" fmla="*/ 0 h 66"/>
                <a:gd name="T146" fmla="*/ 84 w 84"/>
                <a:gd name="T147" fmla="*/ 66 h 6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84" h="66">
                  <a:moveTo>
                    <a:pt x="20" y="0"/>
                  </a:moveTo>
                  <a:lnTo>
                    <a:pt x="26" y="2"/>
                  </a:lnTo>
                  <a:lnTo>
                    <a:pt x="32" y="8"/>
                  </a:lnTo>
                  <a:lnTo>
                    <a:pt x="42" y="14"/>
                  </a:lnTo>
                  <a:lnTo>
                    <a:pt x="46" y="12"/>
                  </a:lnTo>
                  <a:lnTo>
                    <a:pt x="52" y="6"/>
                  </a:lnTo>
                  <a:lnTo>
                    <a:pt x="56" y="2"/>
                  </a:lnTo>
                  <a:lnTo>
                    <a:pt x="60" y="8"/>
                  </a:lnTo>
                  <a:lnTo>
                    <a:pt x="66" y="20"/>
                  </a:lnTo>
                  <a:lnTo>
                    <a:pt x="70" y="24"/>
                  </a:lnTo>
                  <a:lnTo>
                    <a:pt x="80" y="28"/>
                  </a:lnTo>
                  <a:lnTo>
                    <a:pt x="84" y="30"/>
                  </a:lnTo>
                  <a:lnTo>
                    <a:pt x="84" y="36"/>
                  </a:lnTo>
                  <a:lnTo>
                    <a:pt x="72" y="36"/>
                  </a:lnTo>
                  <a:lnTo>
                    <a:pt x="68" y="38"/>
                  </a:lnTo>
                  <a:lnTo>
                    <a:pt x="66" y="44"/>
                  </a:lnTo>
                  <a:lnTo>
                    <a:pt x="68" y="48"/>
                  </a:lnTo>
                  <a:lnTo>
                    <a:pt x="68" y="50"/>
                  </a:lnTo>
                  <a:lnTo>
                    <a:pt x="68" y="52"/>
                  </a:lnTo>
                  <a:lnTo>
                    <a:pt x="68" y="54"/>
                  </a:lnTo>
                  <a:lnTo>
                    <a:pt x="60" y="54"/>
                  </a:lnTo>
                  <a:lnTo>
                    <a:pt x="60" y="58"/>
                  </a:lnTo>
                  <a:lnTo>
                    <a:pt x="60" y="62"/>
                  </a:lnTo>
                  <a:lnTo>
                    <a:pt x="60" y="66"/>
                  </a:lnTo>
                  <a:lnTo>
                    <a:pt x="52" y="66"/>
                  </a:lnTo>
                  <a:lnTo>
                    <a:pt x="46" y="62"/>
                  </a:lnTo>
                  <a:lnTo>
                    <a:pt x="52" y="58"/>
                  </a:lnTo>
                  <a:lnTo>
                    <a:pt x="48" y="52"/>
                  </a:lnTo>
                  <a:lnTo>
                    <a:pt x="48" y="44"/>
                  </a:lnTo>
                  <a:lnTo>
                    <a:pt x="44" y="42"/>
                  </a:lnTo>
                  <a:lnTo>
                    <a:pt x="42" y="44"/>
                  </a:lnTo>
                  <a:lnTo>
                    <a:pt x="38" y="48"/>
                  </a:lnTo>
                  <a:lnTo>
                    <a:pt x="32" y="52"/>
                  </a:lnTo>
                  <a:lnTo>
                    <a:pt x="26" y="56"/>
                  </a:lnTo>
                  <a:lnTo>
                    <a:pt x="28" y="50"/>
                  </a:lnTo>
                  <a:lnTo>
                    <a:pt x="26" y="46"/>
                  </a:lnTo>
                  <a:lnTo>
                    <a:pt x="12" y="36"/>
                  </a:lnTo>
                  <a:lnTo>
                    <a:pt x="6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6" y="8"/>
                  </a:lnTo>
                  <a:lnTo>
                    <a:pt x="12" y="12"/>
                  </a:lnTo>
                  <a:lnTo>
                    <a:pt x="18" y="18"/>
                  </a:lnTo>
                  <a:lnTo>
                    <a:pt x="24" y="18"/>
                  </a:lnTo>
                  <a:lnTo>
                    <a:pt x="26" y="14"/>
                  </a:lnTo>
                  <a:lnTo>
                    <a:pt x="22" y="8"/>
                  </a:lnTo>
                  <a:lnTo>
                    <a:pt x="16" y="2"/>
                  </a:lnTo>
                  <a:lnTo>
                    <a:pt x="2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96" name="Freeform 112"/>
            <p:cNvSpPr>
              <a:spLocks/>
            </p:cNvSpPr>
            <p:nvPr/>
          </p:nvSpPr>
          <p:spPr bwMode="gray">
            <a:xfrm>
              <a:off x="5186363" y="3327400"/>
              <a:ext cx="127000" cy="60325"/>
            </a:xfrm>
            <a:custGeom>
              <a:avLst/>
              <a:gdLst>
                <a:gd name="T0" fmla="*/ 0 w 108"/>
                <a:gd name="T1" fmla="*/ 2147483647 h 50"/>
                <a:gd name="T2" fmla="*/ 2147483647 w 108"/>
                <a:gd name="T3" fmla="*/ 0 h 50"/>
                <a:gd name="T4" fmla="*/ 2147483647 w 108"/>
                <a:gd name="T5" fmla="*/ 2147483647 h 50"/>
                <a:gd name="T6" fmla="*/ 2147483647 w 108"/>
                <a:gd name="T7" fmla="*/ 2147483647 h 50"/>
                <a:gd name="T8" fmla="*/ 2147483647 w 108"/>
                <a:gd name="T9" fmla="*/ 2147483647 h 50"/>
                <a:gd name="T10" fmla="*/ 2147483647 w 108"/>
                <a:gd name="T11" fmla="*/ 2147483647 h 50"/>
                <a:gd name="T12" fmla="*/ 2147483647 w 108"/>
                <a:gd name="T13" fmla="*/ 2147483647 h 50"/>
                <a:gd name="T14" fmla="*/ 2147483647 w 108"/>
                <a:gd name="T15" fmla="*/ 2147483647 h 50"/>
                <a:gd name="T16" fmla="*/ 2147483647 w 108"/>
                <a:gd name="T17" fmla="*/ 2147483647 h 50"/>
                <a:gd name="T18" fmla="*/ 2147483647 w 108"/>
                <a:gd name="T19" fmla="*/ 2147483647 h 50"/>
                <a:gd name="T20" fmla="*/ 2147483647 w 108"/>
                <a:gd name="T21" fmla="*/ 2147483647 h 50"/>
                <a:gd name="T22" fmla="*/ 2147483647 w 108"/>
                <a:gd name="T23" fmla="*/ 2147483647 h 50"/>
                <a:gd name="T24" fmla="*/ 2147483647 w 108"/>
                <a:gd name="T25" fmla="*/ 2147483647 h 50"/>
                <a:gd name="T26" fmla="*/ 2147483647 w 108"/>
                <a:gd name="T27" fmla="*/ 2147483647 h 50"/>
                <a:gd name="T28" fmla="*/ 2147483647 w 108"/>
                <a:gd name="T29" fmla="*/ 2147483647 h 50"/>
                <a:gd name="T30" fmla="*/ 2147483647 w 108"/>
                <a:gd name="T31" fmla="*/ 2147483647 h 50"/>
                <a:gd name="T32" fmla="*/ 2147483647 w 108"/>
                <a:gd name="T33" fmla="*/ 2147483647 h 50"/>
                <a:gd name="T34" fmla="*/ 2147483647 w 108"/>
                <a:gd name="T35" fmla="*/ 2147483647 h 50"/>
                <a:gd name="T36" fmla="*/ 2147483647 w 108"/>
                <a:gd name="T37" fmla="*/ 2147483647 h 50"/>
                <a:gd name="T38" fmla="*/ 2147483647 w 108"/>
                <a:gd name="T39" fmla="*/ 2147483647 h 50"/>
                <a:gd name="T40" fmla="*/ 2147483647 w 108"/>
                <a:gd name="T41" fmla="*/ 2147483647 h 50"/>
                <a:gd name="T42" fmla="*/ 2147483647 w 108"/>
                <a:gd name="T43" fmla="*/ 2147483647 h 50"/>
                <a:gd name="T44" fmla="*/ 2147483647 w 108"/>
                <a:gd name="T45" fmla="*/ 2147483647 h 50"/>
                <a:gd name="T46" fmla="*/ 2147483647 w 108"/>
                <a:gd name="T47" fmla="*/ 2147483647 h 50"/>
                <a:gd name="T48" fmla="*/ 2147483647 w 108"/>
                <a:gd name="T49" fmla="*/ 2147483647 h 50"/>
                <a:gd name="T50" fmla="*/ 2147483647 w 108"/>
                <a:gd name="T51" fmla="*/ 2147483647 h 50"/>
                <a:gd name="T52" fmla="*/ 2147483647 w 108"/>
                <a:gd name="T53" fmla="*/ 2147483647 h 50"/>
                <a:gd name="T54" fmla="*/ 2147483647 w 108"/>
                <a:gd name="T55" fmla="*/ 2147483647 h 50"/>
                <a:gd name="T56" fmla="*/ 2147483647 w 108"/>
                <a:gd name="T57" fmla="*/ 2147483647 h 50"/>
                <a:gd name="T58" fmla="*/ 2147483647 w 108"/>
                <a:gd name="T59" fmla="*/ 2147483647 h 50"/>
                <a:gd name="T60" fmla="*/ 2147483647 w 108"/>
                <a:gd name="T61" fmla="*/ 2147483647 h 50"/>
                <a:gd name="T62" fmla="*/ 2147483647 w 108"/>
                <a:gd name="T63" fmla="*/ 2147483647 h 50"/>
                <a:gd name="T64" fmla="*/ 2147483647 w 108"/>
                <a:gd name="T65" fmla="*/ 2147483647 h 50"/>
                <a:gd name="T66" fmla="*/ 2147483647 w 108"/>
                <a:gd name="T67" fmla="*/ 2147483647 h 50"/>
                <a:gd name="T68" fmla="*/ 0 w 108"/>
                <a:gd name="T69" fmla="*/ 2147483647 h 5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8"/>
                <a:gd name="T106" fmla="*/ 0 h 50"/>
                <a:gd name="T107" fmla="*/ 108 w 108"/>
                <a:gd name="T108" fmla="*/ 50 h 5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8" h="50">
                  <a:moveTo>
                    <a:pt x="0" y="2"/>
                  </a:moveTo>
                  <a:lnTo>
                    <a:pt x="12" y="0"/>
                  </a:lnTo>
                  <a:lnTo>
                    <a:pt x="18" y="4"/>
                  </a:lnTo>
                  <a:lnTo>
                    <a:pt x="24" y="8"/>
                  </a:lnTo>
                  <a:lnTo>
                    <a:pt x="34" y="6"/>
                  </a:lnTo>
                  <a:lnTo>
                    <a:pt x="42" y="6"/>
                  </a:lnTo>
                  <a:lnTo>
                    <a:pt x="52" y="12"/>
                  </a:lnTo>
                  <a:lnTo>
                    <a:pt x="56" y="14"/>
                  </a:lnTo>
                  <a:lnTo>
                    <a:pt x="66" y="18"/>
                  </a:lnTo>
                  <a:lnTo>
                    <a:pt x="72" y="18"/>
                  </a:lnTo>
                  <a:lnTo>
                    <a:pt x="82" y="16"/>
                  </a:lnTo>
                  <a:lnTo>
                    <a:pt x="92" y="22"/>
                  </a:lnTo>
                  <a:lnTo>
                    <a:pt x="94" y="24"/>
                  </a:lnTo>
                  <a:lnTo>
                    <a:pt x="102" y="32"/>
                  </a:lnTo>
                  <a:lnTo>
                    <a:pt x="98" y="34"/>
                  </a:lnTo>
                  <a:lnTo>
                    <a:pt x="104" y="40"/>
                  </a:lnTo>
                  <a:lnTo>
                    <a:pt x="108" y="46"/>
                  </a:lnTo>
                  <a:lnTo>
                    <a:pt x="106" y="50"/>
                  </a:lnTo>
                  <a:lnTo>
                    <a:pt x="100" y="50"/>
                  </a:lnTo>
                  <a:lnTo>
                    <a:pt x="88" y="40"/>
                  </a:lnTo>
                  <a:lnTo>
                    <a:pt x="82" y="44"/>
                  </a:lnTo>
                  <a:lnTo>
                    <a:pt x="74" y="44"/>
                  </a:lnTo>
                  <a:lnTo>
                    <a:pt x="66" y="46"/>
                  </a:lnTo>
                  <a:lnTo>
                    <a:pt x="58" y="50"/>
                  </a:lnTo>
                  <a:lnTo>
                    <a:pt x="52" y="46"/>
                  </a:lnTo>
                  <a:lnTo>
                    <a:pt x="46" y="40"/>
                  </a:lnTo>
                  <a:lnTo>
                    <a:pt x="38" y="38"/>
                  </a:lnTo>
                  <a:lnTo>
                    <a:pt x="36" y="44"/>
                  </a:lnTo>
                  <a:lnTo>
                    <a:pt x="26" y="40"/>
                  </a:lnTo>
                  <a:lnTo>
                    <a:pt x="30" y="32"/>
                  </a:lnTo>
                  <a:lnTo>
                    <a:pt x="26" y="22"/>
                  </a:lnTo>
                  <a:lnTo>
                    <a:pt x="20" y="14"/>
                  </a:lnTo>
                  <a:lnTo>
                    <a:pt x="12" y="10"/>
                  </a:lnTo>
                  <a:lnTo>
                    <a:pt x="6" y="6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97" name="Freeform 113"/>
            <p:cNvSpPr>
              <a:spLocks/>
            </p:cNvSpPr>
            <p:nvPr/>
          </p:nvSpPr>
          <p:spPr bwMode="gray">
            <a:xfrm>
              <a:off x="5424488" y="3349625"/>
              <a:ext cx="263525" cy="166688"/>
            </a:xfrm>
            <a:custGeom>
              <a:avLst/>
              <a:gdLst>
                <a:gd name="T0" fmla="*/ 2147483647 w 222"/>
                <a:gd name="T1" fmla="*/ 2147483647 h 138"/>
                <a:gd name="T2" fmla="*/ 2147483647 w 222"/>
                <a:gd name="T3" fmla="*/ 2147483647 h 138"/>
                <a:gd name="T4" fmla="*/ 2147483647 w 222"/>
                <a:gd name="T5" fmla="*/ 2147483647 h 138"/>
                <a:gd name="T6" fmla="*/ 2147483647 w 222"/>
                <a:gd name="T7" fmla="*/ 2147483647 h 138"/>
                <a:gd name="T8" fmla="*/ 2147483647 w 222"/>
                <a:gd name="T9" fmla="*/ 2147483647 h 138"/>
                <a:gd name="T10" fmla="*/ 0 w 222"/>
                <a:gd name="T11" fmla="*/ 2147483647 h 138"/>
                <a:gd name="T12" fmla="*/ 0 w 222"/>
                <a:gd name="T13" fmla="*/ 2147483647 h 138"/>
                <a:gd name="T14" fmla="*/ 2147483647 w 222"/>
                <a:gd name="T15" fmla="*/ 2147483647 h 138"/>
                <a:gd name="T16" fmla="*/ 2147483647 w 222"/>
                <a:gd name="T17" fmla="*/ 2147483647 h 138"/>
                <a:gd name="T18" fmla="*/ 2147483647 w 222"/>
                <a:gd name="T19" fmla="*/ 2147483647 h 138"/>
                <a:gd name="T20" fmla="*/ 2147483647 w 222"/>
                <a:gd name="T21" fmla="*/ 2147483647 h 138"/>
                <a:gd name="T22" fmla="*/ 2147483647 w 222"/>
                <a:gd name="T23" fmla="*/ 2147483647 h 138"/>
                <a:gd name="T24" fmla="*/ 2147483647 w 222"/>
                <a:gd name="T25" fmla="*/ 2147483647 h 138"/>
                <a:gd name="T26" fmla="*/ 2147483647 w 222"/>
                <a:gd name="T27" fmla="*/ 2147483647 h 138"/>
                <a:gd name="T28" fmla="*/ 2147483647 w 222"/>
                <a:gd name="T29" fmla="*/ 2147483647 h 138"/>
                <a:gd name="T30" fmla="*/ 2147483647 w 222"/>
                <a:gd name="T31" fmla="*/ 2147483647 h 138"/>
                <a:gd name="T32" fmla="*/ 0 w 222"/>
                <a:gd name="T33" fmla="*/ 2147483647 h 138"/>
                <a:gd name="T34" fmla="*/ 0 w 222"/>
                <a:gd name="T35" fmla="*/ 2147483647 h 138"/>
                <a:gd name="T36" fmla="*/ 2147483647 w 222"/>
                <a:gd name="T37" fmla="*/ 2147483647 h 138"/>
                <a:gd name="T38" fmla="*/ 2147483647 w 222"/>
                <a:gd name="T39" fmla="*/ 2147483647 h 138"/>
                <a:gd name="T40" fmla="*/ 2147483647 w 222"/>
                <a:gd name="T41" fmla="*/ 2147483647 h 138"/>
                <a:gd name="T42" fmla="*/ 2147483647 w 222"/>
                <a:gd name="T43" fmla="*/ 2147483647 h 138"/>
                <a:gd name="T44" fmla="*/ 2147483647 w 222"/>
                <a:gd name="T45" fmla="*/ 2147483647 h 138"/>
                <a:gd name="T46" fmla="*/ 2147483647 w 222"/>
                <a:gd name="T47" fmla="*/ 2147483647 h 138"/>
                <a:gd name="T48" fmla="*/ 2147483647 w 222"/>
                <a:gd name="T49" fmla="*/ 2147483647 h 138"/>
                <a:gd name="T50" fmla="*/ 2147483647 w 222"/>
                <a:gd name="T51" fmla="*/ 0 h 138"/>
                <a:gd name="T52" fmla="*/ 2147483647 w 222"/>
                <a:gd name="T53" fmla="*/ 2147483647 h 138"/>
                <a:gd name="T54" fmla="*/ 2147483647 w 222"/>
                <a:gd name="T55" fmla="*/ 2147483647 h 138"/>
                <a:gd name="T56" fmla="*/ 2147483647 w 222"/>
                <a:gd name="T57" fmla="*/ 2147483647 h 138"/>
                <a:gd name="T58" fmla="*/ 2147483647 w 222"/>
                <a:gd name="T59" fmla="*/ 2147483647 h 138"/>
                <a:gd name="T60" fmla="*/ 2147483647 w 222"/>
                <a:gd name="T61" fmla="*/ 2147483647 h 138"/>
                <a:gd name="T62" fmla="*/ 2147483647 w 222"/>
                <a:gd name="T63" fmla="*/ 2147483647 h 138"/>
                <a:gd name="T64" fmla="*/ 2147483647 w 222"/>
                <a:gd name="T65" fmla="*/ 2147483647 h 138"/>
                <a:gd name="T66" fmla="*/ 2147483647 w 222"/>
                <a:gd name="T67" fmla="*/ 2147483647 h 138"/>
                <a:gd name="T68" fmla="*/ 2147483647 w 222"/>
                <a:gd name="T69" fmla="*/ 2147483647 h 138"/>
                <a:gd name="T70" fmla="*/ 2147483647 w 222"/>
                <a:gd name="T71" fmla="*/ 2147483647 h 138"/>
                <a:gd name="T72" fmla="*/ 2147483647 w 222"/>
                <a:gd name="T73" fmla="*/ 2147483647 h 138"/>
                <a:gd name="T74" fmla="*/ 2147483647 w 222"/>
                <a:gd name="T75" fmla="*/ 2147483647 h 138"/>
                <a:gd name="T76" fmla="*/ 2147483647 w 222"/>
                <a:gd name="T77" fmla="*/ 2147483647 h 138"/>
                <a:gd name="T78" fmla="*/ 2147483647 w 222"/>
                <a:gd name="T79" fmla="*/ 2147483647 h 138"/>
                <a:gd name="T80" fmla="*/ 2147483647 w 222"/>
                <a:gd name="T81" fmla="*/ 2147483647 h 138"/>
                <a:gd name="T82" fmla="*/ 2147483647 w 222"/>
                <a:gd name="T83" fmla="*/ 2147483647 h 138"/>
                <a:gd name="T84" fmla="*/ 2147483647 w 222"/>
                <a:gd name="T85" fmla="*/ 2147483647 h 138"/>
                <a:gd name="T86" fmla="*/ 2147483647 w 222"/>
                <a:gd name="T87" fmla="*/ 2147483647 h 138"/>
                <a:gd name="T88" fmla="*/ 2147483647 w 222"/>
                <a:gd name="T89" fmla="*/ 2147483647 h 138"/>
                <a:gd name="T90" fmla="*/ 2147483647 w 222"/>
                <a:gd name="T91" fmla="*/ 2147483647 h 138"/>
                <a:gd name="T92" fmla="*/ 2147483647 w 222"/>
                <a:gd name="T93" fmla="*/ 2147483647 h 138"/>
                <a:gd name="T94" fmla="*/ 2147483647 w 222"/>
                <a:gd name="T95" fmla="*/ 2147483647 h 138"/>
                <a:gd name="T96" fmla="*/ 2147483647 w 222"/>
                <a:gd name="T97" fmla="*/ 2147483647 h 13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22"/>
                <a:gd name="T148" fmla="*/ 0 h 138"/>
                <a:gd name="T149" fmla="*/ 222 w 222"/>
                <a:gd name="T150" fmla="*/ 138 h 138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22" h="138">
                  <a:moveTo>
                    <a:pt x="20" y="104"/>
                  </a:moveTo>
                  <a:lnTo>
                    <a:pt x="18" y="80"/>
                  </a:lnTo>
                  <a:lnTo>
                    <a:pt x="24" y="72"/>
                  </a:lnTo>
                  <a:lnTo>
                    <a:pt x="12" y="56"/>
                  </a:lnTo>
                  <a:lnTo>
                    <a:pt x="8" y="50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6" y="36"/>
                  </a:lnTo>
                  <a:lnTo>
                    <a:pt x="12" y="40"/>
                  </a:lnTo>
                  <a:lnTo>
                    <a:pt x="28" y="40"/>
                  </a:lnTo>
                  <a:lnTo>
                    <a:pt x="34" y="32"/>
                  </a:lnTo>
                  <a:lnTo>
                    <a:pt x="26" y="24"/>
                  </a:lnTo>
                  <a:lnTo>
                    <a:pt x="20" y="16"/>
                  </a:lnTo>
                  <a:lnTo>
                    <a:pt x="14" y="10"/>
                  </a:lnTo>
                  <a:lnTo>
                    <a:pt x="4" y="14"/>
                  </a:lnTo>
                  <a:lnTo>
                    <a:pt x="2" y="28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10" y="6"/>
                  </a:lnTo>
                  <a:lnTo>
                    <a:pt x="24" y="4"/>
                  </a:lnTo>
                  <a:lnTo>
                    <a:pt x="36" y="12"/>
                  </a:lnTo>
                  <a:lnTo>
                    <a:pt x="44" y="26"/>
                  </a:lnTo>
                  <a:lnTo>
                    <a:pt x="54" y="28"/>
                  </a:lnTo>
                  <a:lnTo>
                    <a:pt x="68" y="26"/>
                  </a:lnTo>
                  <a:lnTo>
                    <a:pt x="68" y="14"/>
                  </a:lnTo>
                  <a:lnTo>
                    <a:pt x="96" y="0"/>
                  </a:lnTo>
                  <a:lnTo>
                    <a:pt x="102" y="6"/>
                  </a:lnTo>
                  <a:lnTo>
                    <a:pt x="116" y="8"/>
                  </a:lnTo>
                  <a:lnTo>
                    <a:pt x="118" y="12"/>
                  </a:lnTo>
                  <a:lnTo>
                    <a:pt x="118" y="28"/>
                  </a:lnTo>
                  <a:lnTo>
                    <a:pt x="144" y="28"/>
                  </a:lnTo>
                  <a:lnTo>
                    <a:pt x="158" y="54"/>
                  </a:lnTo>
                  <a:lnTo>
                    <a:pt x="178" y="66"/>
                  </a:lnTo>
                  <a:lnTo>
                    <a:pt x="200" y="82"/>
                  </a:lnTo>
                  <a:lnTo>
                    <a:pt x="212" y="84"/>
                  </a:lnTo>
                  <a:lnTo>
                    <a:pt x="222" y="90"/>
                  </a:lnTo>
                  <a:lnTo>
                    <a:pt x="222" y="98"/>
                  </a:lnTo>
                  <a:lnTo>
                    <a:pt x="210" y="98"/>
                  </a:lnTo>
                  <a:lnTo>
                    <a:pt x="194" y="104"/>
                  </a:lnTo>
                  <a:lnTo>
                    <a:pt x="182" y="122"/>
                  </a:lnTo>
                  <a:lnTo>
                    <a:pt x="170" y="126"/>
                  </a:lnTo>
                  <a:lnTo>
                    <a:pt x="160" y="138"/>
                  </a:lnTo>
                  <a:lnTo>
                    <a:pt x="150" y="134"/>
                  </a:lnTo>
                  <a:lnTo>
                    <a:pt x="138" y="134"/>
                  </a:lnTo>
                  <a:lnTo>
                    <a:pt x="136" y="112"/>
                  </a:lnTo>
                  <a:lnTo>
                    <a:pt x="126" y="110"/>
                  </a:lnTo>
                  <a:lnTo>
                    <a:pt x="68" y="84"/>
                  </a:lnTo>
                  <a:lnTo>
                    <a:pt x="42" y="88"/>
                  </a:lnTo>
                  <a:lnTo>
                    <a:pt x="20" y="10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98" name="Freeform 114"/>
            <p:cNvSpPr>
              <a:spLocks/>
            </p:cNvSpPr>
            <p:nvPr/>
          </p:nvSpPr>
          <p:spPr bwMode="gray">
            <a:xfrm>
              <a:off x="5703888" y="3390900"/>
              <a:ext cx="139700" cy="92075"/>
            </a:xfrm>
            <a:custGeom>
              <a:avLst/>
              <a:gdLst>
                <a:gd name="T0" fmla="*/ 2147483647 w 118"/>
                <a:gd name="T1" fmla="*/ 2147483647 h 76"/>
                <a:gd name="T2" fmla="*/ 2147483647 w 118"/>
                <a:gd name="T3" fmla="*/ 2147483647 h 76"/>
                <a:gd name="T4" fmla="*/ 2147483647 w 118"/>
                <a:gd name="T5" fmla="*/ 2147483647 h 76"/>
                <a:gd name="T6" fmla="*/ 2147483647 w 118"/>
                <a:gd name="T7" fmla="*/ 0 h 76"/>
                <a:gd name="T8" fmla="*/ 2147483647 w 118"/>
                <a:gd name="T9" fmla="*/ 2147483647 h 76"/>
                <a:gd name="T10" fmla="*/ 2147483647 w 118"/>
                <a:gd name="T11" fmla="*/ 2147483647 h 76"/>
                <a:gd name="T12" fmla="*/ 2147483647 w 118"/>
                <a:gd name="T13" fmla="*/ 2147483647 h 76"/>
                <a:gd name="T14" fmla="*/ 2147483647 w 118"/>
                <a:gd name="T15" fmla="*/ 2147483647 h 76"/>
                <a:gd name="T16" fmla="*/ 2147483647 w 118"/>
                <a:gd name="T17" fmla="*/ 2147483647 h 76"/>
                <a:gd name="T18" fmla="*/ 2147483647 w 118"/>
                <a:gd name="T19" fmla="*/ 2147483647 h 76"/>
                <a:gd name="T20" fmla="*/ 2147483647 w 118"/>
                <a:gd name="T21" fmla="*/ 2147483647 h 76"/>
                <a:gd name="T22" fmla="*/ 2147483647 w 118"/>
                <a:gd name="T23" fmla="*/ 2147483647 h 76"/>
                <a:gd name="T24" fmla="*/ 2147483647 w 118"/>
                <a:gd name="T25" fmla="*/ 2147483647 h 76"/>
                <a:gd name="T26" fmla="*/ 2147483647 w 118"/>
                <a:gd name="T27" fmla="*/ 2147483647 h 76"/>
                <a:gd name="T28" fmla="*/ 2147483647 w 118"/>
                <a:gd name="T29" fmla="*/ 2147483647 h 76"/>
                <a:gd name="T30" fmla="*/ 2147483647 w 118"/>
                <a:gd name="T31" fmla="*/ 2147483647 h 76"/>
                <a:gd name="T32" fmla="*/ 2147483647 w 118"/>
                <a:gd name="T33" fmla="*/ 2147483647 h 76"/>
                <a:gd name="T34" fmla="*/ 2147483647 w 118"/>
                <a:gd name="T35" fmla="*/ 2147483647 h 76"/>
                <a:gd name="T36" fmla="*/ 2147483647 w 118"/>
                <a:gd name="T37" fmla="*/ 2147483647 h 76"/>
                <a:gd name="T38" fmla="*/ 2147483647 w 118"/>
                <a:gd name="T39" fmla="*/ 2147483647 h 76"/>
                <a:gd name="T40" fmla="*/ 2147483647 w 118"/>
                <a:gd name="T41" fmla="*/ 2147483647 h 76"/>
                <a:gd name="T42" fmla="*/ 2147483647 w 118"/>
                <a:gd name="T43" fmla="*/ 2147483647 h 76"/>
                <a:gd name="T44" fmla="*/ 2147483647 w 118"/>
                <a:gd name="T45" fmla="*/ 2147483647 h 76"/>
                <a:gd name="T46" fmla="*/ 2147483647 w 118"/>
                <a:gd name="T47" fmla="*/ 2147483647 h 76"/>
                <a:gd name="T48" fmla="*/ 2147483647 w 118"/>
                <a:gd name="T49" fmla="*/ 2147483647 h 76"/>
                <a:gd name="T50" fmla="*/ 2147483647 w 118"/>
                <a:gd name="T51" fmla="*/ 2147483647 h 76"/>
                <a:gd name="T52" fmla="*/ 2147483647 w 118"/>
                <a:gd name="T53" fmla="*/ 2147483647 h 76"/>
                <a:gd name="T54" fmla="*/ 2147483647 w 118"/>
                <a:gd name="T55" fmla="*/ 2147483647 h 76"/>
                <a:gd name="T56" fmla="*/ 2147483647 w 118"/>
                <a:gd name="T57" fmla="*/ 2147483647 h 76"/>
                <a:gd name="T58" fmla="*/ 2147483647 w 118"/>
                <a:gd name="T59" fmla="*/ 2147483647 h 76"/>
                <a:gd name="T60" fmla="*/ 2147483647 w 118"/>
                <a:gd name="T61" fmla="*/ 2147483647 h 76"/>
                <a:gd name="T62" fmla="*/ 2147483647 w 118"/>
                <a:gd name="T63" fmla="*/ 2147483647 h 76"/>
                <a:gd name="T64" fmla="*/ 0 w 118"/>
                <a:gd name="T65" fmla="*/ 2147483647 h 76"/>
                <a:gd name="T66" fmla="*/ 0 w 118"/>
                <a:gd name="T67" fmla="*/ 2147483647 h 76"/>
                <a:gd name="T68" fmla="*/ 2147483647 w 118"/>
                <a:gd name="T69" fmla="*/ 2147483647 h 76"/>
                <a:gd name="T70" fmla="*/ 2147483647 w 118"/>
                <a:gd name="T71" fmla="*/ 2147483647 h 76"/>
                <a:gd name="T72" fmla="*/ 2147483647 w 118"/>
                <a:gd name="T73" fmla="*/ 2147483647 h 7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18"/>
                <a:gd name="T112" fmla="*/ 0 h 76"/>
                <a:gd name="T113" fmla="*/ 118 w 118"/>
                <a:gd name="T114" fmla="*/ 76 h 7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18" h="76">
                  <a:moveTo>
                    <a:pt x="24" y="14"/>
                  </a:moveTo>
                  <a:lnTo>
                    <a:pt x="32" y="10"/>
                  </a:lnTo>
                  <a:lnTo>
                    <a:pt x="36" y="2"/>
                  </a:lnTo>
                  <a:lnTo>
                    <a:pt x="48" y="0"/>
                  </a:lnTo>
                  <a:lnTo>
                    <a:pt x="54" y="2"/>
                  </a:lnTo>
                  <a:lnTo>
                    <a:pt x="52" y="8"/>
                  </a:lnTo>
                  <a:lnTo>
                    <a:pt x="50" y="14"/>
                  </a:lnTo>
                  <a:lnTo>
                    <a:pt x="52" y="20"/>
                  </a:lnTo>
                  <a:lnTo>
                    <a:pt x="54" y="28"/>
                  </a:lnTo>
                  <a:lnTo>
                    <a:pt x="66" y="28"/>
                  </a:lnTo>
                  <a:lnTo>
                    <a:pt x="80" y="30"/>
                  </a:lnTo>
                  <a:lnTo>
                    <a:pt x="100" y="30"/>
                  </a:lnTo>
                  <a:lnTo>
                    <a:pt x="98" y="36"/>
                  </a:lnTo>
                  <a:lnTo>
                    <a:pt x="100" y="44"/>
                  </a:lnTo>
                  <a:lnTo>
                    <a:pt x="106" y="46"/>
                  </a:lnTo>
                  <a:lnTo>
                    <a:pt x="118" y="44"/>
                  </a:lnTo>
                  <a:lnTo>
                    <a:pt x="118" y="64"/>
                  </a:lnTo>
                  <a:lnTo>
                    <a:pt x="90" y="64"/>
                  </a:lnTo>
                  <a:lnTo>
                    <a:pt x="80" y="70"/>
                  </a:lnTo>
                  <a:lnTo>
                    <a:pt x="64" y="76"/>
                  </a:lnTo>
                  <a:lnTo>
                    <a:pt x="64" y="70"/>
                  </a:lnTo>
                  <a:lnTo>
                    <a:pt x="66" y="62"/>
                  </a:lnTo>
                  <a:lnTo>
                    <a:pt x="64" y="50"/>
                  </a:lnTo>
                  <a:lnTo>
                    <a:pt x="56" y="44"/>
                  </a:lnTo>
                  <a:lnTo>
                    <a:pt x="46" y="60"/>
                  </a:lnTo>
                  <a:lnTo>
                    <a:pt x="38" y="62"/>
                  </a:lnTo>
                  <a:lnTo>
                    <a:pt x="18" y="74"/>
                  </a:lnTo>
                  <a:lnTo>
                    <a:pt x="8" y="70"/>
                  </a:lnTo>
                  <a:lnTo>
                    <a:pt x="8" y="62"/>
                  </a:lnTo>
                  <a:lnTo>
                    <a:pt x="16" y="52"/>
                  </a:lnTo>
                  <a:lnTo>
                    <a:pt x="10" y="50"/>
                  </a:lnTo>
                  <a:lnTo>
                    <a:pt x="12" y="36"/>
                  </a:lnTo>
                  <a:lnTo>
                    <a:pt x="0" y="36"/>
                  </a:lnTo>
                  <a:lnTo>
                    <a:pt x="0" y="26"/>
                  </a:lnTo>
                  <a:lnTo>
                    <a:pt x="20" y="26"/>
                  </a:lnTo>
                  <a:lnTo>
                    <a:pt x="18" y="12"/>
                  </a:lnTo>
                  <a:lnTo>
                    <a:pt x="24" y="1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899" name="Freeform 115"/>
            <p:cNvSpPr>
              <a:spLocks/>
            </p:cNvSpPr>
            <p:nvPr/>
          </p:nvSpPr>
          <p:spPr bwMode="gray">
            <a:xfrm>
              <a:off x="5489575" y="3284538"/>
              <a:ext cx="315913" cy="190500"/>
            </a:xfrm>
            <a:custGeom>
              <a:avLst/>
              <a:gdLst>
                <a:gd name="T0" fmla="*/ 0 w 266"/>
                <a:gd name="T1" fmla="*/ 2147483647 h 158"/>
                <a:gd name="T2" fmla="*/ 0 w 266"/>
                <a:gd name="T3" fmla="*/ 2147483647 h 158"/>
                <a:gd name="T4" fmla="*/ 2147483647 w 266"/>
                <a:gd name="T5" fmla="*/ 2147483647 h 158"/>
                <a:gd name="T6" fmla="*/ 2147483647 w 266"/>
                <a:gd name="T7" fmla="*/ 0 h 158"/>
                <a:gd name="T8" fmla="*/ 2147483647 w 266"/>
                <a:gd name="T9" fmla="*/ 2147483647 h 158"/>
                <a:gd name="T10" fmla="*/ 2147483647 w 266"/>
                <a:gd name="T11" fmla="*/ 2147483647 h 158"/>
                <a:gd name="T12" fmla="*/ 2147483647 w 266"/>
                <a:gd name="T13" fmla="*/ 2147483647 h 158"/>
                <a:gd name="T14" fmla="*/ 2147483647 w 266"/>
                <a:gd name="T15" fmla="*/ 2147483647 h 158"/>
                <a:gd name="T16" fmla="*/ 2147483647 w 266"/>
                <a:gd name="T17" fmla="*/ 2147483647 h 158"/>
                <a:gd name="T18" fmla="*/ 2147483647 w 266"/>
                <a:gd name="T19" fmla="*/ 2147483647 h 158"/>
                <a:gd name="T20" fmla="*/ 2147483647 w 266"/>
                <a:gd name="T21" fmla="*/ 2147483647 h 158"/>
                <a:gd name="T22" fmla="*/ 2147483647 w 266"/>
                <a:gd name="T23" fmla="*/ 2147483647 h 158"/>
                <a:gd name="T24" fmla="*/ 2147483647 w 266"/>
                <a:gd name="T25" fmla="*/ 2147483647 h 158"/>
                <a:gd name="T26" fmla="*/ 2147483647 w 266"/>
                <a:gd name="T27" fmla="*/ 2147483647 h 158"/>
                <a:gd name="T28" fmla="*/ 2147483647 w 266"/>
                <a:gd name="T29" fmla="*/ 2147483647 h 158"/>
                <a:gd name="T30" fmla="*/ 2147483647 w 266"/>
                <a:gd name="T31" fmla="*/ 2147483647 h 158"/>
                <a:gd name="T32" fmla="*/ 2147483647 w 266"/>
                <a:gd name="T33" fmla="*/ 2147483647 h 158"/>
                <a:gd name="T34" fmla="*/ 2147483647 w 266"/>
                <a:gd name="T35" fmla="*/ 2147483647 h 158"/>
                <a:gd name="T36" fmla="*/ 2147483647 w 266"/>
                <a:gd name="T37" fmla="*/ 2147483647 h 158"/>
                <a:gd name="T38" fmla="*/ 2147483647 w 266"/>
                <a:gd name="T39" fmla="*/ 2147483647 h 158"/>
                <a:gd name="T40" fmla="*/ 2147483647 w 266"/>
                <a:gd name="T41" fmla="*/ 2147483647 h 158"/>
                <a:gd name="T42" fmla="*/ 2147483647 w 266"/>
                <a:gd name="T43" fmla="*/ 2147483647 h 158"/>
                <a:gd name="T44" fmla="*/ 2147483647 w 266"/>
                <a:gd name="T45" fmla="*/ 2147483647 h 158"/>
                <a:gd name="T46" fmla="*/ 2147483647 w 266"/>
                <a:gd name="T47" fmla="*/ 2147483647 h 158"/>
                <a:gd name="T48" fmla="*/ 2147483647 w 266"/>
                <a:gd name="T49" fmla="*/ 2147483647 h 158"/>
                <a:gd name="T50" fmla="*/ 2147483647 w 266"/>
                <a:gd name="T51" fmla="*/ 2147483647 h 158"/>
                <a:gd name="T52" fmla="*/ 2147483647 w 266"/>
                <a:gd name="T53" fmla="*/ 2147483647 h 158"/>
                <a:gd name="T54" fmla="*/ 2147483647 w 266"/>
                <a:gd name="T55" fmla="*/ 2147483647 h 158"/>
                <a:gd name="T56" fmla="*/ 2147483647 w 266"/>
                <a:gd name="T57" fmla="*/ 2147483647 h 158"/>
                <a:gd name="T58" fmla="*/ 2147483647 w 266"/>
                <a:gd name="T59" fmla="*/ 2147483647 h 158"/>
                <a:gd name="T60" fmla="*/ 2147483647 w 266"/>
                <a:gd name="T61" fmla="*/ 2147483647 h 158"/>
                <a:gd name="T62" fmla="*/ 2147483647 w 266"/>
                <a:gd name="T63" fmla="*/ 2147483647 h 158"/>
                <a:gd name="T64" fmla="*/ 2147483647 w 266"/>
                <a:gd name="T65" fmla="*/ 2147483647 h 158"/>
                <a:gd name="T66" fmla="*/ 2147483647 w 266"/>
                <a:gd name="T67" fmla="*/ 2147483647 h 158"/>
                <a:gd name="T68" fmla="*/ 2147483647 w 266"/>
                <a:gd name="T69" fmla="*/ 2147483647 h 158"/>
                <a:gd name="T70" fmla="*/ 2147483647 w 266"/>
                <a:gd name="T71" fmla="*/ 2147483647 h 158"/>
                <a:gd name="T72" fmla="*/ 2147483647 w 266"/>
                <a:gd name="T73" fmla="*/ 2147483647 h 158"/>
                <a:gd name="T74" fmla="*/ 2147483647 w 266"/>
                <a:gd name="T75" fmla="*/ 2147483647 h 158"/>
                <a:gd name="T76" fmla="*/ 2147483647 w 266"/>
                <a:gd name="T77" fmla="*/ 2147483647 h 158"/>
                <a:gd name="T78" fmla="*/ 2147483647 w 266"/>
                <a:gd name="T79" fmla="*/ 2147483647 h 158"/>
                <a:gd name="T80" fmla="*/ 2147483647 w 266"/>
                <a:gd name="T81" fmla="*/ 2147483647 h 158"/>
                <a:gd name="T82" fmla="*/ 2147483647 w 266"/>
                <a:gd name="T83" fmla="*/ 2147483647 h 158"/>
                <a:gd name="T84" fmla="*/ 2147483647 w 266"/>
                <a:gd name="T85" fmla="*/ 2147483647 h 158"/>
                <a:gd name="T86" fmla="*/ 2147483647 w 266"/>
                <a:gd name="T87" fmla="*/ 2147483647 h 158"/>
                <a:gd name="T88" fmla="*/ 2147483647 w 266"/>
                <a:gd name="T89" fmla="*/ 2147483647 h 158"/>
                <a:gd name="T90" fmla="*/ 2147483647 w 266"/>
                <a:gd name="T91" fmla="*/ 2147483647 h 158"/>
                <a:gd name="T92" fmla="*/ 2147483647 w 266"/>
                <a:gd name="T93" fmla="*/ 2147483647 h 158"/>
                <a:gd name="T94" fmla="*/ 2147483647 w 266"/>
                <a:gd name="T95" fmla="*/ 2147483647 h 158"/>
                <a:gd name="T96" fmla="*/ 2147483647 w 266"/>
                <a:gd name="T97" fmla="*/ 2147483647 h 158"/>
                <a:gd name="T98" fmla="*/ 2147483647 w 266"/>
                <a:gd name="T99" fmla="*/ 2147483647 h 158"/>
                <a:gd name="T100" fmla="*/ 2147483647 w 266"/>
                <a:gd name="T101" fmla="*/ 2147483647 h 158"/>
                <a:gd name="T102" fmla="*/ 2147483647 w 266"/>
                <a:gd name="T103" fmla="*/ 2147483647 h 158"/>
                <a:gd name="T104" fmla="*/ 2147483647 w 266"/>
                <a:gd name="T105" fmla="*/ 2147483647 h 158"/>
                <a:gd name="T106" fmla="*/ 2147483647 w 266"/>
                <a:gd name="T107" fmla="*/ 2147483647 h 158"/>
                <a:gd name="T108" fmla="*/ 2147483647 w 266"/>
                <a:gd name="T109" fmla="*/ 2147483647 h 158"/>
                <a:gd name="T110" fmla="*/ 2147483647 w 266"/>
                <a:gd name="T111" fmla="*/ 2147483647 h 158"/>
                <a:gd name="T112" fmla="*/ 2147483647 w 266"/>
                <a:gd name="T113" fmla="*/ 2147483647 h 158"/>
                <a:gd name="T114" fmla="*/ 2147483647 w 266"/>
                <a:gd name="T115" fmla="*/ 2147483647 h 158"/>
                <a:gd name="T116" fmla="*/ 0 w 266"/>
                <a:gd name="T117" fmla="*/ 2147483647 h 15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66"/>
                <a:gd name="T178" fmla="*/ 0 h 158"/>
                <a:gd name="T179" fmla="*/ 266 w 266"/>
                <a:gd name="T180" fmla="*/ 158 h 15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66" h="158">
                  <a:moveTo>
                    <a:pt x="0" y="82"/>
                  </a:moveTo>
                  <a:lnTo>
                    <a:pt x="0" y="8"/>
                  </a:lnTo>
                  <a:lnTo>
                    <a:pt x="18" y="4"/>
                  </a:lnTo>
                  <a:lnTo>
                    <a:pt x="46" y="0"/>
                  </a:lnTo>
                  <a:lnTo>
                    <a:pt x="54" y="6"/>
                  </a:lnTo>
                  <a:lnTo>
                    <a:pt x="70" y="16"/>
                  </a:lnTo>
                  <a:lnTo>
                    <a:pt x="80" y="20"/>
                  </a:lnTo>
                  <a:lnTo>
                    <a:pt x="94" y="38"/>
                  </a:lnTo>
                  <a:lnTo>
                    <a:pt x="132" y="36"/>
                  </a:lnTo>
                  <a:lnTo>
                    <a:pt x="140" y="34"/>
                  </a:lnTo>
                  <a:lnTo>
                    <a:pt x="158" y="52"/>
                  </a:lnTo>
                  <a:lnTo>
                    <a:pt x="158" y="60"/>
                  </a:lnTo>
                  <a:lnTo>
                    <a:pt x="168" y="68"/>
                  </a:lnTo>
                  <a:lnTo>
                    <a:pt x="170" y="84"/>
                  </a:lnTo>
                  <a:lnTo>
                    <a:pt x="188" y="82"/>
                  </a:lnTo>
                  <a:lnTo>
                    <a:pt x="192" y="84"/>
                  </a:lnTo>
                  <a:lnTo>
                    <a:pt x="192" y="94"/>
                  </a:lnTo>
                  <a:lnTo>
                    <a:pt x="200" y="94"/>
                  </a:lnTo>
                  <a:lnTo>
                    <a:pt x="202" y="84"/>
                  </a:lnTo>
                  <a:lnTo>
                    <a:pt x="214" y="74"/>
                  </a:lnTo>
                  <a:lnTo>
                    <a:pt x="234" y="62"/>
                  </a:lnTo>
                  <a:lnTo>
                    <a:pt x="230" y="72"/>
                  </a:lnTo>
                  <a:lnTo>
                    <a:pt x="228" y="76"/>
                  </a:lnTo>
                  <a:lnTo>
                    <a:pt x="236" y="80"/>
                  </a:lnTo>
                  <a:lnTo>
                    <a:pt x="248" y="76"/>
                  </a:lnTo>
                  <a:lnTo>
                    <a:pt x="258" y="82"/>
                  </a:lnTo>
                  <a:lnTo>
                    <a:pt x="266" y="90"/>
                  </a:lnTo>
                  <a:lnTo>
                    <a:pt x="258" y="98"/>
                  </a:lnTo>
                  <a:lnTo>
                    <a:pt x="248" y="102"/>
                  </a:lnTo>
                  <a:lnTo>
                    <a:pt x="236" y="102"/>
                  </a:lnTo>
                  <a:lnTo>
                    <a:pt x="232" y="98"/>
                  </a:lnTo>
                  <a:lnTo>
                    <a:pt x="234" y="90"/>
                  </a:lnTo>
                  <a:lnTo>
                    <a:pt x="228" y="88"/>
                  </a:lnTo>
                  <a:lnTo>
                    <a:pt x="216" y="90"/>
                  </a:lnTo>
                  <a:lnTo>
                    <a:pt x="212" y="98"/>
                  </a:lnTo>
                  <a:lnTo>
                    <a:pt x="204" y="102"/>
                  </a:lnTo>
                  <a:lnTo>
                    <a:pt x="198" y="100"/>
                  </a:lnTo>
                  <a:lnTo>
                    <a:pt x="200" y="114"/>
                  </a:lnTo>
                  <a:lnTo>
                    <a:pt x="180" y="114"/>
                  </a:lnTo>
                  <a:lnTo>
                    <a:pt x="180" y="124"/>
                  </a:lnTo>
                  <a:lnTo>
                    <a:pt x="192" y="124"/>
                  </a:lnTo>
                  <a:lnTo>
                    <a:pt x="190" y="138"/>
                  </a:lnTo>
                  <a:lnTo>
                    <a:pt x="196" y="140"/>
                  </a:lnTo>
                  <a:lnTo>
                    <a:pt x="188" y="150"/>
                  </a:lnTo>
                  <a:lnTo>
                    <a:pt x="188" y="158"/>
                  </a:lnTo>
                  <a:lnTo>
                    <a:pt x="168" y="152"/>
                  </a:lnTo>
                  <a:lnTo>
                    <a:pt x="168" y="144"/>
                  </a:lnTo>
                  <a:lnTo>
                    <a:pt x="158" y="138"/>
                  </a:lnTo>
                  <a:lnTo>
                    <a:pt x="146" y="136"/>
                  </a:lnTo>
                  <a:lnTo>
                    <a:pt x="104" y="108"/>
                  </a:lnTo>
                  <a:lnTo>
                    <a:pt x="90" y="82"/>
                  </a:lnTo>
                  <a:lnTo>
                    <a:pt x="64" y="82"/>
                  </a:lnTo>
                  <a:lnTo>
                    <a:pt x="64" y="66"/>
                  </a:lnTo>
                  <a:lnTo>
                    <a:pt x="62" y="62"/>
                  </a:lnTo>
                  <a:lnTo>
                    <a:pt x="48" y="60"/>
                  </a:lnTo>
                  <a:lnTo>
                    <a:pt x="42" y="54"/>
                  </a:lnTo>
                  <a:lnTo>
                    <a:pt x="14" y="68"/>
                  </a:lnTo>
                  <a:lnTo>
                    <a:pt x="14" y="80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00" name="Freeform 116"/>
            <p:cNvSpPr>
              <a:spLocks/>
            </p:cNvSpPr>
            <p:nvPr/>
          </p:nvSpPr>
          <p:spPr bwMode="gray">
            <a:xfrm>
              <a:off x="5759450" y="3335338"/>
              <a:ext cx="188913" cy="92075"/>
            </a:xfrm>
            <a:custGeom>
              <a:avLst/>
              <a:gdLst>
                <a:gd name="T0" fmla="*/ 2147483647 w 158"/>
                <a:gd name="T1" fmla="*/ 2147483647 h 76"/>
                <a:gd name="T2" fmla="*/ 2147483647 w 158"/>
                <a:gd name="T3" fmla="*/ 2147483647 h 76"/>
                <a:gd name="T4" fmla="*/ 2147483647 w 158"/>
                <a:gd name="T5" fmla="*/ 2147483647 h 76"/>
                <a:gd name="T6" fmla="*/ 2147483647 w 158"/>
                <a:gd name="T7" fmla="*/ 2147483647 h 76"/>
                <a:gd name="T8" fmla="*/ 2147483647 w 158"/>
                <a:gd name="T9" fmla="*/ 2147483647 h 76"/>
                <a:gd name="T10" fmla="*/ 2147483647 w 158"/>
                <a:gd name="T11" fmla="*/ 2147483647 h 76"/>
                <a:gd name="T12" fmla="*/ 2147483647 w 158"/>
                <a:gd name="T13" fmla="*/ 0 h 76"/>
                <a:gd name="T14" fmla="*/ 2147483647 w 158"/>
                <a:gd name="T15" fmla="*/ 2147483647 h 76"/>
                <a:gd name="T16" fmla="*/ 2147483647 w 158"/>
                <a:gd name="T17" fmla="*/ 2147483647 h 76"/>
                <a:gd name="T18" fmla="*/ 2147483647 w 158"/>
                <a:gd name="T19" fmla="*/ 2147483647 h 76"/>
                <a:gd name="T20" fmla="*/ 2147483647 w 158"/>
                <a:gd name="T21" fmla="*/ 2147483647 h 76"/>
                <a:gd name="T22" fmla="*/ 2147483647 w 158"/>
                <a:gd name="T23" fmla="*/ 2147483647 h 76"/>
                <a:gd name="T24" fmla="*/ 2147483647 w 158"/>
                <a:gd name="T25" fmla="*/ 2147483647 h 76"/>
                <a:gd name="T26" fmla="*/ 2147483647 w 158"/>
                <a:gd name="T27" fmla="*/ 2147483647 h 76"/>
                <a:gd name="T28" fmla="*/ 2147483647 w 158"/>
                <a:gd name="T29" fmla="*/ 2147483647 h 76"/>
                <a:gd name="T30" fmla="*/ 2147483647 w 158"/>
                <a:gd name="T31" fmla="*/ 2147483647 h 76"/>
                <a:gd name="T32" fmla="*/ 2147483647 w 158"/>
                <a:gd name="T33" fmla="*/ 2147483647 h 76"/>
                <a:gd name="T34" fmla="*/ 2147483647 w 158"/>
                <a:gd name="T35" fmla="*/ 2147483647 h 76"/>
                <a:gd name="T36" fmla="*/ 2147483647 w 158"/>
                <a:gd name="T37" fmla="*/ 2147483647 h 76"/>
                <a:gd name="T38" fmla="*/ 2147483647 w 158"/>
                <a:gd name="T39" fmla="*/ 2147483647 h 76"/>
                <a:gd name="T40" fmla="*/ 2147483647 w 158"/>
                <a:gd name="T41" fmla="*/ 2147483647 h 76"/>
                <a:gd name="T42" fmla="*/ 2147483647 w 158"/>
                <a:gd name="T43" fmla="*/ 2147483647 h 76"/>
                <a:gd name="T44" fmla="*/ 2147483647 w 158"/>
                <a:gd name="T45" fmla="*/ 2147483647 h 76"/>
                <a:gd name="T46" fmla="*/ 2147483647 w 158"/>
                <a:gd name="T47" fmla="*/ 2147483647 h 76"/>
                <a:gd name="T48" fmla="*/ 2147483647 w 158"/>
                <a:gd name="T49" fmla="*/ 2147483647 h 76"/>
                <a:gd name="T50" fmla="*/ 2147483647 w 158"/>
                <a:gd name="T51" fmla="*/ 2147483647 h 76"/>
                <a:gd name="T52" fmla="*/ 2147483647 w 158"/>
                <a:gd name="T53" fmla="*/ 2147483647 h 76"/>
                <a:gd name="T54" fmla="*/ 2147483647 w 158"/>
                <a:gd name="T55" fmla="*/ 2147483647 h 76"/>
                <a:gd name="T56" fmla="*/ 2147483647 w 158"/>
                <a:gd name="T57" fmla="*/ 2147483647 h 76"/>
                <a:gd name="T58" fmla="*/ 2147483647 w 158"/>
                <a:gd name="T59" fmla="*/ 2147483647 h 76"/>
                <a:gd name="T60" fmla="*/ 2147483647 w 158"/>
                <a:gd name="T61" fmla="*/ 2147483647 h 76"/>
                <a:gd name="T62" fmla="*/ 2147483647 w 158"/>
                <a:gd name="T63" fmla="*/ 2147483647 h 76"/>
                <a:gd name="T64" fmla="*/ 2147483647 w 158"/>
                <a:gd name="T65" fmla="*/ 2147483647 h 76"/>
                <a:gd name="T66" fmla="*/ 2147483647 w 158"/>
                <a:gd name="T67" fmla="*/ 2147483647 h 76"/>
                <a:gd name="T68" fmla="*/ 2147483647 w 158"/>
                <a:gd name="T69" fmla="*/ 2147483647 h 76"/>
                <a:gd name="T70" fmla="*/ 2147483647 w 158"/>
                <a:gd name="T71" fmla="*/ 2147483647 h 76"/>
                <a:gd name="T72" fmla="*/ 2147483647 w 158"/>
                <a:gd name="T73" fmla="*/ 2147483647 h 76"/>
                <a:gd name="T74" fmla="*/ 2147483647 w 158"/>
                <a:gd name="T75" fmla="*/ 2147483647 h 76"/>
                <a:gd name="T76" fmla="*/ 2147483647 w 158"/>
                <a:gd name="T77" fmla="*/ 2147483647 h 76"/>
                <a:gd name="T78" fmla="*/ 0 w 158"/>
                <a:gd name="T79" fmla="*/ 2147483647 h 76"/>
                <a:gd name="T80" fmla="*/ 2147483647 w 158"/>
                <a:gd name="T81" fmla="*/ 2147483647 h 76"/>
                <a:gd name="T82" fmla="*/ 2147483647 w 158"/>
                <a:gd name="T83" fmla="*/ 2147483647 h 7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58"/>
                <a:gd name="T127" fmla="*/ 0 h 76"/>
                <a:gd name="T128" fmla="*/ 158 w 158"/>
                <a:gd name="T129" fmla="*/ 76 h 7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58" h="76">
                  <a:moveTo>
                    <a:pt x="6" y="20"/>
                  </a:moveTo>
                  <a:lnTo>
                    <a:pt x="16" y="8"/>
                  </a:lnTo>
                  <a:lnTo>
                    <a:pt x="28" y="8"/>
                  </a:lnTo>
                  <a:lnTo>
                    <a:pt x="32" y="12"/>
                  </a:lnTo>
                  <a:lnTo>
                    <a:pt x="50" y="10"/>
                  </a:lnTo>
                  <a:lnTo>
                    <a:pt x="52" y="4"/>
                  </a:lnTo>
                  <a:lnTo>
                    <a:pt x="60" y="0"/>
                  </a:lnTo>
                  <a:lnTo>
                    <a:pt x="72" y="2"/>
                  </a:lnTo>
                  <a:lnTo>
                    <a:pt x="74" y="10"/>
                  </a:lnTo>
                  <a:lnTo>
                    <a:pt x="134" y="8"/>
                  </a:lnTo>
                  <a:lnTo>
                    <a:pt x="140" y="14"/>
                  </a:lnTo>
                  <a:lnTo>
                    <a:pt x="148" y="16"/>
                  </a:lnTo>
                  <a:lnTo>
                    <a:pt x="158" y="20"/>
                  </a:lnTo>
                  <a:lnTo>
                    <a:pt x="152" y="24"/>
                  </a:lnTo>
                  <a:lnTo>
                    <a:pt x="138" y="32"/>
                  </a:lnTo>
                  <a:lnTo>
                    <a:pt x="126" y="36"/>
                  </a:lnTo>
                  <a:lnTo>
                    <a:pt x="122" y="44"/>
                  </a:lnTo>
                  <a:lnTo>
                    <a:pt x="102" y="44"/>
                  </a:lnTo>
                  <a:lnTo>
                    <a:pt x="98" y="54"/>
                  </a:lnTo>
                  <a:lnTo>
                    <a:pt x="82" y="58"/>
                  </a:lnTo>
                  <a:lnTo>
                    <a:pt x="82" y="52"/>
                  </a:lnTo>
                  <a:lnTo>
                    <a:pt x="68" y="52"/>
                  </a:lnTo>
                  <a:lnTo>
                    <a:pt x="66" y="58"/>
                  </a:lnTo>
                  <a:lnTo>
                    <a:pt x="58" y="62"/>
                  </a:lnTo>
                  <a:lnTo>
                    <a:pt x="54" y="66"/>
                  </a:lnTo>
                  <a:lnTo>
                    <a:pt x="52" y="76"/>
                  </a:lnTo>
                  <a:lnTo>
                    <a:pt x="32" y="76"/>
                  </a:lnTo>
                  <a:lnTo>
                    <a:pt x="18" y="74"/>
                  </a:lnTo>
                  <a:lnTo>
                    <a:pt x="6" y="74"/>
                  </a:lnTo>
                  <a:lnTo>
                    <a:pt x="4" y="66"/>
                  </a:lnTo>
                  <a:lnTo>
                    <a:pt x="2" y="60"/>
                  </a:lnTo>
                  <a:lnTo>
                    <a:pt x="4" y="56"/>
                  </a:lnTo>
                  <a:lnTo>
                    <a:pt x="8" y="60"/>
                  </a:lnTo>
                  <a:lnTo>
                    <a:pt x="20" y="60"/>
                  </a:lnTo>
                  <a:lnTo>
                    <a:pt x="30" y="56"/>
                  </a:lnTo>
                  <a:lnTo>
                    <a:pt x="38" y="48"/>
                  </a:lnTo>
                  <a:lnTo>
                    <a:pt x="30" y="40"/>
                  </a:lnTo>
                  <a:lnTo>
                    <a:pt x="20" y="34"/>
                  </a:lnTo>
                  <a:lnTo>
                    <a:pt x="8" y="38"/>
                  </a:lnTo>
                  <a:lnTo>
                    <a:pt x="0" y="34"/>
                  </a:lnTo>
                  <a:lnTo>
                    <a:pt x="2" y="30"/>
                  </a:lnTo>
                  <a:lnTo>
                    <a:pt x="6" y="2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01" name="Freeform 117"/>
            <p:cNvSpPr>
              <a:spLocks/>
            </p:cNvSpPr>
            <p:nvPr/>
          </p:nvSpPr>
          <p:spPr bwMode="gray">
            <a:xfrm>
              <a:off x="5311775" y="3036888"/>
              <a:ext cx="760413" cy="361950"/>
            </a:xfrm>
            <a:custGeom>
              <a:avLst/>
              <a:gdLst>
                <a:gd name="T0" fmla="*/ 2147483647 w 640"/>
                <a:gd name="T1" fmla="*/ 2147483647 h 298"/>
                <a:gd name="T2" fmla="*/ 2147483647 w 640"/>
                <a:gd name="T3" fmla="*/ 2147483647 h 298"/>
                <a:gd name="T4" fmla="*/ 2147483647 w 640"/>
                <a:gd name="T5" fmla="*/ 2147483647 h 298"/>
                <a:gd name="T6" fmla="*/ 2147483647 w 640"/>
                <a:gd name="T7" fmla="*/ 2147483647 h 298"/>
                <a:gd name="T8" fmla="*/ 2147483647 w 640"/>
                <a:gd name="T9" fmla="*/ 2147483647 h 298"/>
                <a:gd name="T10" fmla="*/ 2147483647 w 640"/>
                <a:gd name="T11" fmla="*/ 2147483647 h 298"/>
                <a:gd name="T12" fmla="*/ 2147483647 w 640"/>
                <a:gd name="T13" fmla="*/ 2147483647 h 298"/>
                <a:gd name="T14" fmla="*/ 2147483647 w 640"/>
                <a:gd name="T15" fmla="*/ 2147483647 h 298"/>
                <a:gd name="T16" fmla="*/ 2147483647 w 640"/>
                <a:gd name="T17" fmla="*/ 2147483647 h 298"/>
                <a:gd name="T18" fmla="*/ 0 w 640"/>
                <a:gd name="T19" fmla="*/ 2147483647 h 298"/>
                <a:gd name="T20" fmla="*/ 2147483647 w 640"/>
                <a:gd name="T21" fmla="*/ 2147483647 h 298"/>
                <a:gd name="T22" fmla="*/ 2147483647 w 640"/>
                <a:gd name="T23" fmla="*/ 2147483647 h 298"/>
                <a:gd name="T24" fmla="*/ 2147483647 w 640"/>
                <a:gd name="T25" fmla="*/ 2147483647 h 298"/>
                <a:gd name="T26" fmla="*/ 2147483647 w 640"/>
                <a:gd name="T27" fmla="*/ 2147483647 h 298"/>
                <a:gd name="T28" fmla="*/ 2147483647 w 640"/>
                <a:gd name="T29" fmla="*/ 2147483647 h 298"/>
                <a:gd name="T30" fmla="*/ 2147483647 w 640"/>
                <a:gd name="T31" fmla="*/ 2147483647 h 298"/>
                <a:gd name="T32" fmla="*/ 2147483647 w 640"/>
                <a:gd name="T33" fmla="*/ 2147483647 h 298"/>
                <a:gd name="T34" fmla="*/ 2147483647 w 640"/>
                <a:gd name="T35" fmla="*/ 2147483647 h 298"/>
                <a:gd name="T36" fmla="*/ 2147483647 w 640"/>
                <a:gd name="T37" fmla="*/ 2147483647 h 298"/>
                <a:gd name="T38" fmla="*/ 2147483647 w 640"/>
                <a:gd name="T39" fmla="*/ 2147483647 h 298"/>
                <a:gd name="T40" fmla="*/ 2147483647 w 640"/>
                <a:gd name="T41" fmla="*/ 2147483647 h 298"/>
                <a:gd name="T42" fmla="*/ 2147483647 w 640"/>
                <a:gd name="T43" fmla="*/ 2147483647 h 298"/>
                <a:gd name="T44" fmla="*/ 2147483647 w 640"/>
                <a:gd name="T45" fmla="*/ 2147483647 h 298"/>
                <a:gd name="T46" fmla="*/ 2147483647 w 640"/>
                <a:gd name="T47" fmla="*/ 0 h 298"/>
                <a:gd name="T48" fmla="*/ 2147483647 w 640"/>
                <a:gd name="T49" fmla="*/ 2147483647 h 298"/>
                <a:gd name="T50" fmla="*/ 2147483647 w 640"/>
                <a:gd name="T51" fmla="*/ 2147483647 h 298"/>
                <a:gd name="T52" fmla="*/ 2147483647 w 640"/>
                <a:gd name="T53" fmla="*/ 2147483647 h 298"/>
                <a:gd name="T54" fmla="*/ 2147483647 w 640"/>
                <a:gd name="T55" fmla="*/ 2147483647 h 298"/>
                <a:gd name="T56" fmla="*/ 2147483647 w 640"/>
                <a:gd name="T57" fmla="*/ 2147483647 h 298"/>
                <a:gd name="T58" fmla="*/ 2147483647 w 640"/>
                <a:gd name="T59" fmla="*/ 2147483647 h 298"/>
                <a:gd name="T60" fmla="*/ 2147483647 w 640"/>
                <a:gd name="T61" fmla="*/ 2147483647 h 298"/>
                <a:gd name="T62" fmla="*/ 2147483647 w 640"/>
                <a:gd name="T63" fmla="*/ 2147483647 h 298"/>
                <a:gd name="T64" fmla="*/ 2147483647 w 640"/>
                <a:gd name="T65" fmla="*/ 2147483647 h 298"/>
                <a:gd name="T66" fmla="*/ 2147483647 w 640"/>
                <a:gd name="T67" fmla="*/ 2147483647 h 298"/>
                <a:gd name="T68" fmla="*/ 2147483647 w 640"/>
                <a:gd name="T69" fmla="*/ 2147483647 h 298"/>
                <a:gd name="T70" fmla="*/ 2147483647 w 640"/>
                <a:gd name="T71" fmla="*/ 2147483647 h 298"/>
                <a:gd name="T72" fmla="*/ 2147483647 w 640"/>
                <a:gd name="T73" fmla="*/ 2147483647 h 298"/>
                <a:gd name="T74" fmla="*/ 2147483647 w 640"/>
                <a:gd name="T75" fmla="*/ 2147483647 h 298"/>
                <a:gd name="T76" fmla="*/ 2147483647 w 640"/>
                <a:gd name="T77" fmla="*/ 2147483647 h 298"/>
                <a:gd name="T78" fmla="*/ 2147483647 w 640"/>
                <a:gd name="T79" fmla="*/ 2147483647 h 298"/>
                <a:gd name="T80" fmla="*/ 2147483647 w 640"/>
                <a:gd name="T81" fmla="*/ 2147483647 h 298"/>
                <a:gd name="T82" fmla="*/ 2147483647 w 640"/>
                <a:gd name="T83" fmla="*/ 2147483647 h 298"/>
                <a:gd name="T84" fmla="*/ 2147483647 w 640"/>
                <a:gd name="T85" fmla="*/ 2147483647 h 298"/>
                <a:gd name="T86" fmla="*/ 2147483647 w 640"/>
                <a:gd name="T87" fmla="*/ 2147483647 h 298"/>
                <a:gd name="T88" fmla="*/ 2147483647 w 640"/>
                <a:gd name="T89" fmla="*/ 2147483647 h 298"/>
                <a:gd name="T90" fmla="*/ 2147483647 w 640"/>
                <a:gd name="T91" fmla="*/ 2147483647 h 298"/>
                <a:gd name="T92" fmla="*/ 2147483647 w 640"/>
                <a:gd name="T93" fmla="*/ 2147483647 h 298"/>
                <a:gd name="T94" fmla="*/ 2147483647 w 640"/>
                <a:gd name="T95" fmla="*/ 2147483647 h 298"/>
                <a:gd name="T96" fmla="*/ 2147483647 w 640"/>
                <a:gd name="T97" fmla="*/ 2147483647 h 298"/>
                <a:gd name="T98" fmla="*/ 2147483647 w 640"/>
                <a:gd name="T99" fmla="*/ 2147483647 h 298"/>
                <a:gd name="T100" fmla="*/ 2147483647 w 640"/>
                <a:gd name="T101" fmla="*/ 2147483647 h 298"/>
                <a:gd name="T102" fmla="*/ 2147483647 w 640"/>
                <a:gd name="T103" fmla="*/ 2147483647 h 298"/>
                <a:gd name="T104" fmla="*/ 2147483647 w 640"/>
                <a:gd name="T105" fmla="*/ 2147483647 h 298"/>
                <a:gd name="T106" fmla="*/ 2147483647 w 640"/>
                <a:gd name="T107" fmla="*/ 2147483647 h 298"/>
                <a:gd name="T108" fmla="*/ 2147483647 w 640"/>
                <a:gd name="T109" fmla="*/ 2147483647 h 298"/>
                <a:gd name="T110" fmla="*/ 2147483647 w 640"/>
                <a:gd name="T111" fmla="*/ 2147483647 h 298"/>
                <a:gd name="T112" fmla="*/ 2147483647 w 640"/>
                <a:gd name="T113" fmla="*/ 2147483647 h 298"/>
                <a:gd name="T114" fmla="*/ 2147483647 w 640"/>
                <a:gd name="T115" fmla="*/ 2147483647 h 298"/>
                <a:gd name="T116" fmla="*/ 2147483647 w 640"/>
                <a:gd name="T117" fmla="*/ 2147483647 h 298"/>
                <a:gd name="T118" fmla="*/ 2147483647 w 640"/>
                <a:gd name="T119" fmla="*/ 2147483647 h 29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640"/>
                <a:gd name="T181" fmla="*/ 0 h 298"/>
                <a:gd name="T182" fmla="*/ 640 w 640"/>
                <a:gd name="T183" fmla="*/ 298 h 29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640" h="298">
                  <a:moveTo>
                    <a:pt x="108" y="262"/>
                  </a:moveTo>
                  <a:lnTo>
                    <a:pt x="94" y="260"/>
                  </a:lnTo>
                  <a:lnTo>
                    <a:pt x="78" y="248"/>
                  </a:lnTo>
                  <a:lnTo>
                    <a:pt x="66" y="234"/>
                  </a:lnTo>
                  <a:lnTo>
                    <a:pt x="58" y="224"/>
                  </a:lnTo>
                  <a:lnTo>
                    <a:pt x="64" y="220"/>
                  </a:lnTo>
                  <a:lnTo>
                    <a:pt x="78" y="222"/>
                  </a:lnTo>
                  <a:lnTo>
                    <a:pt x="76" y="210"/>
                  </a:lnTo>
                  <a:lnTo>
                    <a:pt x="82" y="206"/>
                  </a:lnTo>
                  <a:lnTo>
                    <a:pt x="94" y="208"/>
                  </a:lnTo>
                  <a:lnTo>
                    <a:pt x="104" y="210"/>
                  </a:lnTo>
                  <a:lnTo>
                    <a:pt x="108" y="196"/>
                  </a:lnTo>
                  <a:lnTo>
                    <a:pt x="100" y="176"/>
                  </a:lnTo>
                  <a:lnTo>
                    <a:pt x="82" y="176"/>
                  </a:lnTo>
                  <a:lnTo>
                    <a:pt x="64" y="178"/>
                  </a:lnTo>
                  <a:lnTo>
                    <a:pt x="40" y="188"/>
                  </a:lnTo>
                  <a:lnTo>
                    <a:pt x="36" y="174"/>
                  </a:lnTo>
                  <a:lnTo>
                    <a:pt x="24" y="158"/>
                  </a:lnTo>
                  <a:lnTo>
                    <a:pt x="10" y="154"/>
                  </a:lnTo>
                  <a:lnTo>
                    <a:pt x="0" y="140"/>
                  </a:lnTo>
                  <a:lnTo>
                    <a:pt x="6" y="116"/>
                  </a:lnTo>
                  <a:lnTo>
                    <a:pt x="18" y="102"/>
                  </a:lnTo>
                  <a:lnTo>
                    <a:pt x="26" y="118"/>
                  </a:lnTo>
                  <a:lnTo>
                    <a:pt x="34" y="114"/>
                  </a:lnTo>
                  <a:lnTo>
                    <a:pt x="36" y="102"/>
                  </a:lnTo>
                  <a:lnTo>
                    <a:pt x="60" y="84"/>
                  </a:lnTo>
                  <a:lnTo>
                    <a:pt x="76" y="78"/>
                  </a:lnTo>
                  <a:lnTo>
                    <a:pt x="112" y="84"/>
                  </a:lnTo>
                  <a:lnTo>
                    <a:pt x="136" y="98"/>
                  </a:lnTo>
                  <a:lnTo>
                    <a:pt x="150" y="100"/>
                  </a:lnTo>
                  <a:lnTo>
                    <a:pt x="172" y="90"/>
                  </a:lnTo>
                  <a:lnTo>
                    <a:pt x="190" y="90"/>
                  </a:lnTo>
                  <a:lnTo>
                    <a:pt x="200" y="100"/>
                  </a:lnTo>
                  <a:lnTo>
                    <a:pt x="226" y="98"/>
                  </a:lnTo>
                  <a:lnTo>
                    <a:pt x="238" y="88"/>
                  </a:lnTo>
                  <a:lnTo>
                    <a:pt x="228" y="80"/>
                  </a:lnTo>
                  <a:lnTo>
                    <a:pt x="214" y="76"/>
                  </a:lnTo>
                  <a:lnTo>
                    <a:pt x="220" y="68"/>
                  </a:lnTo>
                  <a:lnTo>
                    <a:pt x="226" y="62"/>
                  </a:lnTo>
                  <a:lnTo>
                    <a:pt x="228" y="52"/>
                  </a:lnTo>
                  <a:lnTo>
                    <a:pt x="240" y="48"/>
                  </a:lnTo>
                  <a:lnTo>
                    <a:pt x="236" y="40"/>
                  </a:lnTo>
                  <a:lnTo>
                    <a:pt x="232" y="30"/>
                  </a:lnTo>
                  <a:lnTo>
                    <a:pt x="254" y="28"/>
                  </a:lnTo>
                  <a:lnTo>
                    <a:pt x="280" y="20"/>
                  </a:lnTo>
                  <a:lnTo>
                    <a:pt x="316" y="10"/>
                  </a:lnTo>
                  <a:lnTo>
                    <a:pt x="346" y="4"/>
                  </a:lnTo>
                  <a:lnTo>
                    <a:pt x="364" y="0"/>
                  </a:lnTo>
                  <a:lnTo>
                    <a:pt x="384" y="2"/>
                  </a:lnTo>
                  <a:lnTo>
                    <a:pt x="388" y="16"/>
                  </a:lnTo>
                  <a:lnTo>
                    <a:pt x="398" y="22"/>
                  </a:lnTo>
                  <a:lnTo>
                    <a:pt x="418" y="28"/>
                  </a:lnTo>
                  <a:lnTo>
                    <a:pt x="438" y="38"/>
                  </a:lnTo>
                  <a:lnTo>
                    <a:pt x="456" y="28"/>
                  </a:lnTo>
                  <a:lnTo>
                    <a:pt x="478" y="22"/>
                  </a:lnTo>
                  <a:lnTo>
                    <a:pt x="480" y="32"/>
                  </a:lnTo>
                  <a:lnTo>
                    <a:pt x="498" y="44"/>
                  </a:lnTo>
                  <a:lnTo>
                    <a:pt x="510" y="60"/>
                  </a:lnTo>
                  <a:lnTo>
                    <a:pt x="524" y="84"/>
                  </a:lnTo>
                  <a:lnTo>
                    <a:pt x="528" y="92"/>
                  </a:lnTo>
                  <a:lnTo>
                    <a:pt x="536" y="92"/>
                  </a:lnTo>
                  <a:lnTo>
                    <a:pt x="540" y="84"/>
                  </a:lnTo>
                  <a:lnTo>
                    <a:pt x="550" y="90"/>
                  </a:lnTo>
                  <a:lnTo>
                    <a:pt x="562" y="96"/>
                  </a:lnTo>
                  <a:lnTo>
                    <a:pt x="572" y="94"/>
                  </a:lnTo>
                  <a:lnTo>
                    <a:pt x="590" y="92"/>
                  </a:lnTo>
                  <a:lnTo>
                    <a:pt x="600" y="106"/>
                  </a:lnTo>
                  <a:lnTo>
                    <a:pt x="614" y="116"/>
                  </a:lnTo>
                  <a:lnTo>
                    <a:pt x="636" y="118"/>
                  </a:lnTo>
                  <a:lnTo>
                    <a:pt x="640" y="132"/>
                  </a:lnTo>
                  <a:lnTo>
                    <a:pt x="638" y="142"/>
                  </a:lnTo>
                  <a:lnTo>
                    <a:pt x="626" y="142"/>
                  </a:lnTo>
                  <a:lnTo>
                    <a:pt x="622" y="156"/>
                  </a:lnTo>
                  <a:lnTo>
                    <a:pt x="622" y="170"/>
                  </a:lnTo>
                  <a:lnTo>
                    <a:pt x="612" y="172"/>
                  </a:lnTo>
                  <a:lnTo>
                    <a:pt x="596" y="172"/>
                  </a:lnTo>
                  <a:lnTo>
                    <a:pt x="580" y="170"/>
                  </a:lnTo>
                  <a:lnTo>
                    <a:pt x="570" y="194"/>
                  </a:lnTo>
                  <a:lnTo>
                    <a:pt x="566" y="208"/>
                  </a:lnTo>
                  <a:lnTo>
                    <a:pt x="548" y="208"/>
                  </a:lnTo>
                  <a:lnTo>
                    <a:pt x="536" y="214"/>
                  </a:lnTo>
                  <a:lnTo>
                    <a:pt x="538" y="232"/>
                  </a:lnTo>
                  <a:lnTo>
                    <a:pt x="544" y="248"/>
                  </a:lnTo>
                  <a:lnTo>
                    <a:pt x="536" y="256"/>
                  </a:lnTo>
                  <a:lnTo>
                    <a:pt x="536" y="266"/>
                  </a:lnTo>
                  <a:lnTo>
                    <a:pt x="526" y="262"/>
                  </a:lnTo>
                  <a:lnTo>
                    <a:pt x="518" y="260"/>
                  </a:lnTo>
                  <a:lnTo>
                    <a:pt x="512" y="254"/>
                  </a:lnTo>
                  <a:lnTo>
                    <a:pt x="452" y="256"/>
                  </a:lnTo>
                  <a:lnTo>
                    <a:pt x="450" y="248"/>
                  </a:lnTo>
                  <a:lnTo>
                    <a:pt x="438" y="246"/>
                  </a:lnTo>
                  <a:lnTo>
                    <a:pt x="430" y="250"/>
                  </a:lnTo>
                  <a:lnTo>
                    <a:pt x="428" y="256"/>
                  </a:lnTo>
                  <a:lnTo>
                    <a:pt x="410" y="258"/>
                  </a:lnTo>
                  <a:lnTo>
                    <a:pt x="406" y="254"/>
                  </a:lnTo>
                  <a:lnTo>
                    <a:pt x="394" y="254"/>
                  </a:lnTo>
                  <a:lnTo>
                    <a:pt x="384" y="266"/>
                  </a:lnTo>
                  <a:lnTo>
                    <a:pt x="376" y="270"/>
                  </a:lnTo>
                  <a:lnTo>
                    <a:pt x="352" y="288"/>
                  </a:lnTo>
                  <a:lnTo>
                    <a:pt x="350" y="298"/>
                  </a:lnTo>
                  <a:lnTo>
                    <a:pt x="342" y="298"/>
                  </a:lnTo>
                  <a:lnTo>
                    <a:pt x="342" y="288"/>
                  </a:lnTo>
                  <a:lnTo>
                    <a:pt x="338" y="286"/>
                  </a:lnTo>
                  <a:lnTo>
                    <a:pt x="320" y="288"/>
                  </a:lnTo>
                  <a:lnTo>
                    <a:pt x="318" y="272"/>
                  </a:lnTo>
                  <a:lnTo>
                    <a:pt x="308" y="264"/>
                  </a:lnTo>
                  <a:lnTo>
                    <a:pt x="308" y="256"/>
                  </a:lnTo>
                  <a:lnTo>
                    <a:pt x="290" y="238"/>
                  </a:lnTo>
                  <a:lnTo>
                    <a:pt x="282" y="240"/>
                  </a:lnTo>
                  <a:lnTo>
                    <a:pt x="244" y="242"/>
                  </a:lnTo>
                  <a:lnTo>
                    <a:pt x="230" y="224"/>
                  </a:lnTo>
                  <a:lnTo>
                    <a:pt x="204" y="210"/>
                  </a:lnTo>
                  <a:lnTo>
                    <a:pt x="196" y="204"/>
                  </a:lnTo>
                  <a:lnTo>
                    <a:pt x="168" y="208"/>
                  </a:lnTo>
                  <a:lnTo>
                    <a:pt x="150" y="212"/>
                  </a:lnTo>
                  <a:lnTo>
                    <a:pt x="150" y="286"/>
                  </a:lnTo>
                  <a:lnTo>
                    <a:pt x="140" y="284"/>
                  </a:lnTo>
                  <a:lnTo>
                    <a:pt x="132" y="270"/>
                  </a:lnTo>
                  <a:lnTo>
                    <a:pt x="120" y="262"/>
                  </a:lnTo>
                  <a:lnTo>
                    <a:pt x="114" y="264"/>
                  </a:lnTo>
                  <a:lnTo>
                    <a:pt x="108" y="26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02" name="Freeform 118"/>
            <p:cNvSpPr>
              <a:spLocks/>
            </p:cNvSpPr>
            <p:nvPr/>
          </p:nvSpPr>
          <p:spPr bwMode="gray">
            <a:xfrm>
              <a:off x="4951413" y="2305050"/>
              <a:ext cx="3060700" cy="1077913"/>
            </a:xfrm>
            <a:custGeom>
              <a:avLst/>
              <a:gdLst>
                <a:gd name="T0" fmla="*/ 2147483647 w 2580"/>
                <a:gd name="T1" fmla="*/ 2147483647 h 890"/>
                <a:gd name="T2" fmla="*/ 2147483647 w 2580"/>
                <a:gd name="T3" fmla="*/ 2147483647 h 890"/>
                <a:gd name="T4" fmla="*/ 2147483647 w 2580"/>
                <a:gd name="T5" fmla="*/ 2147483647 h 890"/>
                <a:gd name="T6" fmla="*/ 2147483647 w 2580"/>
                <a:gd name="T7" fmla="*/ 2147483647 h 890"/>
                <a:gd name="T8" fmla="*/ 2147483647 w 2580"/>
                <a:gd name="T9" fmla="*/ 2147483647 h 890"/>
                <a:gd name="T10" fmla="*/ 2147483647 w 2580"/>
                <a:gd name="T11" fmla="*/ 2147483647 h 890"/>
                <a:gd name="T12" fmla="*/ 2147483647 w 2580"/>
                <a:gd name="T13" fmla="*/ 2147483647 h 890"/>
                <a:gd name="T14" fmla="*/ 2147483647 w 2580"/>
                <a:gd name="T15" fmla="*/ 2147483647 h 890"/>
                <a:gd name="T16" fmla="*/ 2147483647 w 2580"/>
                <a:gd name="T17" fmla="*/ 2147483647 h 890"/>
                <a:gd name="T18" fmla="*/ 2147483647 w 2580"/>
                <a:gd name="T19" fmla="*/ 2147483647 h 890"/>
                <a:gd name="T20" fmla="*/ 2147483647 w 2580"/>
                <a:gd name="T21" fmla="*/ 2147483647 h 890"/>
                <a:gd name="T22" fmla="*/ 2147483647 w 2580"/>
                <a:gd name="T23" fmla="*/ 2147483647 h 890"/>
                <a:gd name="T24" fmla="*/ 2147483647 w 2580"/>
                <a:gd name="T25" fmla="*/ 2147483647 h 890"/>
                <a:gd name="T26" fmla="*/ 2147483647 w 2580"/>
                <a:gd name="T27" fmla="*/ 2147483647 h 890"/>
                <a:gd name="T28" fmla="*/ 2147483647 w 2580"/>
                <a:gd name="T29" fmla="*/ 2147483647 h 890"/>
                <a:gd name="T30" fmla="*/ 2147483647 w 2580"/>
                <a:gd name="T31" fmla="*/ 2147483647 h 890"/>
                <a:gd name="T32" fmla="*/ 2147483647 w 2580"/>
                <a:gd name="T33" fmla="*/ 2147483647 h 890"/>
                <a:gd name="T34" fmla="*/ 2147483647 w 2580"/>
                <a:gd name="T35" fmla="*/ 2147483647 h 890"/>
                <a:gd name="T36" fmla="*/ 2147483647 w 2580"/>
                <a:gd name="T37" fmla="*/ 2147483647 h 890"/>
                <a:gd name="T38" fmla="*/ 2147483647 w 2580"/>
                <a:gd name="T39" fmla="*/ 2147483647 h 890"/>
                <a:gd name="T40" fmla="*/ 2147483647 w 2580"/>
                <a:gd name="T41" fmla="*/ 2147483647 h 890"/>
                <a:gd name="T42" fmla="*/ 2147483647 w 2580"/>
                <a:gd name="T43" fmla="*/ 2147483647 h 890"/>
                <a:gd name="T44" fmla="*/ 2147483647 w 2580"/>
                <a:gd name="T45" fmla="*/ 2147483647 h 890"/>
                <a:gd name="T46" fmla="*/ 2147483647 w 2580"/>
                <a:gd name="T47" fmla="*/ 2147483647 h 890"/>
                <a:gd name="T48" fmla="*/ 2147483647 w 2580"/>
                <a:gd name="T49" fmla="*/ 2147483647 h 890"/>
                <a:gd name="T50" fmla="*/ 2147483647 w 2580"/>
                <a:gd name="T51" fmla="*/ 2147483647 h 890"/>
                <a:gd name="T52" fmla="*/ 2147483647 w 2580"/>
                <a:gd name="T53" fmla="*/ 2147483647 h 890"/>
                <a:gd name="T54" fmla="*/ 2147483647 w 2580"/>
                <a:gd name="T55" fmla="*/ 2147483647 h 890"/>
                <a:gd name="T56" fmla="*/ 2147483647 w 2580"/>
                <a:gd name="T57" fmla="*/ 2147483647 h 890"/>
                <a:gd name="T58" fmla="*/ 2147483647 w 2580"/>
                <a:gd name="T59" fmla="*/ 2147483647 h 890"/>
                <a:gd name="T60" fmla="*/ 2147483647 w 2580"/>
                <a:gd name="T61" fmla="*/ 2147483647 h 890"/>
                <a:gd name="T62" fmla="*/ 2147483647 w 2580"/>
                <a:gd name="T63" fmla="*/ 2147483647 h 890"/>
                <a:gd name="T64" fmla="*/ 2147483647 w 2580"/>
                <a:gd name="T65" fmla="*/ 2147483647 h 890"/>
                <a:gd name="T66" fmla="*/ 2147483647 w 2580"/>
                <a:gd name="T67" fmla="*/ 2147483647 h 890"/>
                <a:gd name="T68" fmla="*/ 2147483647 w 2580"/>
                <a:gd name="T69" fmla="*/ 2147483647 h 890"/>
                <a:gd name="T70" fmla="*/ 2147483647 w 2580"/>
                <a:gd name="T71" fmla="*/ 2147483647 h 890"/>
                <a:gd name="T72" fmla="*/ 2147483647 w 2580"/>
                <a:gd name="T73" fmla="*/ 2147483647 h 890"/>
                <a:gd name="T74" fmla="*/ 2147483647 w 2580"/>
                <a:gd name="T75" fmla="*/ 2147483647 h 890"/>
                <a:gd name="T76" fmla="*/ 2147483647 w 2580"/>
                <a:gd name="T77" fmla="*/ 2147483647 h 890"/>
                <a:gd name="T78" fmla="*/ 2147483647 w 2580"/>
                <a:gd name="T79" fmla="*/ 2147483647 h 890"/>
                <a:gd name="T80" fmla="*/ 2147483647 w 2580"/>
                <a:gd name="T81" fmla="*/ 2147483647 h 890"/>
                <a:gd name="T82" fmla="*/ 2147483647 w 2580"/>
                <a:gd name="T83" fmla="*/ 2147483647 h 890"/>
                <a:gd name="T84" fmla="*/ 2147483647 w 2580"/>
                <a:gd name="T85" fmla="*/ 2147483647 h 890"/>
                <a:gd name="T86" fmla="*/ 2147483647 w 2580"/>
                <a:gd name="T87" fmla="*/ 2147483647 h 890"/>
                <a:gd name="T88" fmla="*/ 2147483647 w 2580"/>
                <a:gd name="T89" fmla="*/ 2147483647 h 890"/>
                <a:gd name="T90" fmla="*/ 2147483647 w 2580"/>
                <a:gd name="T91" fmla="*/ 2147483647 h 890"/>
                <a:gd name="T92" fmla="*/ 2147483647 w 2580"/>
                <a:gd name="T93" fmla="*/ 2147483647 h 890"/>
                <a:gd name="T94" fmla="*/ 2147483647 w 2580"/>
                <a:gd name="T95" fmla="*/ 2147483647 h 890"/>
                <a:gd name="T96" fmla="*/ 2147483647 w 2580"/>
                <a:gd name="T97" fmla="*/ 2147483647 h 890"/>
                <a:gd name="T98" fmla="*/ 2147483647 w 2580"/>
                <a:gd name="T99" fmla="*/ 2147483647 h 890"/>
                <a:gd name="T100" fmla="*/ 2147483647 w 2580"/>
                <a:gd name="T101" fmla="*/ 2147483647 h 890"/>
                <a:gd name="T102" fmla="*/ 2147483647 w 2580"/>
                <a:gd name="T103" fmla="*/ 2147483647 h 890"/>
                <a:gd name="T104" fmla="*/ 2147483647 w 2580"/>
                <a:gd name="T105" fmla="*/ 2147483647 h 890"/>
                <a:gd name="T106" fmla="*/ 2147483647 w 2580"/>
                <a:gd name="T107" fmla="*/ 2147483647 h 890"/>
                <a:gd name="T108" fmla="*/ 2147483647 w 2580"/>
                <a:gd name="T109" fmla="*/ 2147483647 h 890"/>
                <a:gd name="T110" fmla="*/ 2147483647 w 2580"/>
                <a:gd name="T111" fmla="*/ 2147483647 h 890"/>
                <a:gd name="T112" fmla="*/ 2147483647 w 2580"/>
                <a:gd name="T113" fmla="*/ 2147483647 h 890"/>
                <a:gd name="T114" fmla="*/ 2147483647 w 2580"/>
                <a:gd name="T115" fmla="*/ 2147483647 h 890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580"/>
                <a:gd name="T175" fmla="*/ 0 h 890"/>
                <a:gd name="T176" fmla="*/ 2580 w 2580"/>
                <a:gd name="T177" fmla="*/ 890 h 890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580" h="890">
                  <a:moveTo>
                    <a:pt x="344" y="792"/>
                  </a:moveTo>
                  <a:lnTo>
                    <a:pt x="328" y="804"/>
                  </a:lnTo>
                  <a:lnTo>
                    <a:pt x="318" y="810"/>
                  </a:lnTo>
                  <a:lnTo>
                    <a:pt x="314" y="818"/>
                  </a:lnTo>
                  <a:lnTo>
                    <a:pt x="306" y="828"/>
                  </a:lnTo>
                  <a:lnTo>
                    <a:pt x="314" y="834"/>
                  </a:lnTo>
                  <a:lnTo>
                    <a:pt x="320" y="844"/>
                  </a:lnTo>
                  <a:lnTo>
                    <a:pt x="322" y="862"/>
                  </a:lnTo>
                  <a:lnTo>
                    <a:pt x="336" y="878"/>
                  </a:lnTo>
                  <a:lnTo>
                    <a:pt x="326" y="888"/>
                  </a:lnTo>
                  <a:lnTo>
                    <a:pt x="322" y="890"/>
                  </a:lnTo>
                  <a:lnTo>
                    <a:pt x="306" y="878"/>
                  </a:lnTo>
                  <a:lnTo>
                    <a:pt x="300" y="876"/>
                  </a:lnTo>
                  <a:lnTo>
                    <a:pt x="290" y="866"/>
                  </a:lnTo>
                  <a:lnTo>
                    <a:pt x="280" y="860"/>
                  </a:lnTo>
                  <a:lnTo>
                    <a:pt x="270" y="862"/>
                  </a:lnTo>
                  <a:lnTo>
                    <a:pt x="264" y="862"/>
                  </a:lnTo>
                  <a:lnTo>
                    <a:pt x="254" y="858"/>
                  </a:lnTo>
                  <a:lnTo>
                    <a:pt x="240" y="850"/>
                  </a:lnTo>
                  <a:lnTo>
                    <a:pt x="232" y="850"/>
                  </a:lnTo>
                  <a:lnTo>
                    <a:pt x="222" y="852"/>
                  </a:lnTo>
                  <a:lnTo>
                    <a:pt x="210" y="844"/>
                  </a:lnTo>
                  <a:lnTo>
                    <a:pt x="198" y="846"/>
                  </a:lnTo>
                  <a:lnTo>
                    <a:pt x="172" y="828"/>
                  </a:lnTo>
                  <a:lnTo>
                    <a:pt x="158" y="822"/>
                  </a:lnTo>
                  <a:lnTo>
                    <a:pt x="162" y="808"/>
                  </a:lnTo>
                  <a:lnTo>
                    <a:pt x="174" y="796"/>
                  </a:lnTo>
                  <a:lnTo>
                    <a:pt x="172" y="786"/>
                  </a:lnTo>
                  <a:lnTo>
                    <a:pt x="188" y="776"/>
                  </a:lnTo>
                  <a:lnTo>
                    <a:pt x="170" y="774"/>
                  </a:lnTo>
                  <a:lnTo>
                    <a:pt x="172" y="766"/>
                  </a:lnTo>
                  <a:lnTo>
                    <a:pt x="182" y="762"/>
                  </a:lnTo>
                  <a:lnTo>
                    <a:pt x="198" y="758"/>
                  </a:lnTo>
                  <a:lnTo>
                    <a:pt x="200" y="726"/>
                  </a:lnTo>
                  <a:lnTo>
                    <a:pt x="184" y="716"/>
                  </a:lnTo>
                  <a:lnTo>
                    <a:pt x="164" y="716"/>
                  </a:lnTo>
                  <a:lnTo>
                    <a:pt x="162" y="710"/>
                  </a:lnTo>
                  <a:lnTo>
                    <a:pt x="130" y="708"/>
                  </a:lnTo>
                  <a:lnTo>
                    <a:pt x="126" y="694"/>
                  </a:lnTo>
                  <a:lnTo>
                    <a:pt x="108" y="690"/>
                  </a:lnTo>
                  <a:lnTo>
                    <a:pt x="110" y="678"/>
                  </a:lnTo>
                  <a:lnTo>
                    <a:pt x="106" y="668"/>
                  </a:lnTo>
                  <a:lnTo>
                    <a:pt x="82" y="668"/>
                  </a:lnTo>
                  <a:lnTo>
                    <a:pt x="78" y="672"/>
                  </a:lnTo>
                  <a:lnTo>
                    <a:pt x="72" y="674"/>
                  </a:lnTo>
                  <a:lnTo>
                    <a:pt x="64" y="670"/>
                  </a:lnTo>
                  <a:lnTo>
                    <a:pt x="64" y="650"/>
                  </a:lnTo>
                  <a:lnTo>
                    <a:pt x="82" y="650"/>
                  </a:lnTo>
                  <a:lnTo>
                    <a:pt x="84" y="648"/>
                  </a:lnTo>
                  <a:lnTo>
                    <a:pt x="56" y="618"/>
                  </a:lnTo>
                  <a:lnTo>
                    <a:pt x="52" y="596"/>
                  </a:lnTo>
                  <a:lnTo>
                    <a:pt x="32" y="594"/>
                  </a:lnTo>
                  <a:lnTo>
                    <a:pt x="32" y="588"/>
                  </a:lnTo>
                  <a:lnTo>
                    <a:pt x="14" y="584"/>
                  </a:lnTo>
                  <a:lnTo>
                    <a:pt x="10" y="578"/>
                  </a:lnTo>
                  <a:lnTo>
                    <a:pt x="6" y="562"/>
                  </a:lnTo>
                  <a:lnTo>
                    <a:pt x="0" y="550"/>
                  </a:lnTo>
                  <a:lnTo>
                    <a:pt x="2" y="538"/>
                  </a:lnTo>
                  <a:lnTo>
                    <a:pt x="2" y="522"/>
                  </a:lnTo>
                  <a:lnTo>
                    <a:pt x="8" y="510"/>
                  </a:lnTo>
                  <a:lnTo>
                    <a:pt x="26" y="496"/>
                  </a:lnTo>
                  <a:lnTo>
                    <a:pt x="40" y="494"/>
                  </a:lnTo>
                  <a:lnTo>
                    <a:pt x="22" y="486"/>
                  </a:lnTo>
                  <a:lnTo>
                    <a:pt x="12" y="474"/>
                  </a:lnTo>
                  <a:lnTo>
                    <a:pt x="56" y="438"/>
                  </a:lnTo>
                  <a:lnTo>
                    <a:pt x="64" y="424"/>
                  </a:lnTo>
                  <a:lnTo>
                    <a:pt x="40" y="406"/>
                  </a:lnTo>
                  <a:lnTo>
                    <a:pt x="50" y="396"/>
                  </a:lnTo>
                  <a:lnTo>
                    <a:pt x="42" y="382"/>
                  </a:lnTo>
                  <a:lnTo>
                    <a:pt x="32" y="372"/>
                  </a:lnTo>
                  <a:lnTo>
                    <a:pt x="40" y="352"/>
                  </a:lnTo>
                  <a:lnTo>
                    <a:pt x="34" y="336"/>
                  </a:lnTo>
                  <a:lnTo>
                    <a:pt x="24" y="318"/>
                  </a:lnTo>
                  <a:lnTo>
                    <a:pt x="40" y="302"/>
                  </a:lnTo>
                  <a:lnTo>
                    <a:pt x="16" y="288"/>
                  </a:lnTo>
                  <a:lnTo>
                    <a:pt x="20" y="266"/>
                  </a:lnTo>
                  <a:lnTo>
                    <a:pt x="30" y="256"/>
                  </a:lnTo>
                  <a:lnTo>
                    <a:pt x="40" y="254"/>
                  </a:lnTo>
                  <a:lnTo>
                    <a:pt x="40" y="248"/>
                  </a:lnTo>
                  <a:lnTo>
                    <a:pt x="62" y="244"/>
                  </a:lnTo>
                  <a:lnTo>
                    <a:pt x="80" y="244"/>
                  </a:lnTo>
                  <a:lnTo>
                    <a:pt x="86" y="254"/>
                  </a:lnTo>
                  <a:lnTo>
                    <a:pt x="96" y="258"/>
                  </a:lnTo>
                  <a:lnTo>
                    <a:pt x="134" y="260"/>
                  </a:lnTo>
                  <a:lnTo>
                    <a:pt x="162" y="274"/>
                  </a:lnTo>
                  <a:lnTo>
                    <a:pt x="188" y="290"/>
                  </a:lnTo>
                  <a:lnTo>
                    <a:pt x="218" y="306"/>
                  </a:lnTo>
                  <a:lnTo>
                    <a:pt x="220" y="324"/>
                  </a:lnTo>
                  <a:lnTo>
                    <a:pt x="202" y="340"/>
                  </a:lnTo>
                  <a:lnTo>
                    <a:pt x="172" y="348"/>
                  </a:lnTo>
                  <a:lnTo>
                    <a:pt x="146" y="338"/>
                  </a:lnTo>
                  <a:lnTo>
                    <a:pt x="116" y="332"/>
                  </a:lnTo>
                  <a:lnTo>
                    <a:pt x="94" y="324"/>
                  </a:lnTo>
                  <a:lnTo>
                    <a:pt x="76" y="316"/>
                  </a:lnTo>
                  <a:lnTo>
                    <a:pt x="90" y="334"/>
                  </a:lnTo>
                  <a:lnTo>
                    <a:pt x="106" y="342"/>
                  </a:lnTo>
                  <a:lnTo>
                    <a:pt x="114" y="348"/>
                  </a:lnTo>
                  <a:lnTo>
                    <a:pt x="116" y="360"/>
                  </a:lnTo>
                  <a:lnTo>
                    <a:pt x="122" y="386"/>
                  </a:lnTo>
                  <a:lnTo>
                    <a:pt x="132" y="388"/>
                  </a:lnTo>
                  <a:lnTo>
                    <a:pt x="148" y="402"/>
                  </a:lnTo>
                  <a:lnTo>
                    <a:pt x="168" y="402"/>
                  </a:lnTo>
                  <a:lnTo>
                    <a:pt x="170" y="392"/>
                  </a:lnTo>
                  <a:lnTo>
                    <a:pt x="158" y="388"/>
                  </a:lnTo>
                  <a:lnTo>
                    <a:pt x="148" y="376"/>
                  </a:lnTo>
                  <a:lnTo>
                    <a:pt x="156" y="366"/>
                  </a:lnTo>
                  <a:lnTo>
                    <a:pt x="168" y="376"/>
                  </a:lnTo>
                  <a:lnTo>
                    <a:pt x="180" y="380"/>
                  </a:lnTo>
                  <a:lnTo>
                    <a:pt x="206" y="386"/>
                  </a:lnTo>
                  <a:lnTo>
                    <a:pt x="206" y="376"/>
                  </a:lnTo>
                  <a:lnTo>
                    <a:pt x="196" y="364"/>
                  </a:lnTo>
                  <a:lnTo>
                    <a:pt x="208" y="352"/>
                  </a:lnTo>
                  <a:lnTo>
                    <a:pt x="226" y="342"/>
                  </a:lnTo>
                  <a:lnTo>
                    <a:pt x="236" y="334"/>
                  </a:lnTo>
                  <a:lnTo>
                    <a:pt x="264" y="342"/>
                  </a:lnTo>
                  <a:lnTo>
                    <a:pt x="270" y="318"/>
                  </a:lnTo>
                  <a:lnTo>
                    <a:pt x="262" y="310"/>
                  </a:lnTo>
                  <a:lnTo>
                    <a:pt x="266" y="288"/>
                  </a:lnTo>
                  <a:lnTo>
                    <a:pt x="258" y="280"/>
                  </a:lnTo>
                  <a:lnTo>
                    <a:pt x="292" y="278"/>
                  </a:lnTo>
                  <a:lnTo>
                    <a:pt x="304" y="292"/>
                  </a:lnTo>
                  <a:lnTo>
                    <a:pt x="304" y="300"/>
                  </a:lnTo>
                  <a:lnTo>
                    <a:pt x="288" y="300"/>
                  </a:lnTo>
                  <a:lnTo>
                    <a:pt x="278" y="310"/>
                  </a:lnTo>
                  <a:lnTo>
                    <a:pt x="294" y="324"/>
                  </a:lnTo>
                  <a:lnTo>
                    <a:pt x="318" y="326"/>
                  </a:lnTo>
                  <a:lnTo>
                    <a:pt x="328" y="302"/>
                  </a:lnTo>
                  <a:lnTo>
                    <a:pt x="386" y="280"/>
                  </a:lnTo>
                  <a:lnTo>
                    <a:pt x="396" y="282"/>
                  </a:lnTo>
                  <a:lnTo>
                    <a:pt x="408" y="270"/>
                  </a:lnTo>
                  <a:lnTo>
                    <a:pt x="420" y="266"/>
                  </a:lnTo>
                  <a:lnTo>
                    <a:pt x="416" y="284"/>
                  </a:lnTo>
                  <a:lnTo>
                    <a:pt x="436" y="284"/>
                  </a:lnTo>
                  <a:lnTo>
                    <a:pt x="440" y="276"/>
                  </a:lnTo>
                  <a:lnTo>
                    <a:pt x="476" y="278"/>
                  </a:lnTo>
                  <a:lnTo>
                    <a:pt x="500" y="264"/>
                  </a:lnTo>
                  <a:lnTo>
                    <a:pt x="504" y="274"/>
                  </a:lnTo>
                  <a:lnTo>
                    <a:pt x="502" y="282"/>
                  </a:lnTo>
                  <a:lnTo>
                    <a:pt x="512" y="282"/>
                  </a:lnTo>
                  <a:lnTo>
                    <a:pt x="516" y="274"/>
                  </a:lnTo>
                  <a:lnTo>
                    <a:pt x="532" y="264"/>
                  </a:lnTo>
                  <a:lnTo>
                    <a:pt x="520" y="248"/>
                  </a:lnTo>
                  <a:lnTo>
                    <a:pt x="498" y="240"/>
                  </a:lnTo>
                  <a:lnTo>
                    <a:pt x="498" y="226"/>
                  </a:lnTo>
                  <a:lnTo>
                    <a:pt x="506" y="224"/>
                  </a:lnTo>
                  <a:lnTo>
                    <a:pt x="526" y="242"/>
                  </a:lnTo>
                  <a:lnTo>
                    <a:pt x="558" y="244"/>
                  </a:lnTo>
                  <a:lnTo>
                    <a:pt x="592" y="256"/>
                  </a:lnTo>
                  <a:lnTo>
                    <a:pt x="620" y="268"/>
                  </a:lnTo>
                  <a:lnTo>
                    <a:pt x="650" y="284"/>
                  </a:lnTo>
                  <a:lnTo>
                    <a:pt x="658" y="270"/>
                  </a:lnTo>
                  <a:lnTo>
                    <a:pt x="644" y="256"/>
                  </a:lnTo>
                  <a:lnTo>
                    <a:pt x="626" y="246"/>
                  </a:lnTo>
                  <a:lnTo>
                    <a:pt x="626" y="236"/>
                  </a:lnTo>
                  <a:lnTo>
                    <a:pt x="634" y="216"/>
                  </a:lnTo>
                  <a:lnTo>
                    <a:pt x="624" y="210"/>
                  </a:lnTo>
                  <a:lnTo>
                    <a:pt x="626" y="204"/>
                  </a:lnTo>
                  <a:lnTo>
                    <a:pt x="650" y="186"/>
                  </a:lnTo>
                  <a:lnTo>
                    <a:pt x="666" y="154"/>
                  </a:lnTo>
                  <a:lnTo>
                    <a:pt x="716" y="158"/>
                  </a:lnTo>
                  <a:lnTo>
                    <a:pt x="720" y="164"/>
                  </a:lnTo>
                  <a:lnTo>
                    <a:pt x="716" y="182"/>
                  </a:lnTo>
                  <a:lnTo>
                    <a:pt x="706" y="198"/>
                  </a:lnTo>
                  <a:lnTo>
                    <a:pt x="716" y="206"/>
                  </a:lnTo>
                  <a:lnTo>
                    <a:pt x="720" y="224"/>
                  </a:lnTo>
                  <a:lnTo>
                    <a:pt x="716" y="268"/>
                  </a:lnTo>
                  <a:lnTo>
                    <a:pt x="732" y="280"/>
                  </a:lnTo>
                  <a:lnTo>
                    <a:pt x="724" y="298"/>
                  </a:lnTo>
                  <a:lnTo>
                    <a:pt x="696" y="322"/>
                  </a:lnTo>
                  <a:lnTo>
                    <a:pt x="682" y="328"/>
                  </a:lnTo>
                  <a:lnTo>
                    <a:pt x="666" y="324"/>
                  </a:lnTo>
                  <a:lnTo>
                    <a:pt x="658" y="328"/>
                  </a:lnTo>
                  <a:lnTo>
                    <a:pt x="670" y="336"/>
                  </a:lnTo>
                  <a:lnTo>
                    <a:pt x="688" y="340"/>
                  </a:lnTo>
                  <a:lnTo>
                    <a:pt x="706" y="342"/>
                  </a:lnTo>
                  <a:lnTo>
                    <a:pt x="726" y="326"/>
                  </a:lnTo>
                  <a:lnTo>
                    <a:pt x="754" y="298"/>
                  </a:lnTo>
                  <a:lnTo>
                    <a:pt x="746" y="282"/>
                  </a:lnTo>
                  <a:lnTo>
                    <a:pt x="756" y="266"/>
                  </a:lnTo>
                  <a:lnTo>
                    <a:pt x="778" y="270"/>
                  </a:lnTo>
                  <a:lnTo>
                    <a:pt x="788" y="280"/>
                  </a:lnTo>
                  <a:lnTo>
                    <a:pt x="792" y="296"/>
                  </a:lnTo>
                  <a:lnTo>
                    <a:pt x="806" y="284"/>
                  </a:lnTo>
                  <a:lnTo>
                    <a:pt x="798" y="268"/>
                  </a:lnTo>
                  <a:lnTo>
                    <a:pt x="778" y="262"/>
                  </a:lnTo>
                  <a:lnTo>
                    <a:pt x="736" y="260"/>
                  </a:lnTo>
                  <a:lnTo>
                    <a:pt x="736" y="240"/>
                  </a:lnTo>
                  <a:lnTo>
                    <a:pt x="744" y="220"/>
                  </a:lnTo>
                  <a:lnTo>
                    <a:pt x="734" y="204"/>
                  </a:lnTo>
                  <a:lnTo>
                    <a:pt x="728" y="192"/>
                  </a:lnTo>
                  <a:lnTo>
                    <a:pt x="740" y="180"/>
                  </a:lnTo>
                  <a:lnTo>
                    <a:pt x="754" y="174"/>
                  </a:lnTo>
                  <a:lnTo>
                    <a:pt x="756" y="158"/>
                  </a:lnTo>
                  <a:lnTo>
                    <a:pt x="764" y="158"/>
                  </a:lnTo>
                  <a:lnTo>
                    <a:pt x="766" y="176"/>
                  </a:lnTo>
                  <a:lnTo>
                    <a:pt x="760" y="190"/>
                  </a:lnTo>
                  <a:lnTo>
                    <a:pt x="764" y="200"/>
                  </a:lnTo>
                  <a:lnTo>
                    <a:pt x="780" y="204"/>
                  </a:lnTo>
                  <a:lnTo>
                    <a:pt x="804" y="210"/>
                  </a:lnTo>
                  <a:lnTo>
                    <a:pt x="816" y="210"/>
                  </a:lnTo>
                  <a:lnTo>
                    <a:pt x="802" y="200"/>
                  </a:lnTo>
                  <a:lnTo>
                    <a:pt x="782" y="194"/>
                  </a:lnTo>
                  <a:lnTo>
                    <a:pt x="774" y="182"/>
                  </a:lnTo>
                  <a:lnTo>
                    <a:pt x="786" y="178"/>
                  </a:lnTo>
                  <a:lnTo>
                    <a:pt x="806" y="182"/>
                  </a:lnTo>
                  <a:lnTo>
                    <a:pt x="792" y="166"/>
                  </a:lnTo>
                  <a:lnTo>
                    <a:pt x="798" y="162"/>
                  </a:lnTo>
                  <a:lnTo>
                    <a:pt x="832" y="172"/>
                  </a:lnTo>
                  <a:lnTo>
                    <a:pt x="852" y="188"/>
                  </a:lnTo>
                  <a:lnTo>
                    <a:pt x="880" y="188"/>
                  </a:lnTo>
                  <a:lnTo>
                    <a:pt x="866" y="174"/>
                  </a:lnTo>
                  <a:lnTo>
                    <a:pt x="848" y="160"/>
                  </a:lnTo>
                  <a:lnTo>
                    <a:pt x="842" y="138"/>
                  </a:lnTo>
                  <a:lnTo>
                    <a:pt x="854" y="130"/>
                  </a:lnTo>
                  <a:lnTo>
                    <a:pt x="900" y="128"/>
                  </a:lnTo>
                  <a:lnTo>
                    <a:pt x="946" y="120"/>
                  </a:lnTo>
                  <a:lnTo>
                    <a:pt x="934" y="98"/>
                  </a:lnTo>
                  <a:lnTo>
                    <a:pt x="972" y="80"/>
                  </a:lnTo>
                  <a:lnTo>
                    <a:pt x="1056" y="52"/>
                  </a:lnTo>
                  <a:lnTo>
                    <a:pt x="1092" y="48"/>
                  </a:lnTo>
                  <a:lnTo>
                    <a:pt x="1126" y="52"/>
                  </a:lnTo>
                  <a:lnTo>
                    <a:pt x="1176" y="36"/>
                  </a:lnTo>
                  <a:lnTo>
                    <a:pt x="1172" y="20"/>
                  </a:lnTo>
                  <a:lnTo>
                    <a:pt x="1196" y="0"/>
                  </a:lnTo>
                  <a:lnTo>
                    <a:pt x="1230" y="2"/>
                  </a:lnTo>
                  <a:lnTo>
                    <a:pt x="1248" y="8"/>
                  </a:lnTo>
                  <a:lnTo>
                    <a:pt x="1226" y="20"/>
                  </a:lnTo>
                  <a:lnTo>
                    <a:pt x="1268" y="22"/>
                  </a:lnTo>
                  <a:lnTo>
                    <a:pt x="1260" y="36"/>
                  </a:lnTo>
                  <a:lnTo>
                    <a:pt x="1336" y="34"/>
                  </a:lnTo>
                  <a:lnTo>
                    <a:pt x="1364" y="52"/>
                  </a:lnTo>
                  <a:lnTo>
                    <a:pt x="1368" y="64"/>
                  </a:lnTo>
                  <a:lnTo>
                    <a:pt x="1360" y="84"/>
                  </a:lnTo>
                  <a:lnTo>
                    <a:pt x="1326" y="102"/>
                  </a:lnTo>
                  <a:lnTo>
                    <a:pt x="1290" y="122"/>
                  </a:lnTo>
                  <a:lnTo>
                    <a:pt x="1240" y="150"/>
                  </a:lnTo>
                  <a:lnTo>
                    <a:pt x="1244" y="154"/>
                  </a:lnTo>
                  <a:lnTo>
                    <a:pt x="1266" y="146"/>
                  </a:lnTo>
                  <a:lnTo>
                    <a:pt x="1308" y="134"/>
                  </a:lnTo>
                  <a:lnTo>
                    <a:pt x="1306" y="126"/>
                  </a:lnTo>
                  <a:lnTo>
                    <a:pt x="1316" y="116"/>
                  </a:lnTo>
                  <a:lnTo>
                    <a:pt x="1332" y="112"/>
                  </a:lnTo>
                  <a:lnTo>
                    <a:pt x="1336" y="122"/>
                  </a:lnTo>
                  <a:lnTo>
                    <a:pt x="1348" y="126"/>
                  </a:lnTo>
                  <a:lnTo>
                    <a:pt x="1366" y="138"/>
                  </a:lnTo>
                  <a:lnTo>
                    <a:pt x="1376" y="132"/>
                  </a:lnTo>
                  <a:lnTo>
                    <a:pt x="1450" y="134"/>
                  </a:lnTo>
                  <a:lnTo>
                    <a:pt x="1450" y="144"/>
                  </a:lnTo>
                  <a:lnTo>
                    <a:pt x="1522" y="152"/>
                  </a:lnTo>
                  <a:lnTo>
                    <a:pt x="1530" y="126"/>
                  </a:lnTo>
                  <a:lnTo>
                    <a:pt x="1544" y="128"/>
                  </a:lnTo>
                  <a:lnTo>
                    <a:pt x="1564" y="138"/>
                  </a:lnTo>
                  <a:lnTo>
                    <a:pt x="1596" y="136"/>
                  </a:lnTo>
                  <a:lnTo>
                    <a:pt x="1614" y="156"/>
                  </a:lnTo>
                  <a:lnTo>
                    <a:pt x="1618" y="174"/>
                  </a:lnTo>
                  <a:lnTo>
                    <a:pt x="1606" y="182"/>
                  </a:lnTo>
                  <a:lnTo>
                    <a:pt x="1628" y="208"/>
                  </a:lnTo>
                  <a:lnTo>
                    <a:pt x="1650" y="214"/>
                  </a:lnTo>
                  <a:lnTo>
                    <a:pt x="1670" y="184"/>
                  </a:lnTo>
                  <a:lnTo>
                    <a:pt x="1696" y="198"/>
                  </a:lnTo>
                  <a:lnTo>
                    <a:pt x="1720" y="190"/>
                  </a:lnTo>
                  <a:lnTo>
                    <a:pt x="1746" y="200"/>
                  </a:lnTo>
                  <a:lnTo>
                    <a:pt x="1768" y="192"/>
                  </a:lnTo>
                  <a:lnTo>
                    <a:pt x="1784" y="184"/>
                  </a:lnTo>
                  <a:lnTo>
                    <a:pt x="1782" y="166"/>
                  </a:lnTo>
                  <a:lnTo>
                    <a:pt x="1804" y="158"/>
                  </a:lnTo>
                  <a:lnTo>
                    <a:pt x="1872" y="162"/>
                  </a:lnTo>
                  <a:lnTo>
                    <a:pt x="1884" y="172"/>
                  </a:lnTo>
                  <a:lnTo>
                    <a:pt x="1890" y="176"/>
                  </a:lnTo>
                  <a:lnTo>
                    <a:pt x="1926" y="172"/>
                  </a:lnTo>
                  <a:lnTo>
                    <a:pt x="1942" y="180"/>
                  </a:lnTo>
                  <a:lnTo>
                    <a:pt x="1934" y="190"/>
                  </a:lnTo>
                  <a:lnTo>
                    <a:pt x="1948" y="196"/>
                  </a:lnTo>
                  <a:lnTo>
                    <a:pt x="1978" y="208"/>
                  </a:lnTo>
                  <a:lnTo>
                    <a:pt x="2030" y="210"/>
                  </a:lnTo>
                  <a:lnTo>
                    <a:pt x="2084" y="212"/>
                  </a:lnTo>
                  <a:lnTo>
                    <a:pt x="2106" y="224"/>
                  </a:lnTo>
                  <a:lnTo>
                    <a:pt x="2104" y="238"/>
                  </a:lnTo>
                  <a:lnTo>
                    <a:pt x="2108" y="246"/>
                  </a:lnTo>
                  <a:lnTo>
                    <a:pt x="2126" y="252"/>
                  </a:lnTo>
                  <a:lnTo>
                    <a:pt x="2140" y="246"/>
                  </a:lnTo>
                  <a:lnTo>
                    <a:pt x="2206" y="250"/>
                  </a:lnTo>
                  <a:lnTo>
                    <a:pt x="2214" y="250"/>
                  </a:lnTo>
                  <a:lnTo>
                    <a:pt x="2230" y="242"/>
                  </a:lnTo>
                  <a:lnTo>
                    <a:pt x="2236" y="244"/>
                  </a:lnTo>
                  <a:lnTo>
                    <a:pt x="2236" y="256"/>
                  </a:lnTo>
                  <a:lnTo>
                    <a:pt x="2254" y="270"/>
                  </a:lnTo>
                  <a:lnTo>
                    <a:pt x="2274" y="272"/>
                  </a:lnTo>
                  <a:lnTo>
                    <a:pt x="2280" y="264"/>
                  </a:lnTo>
                  <a:lnTo>
                    <a:pt x="2274" y="252"/>
                  </a:lnTo>
                  <a:lnTo>
                    <a:pt x="2272" y="234"/>
                  </a:lnTo>
                  <a:lnTo>
                    <a:pt x="2284" y="232"/>
                  </a:lnTo>
                  <a:lnTo>
                    <a:pt x="2302" y="240"/>
                  </a:lnTo>
                  <a:lnTo>
                    <a:pt x="2334" y="240"/>
                  </a:lnTo>
                  <a:lnTo>
                    <a:pt x="2372" y="246"/>
                  </a:lnTo>
                  <a:lnTo>
                    <a:pt x="2416" y="262"/>
                  </a:lnTo>
                  <a:lnTo>
                    <a:pt x="2442" y="276"/>
                  </a:lnTo>
                  <a:lnTo>
                    <a:pt x="2488" y="296"/>
                  </a:lnTo>
                  <a:lnTo>
                    <a:pt x="2496" y="308"/>
                  </a:lnTo>
                  <a:lnTo>
                    <a:pt x="2502" y="320"/>
                  </a:lnTo>
                  <a:lnTo>
                    <a:pt x="2512" y="336"/>
                  </a:lnTo>
                  <a:lnTo>
                    <a:pt x="2520" y="332"/>
                  </a:lnTo>
                  <a:lnTo>
                    <a:pt x="2514" y="314"/>
                  </a:lnTo>
                  <a:lnTo>
                    <a:pt x="2530" y="316"/>
                  </a:lnTo>
                  <a:lnTo>
                    <a:pt x="2550" y="320"/>
                  </a:lnTo>
                  <a:lnTo>
                    <a:pt x="2568" y="332"/>
                  </a:lnTo>
                  <a:lnTo>
                    <a:pt x="2580" y="344"/>
                  </a:lnTo>
                  <a:lnTo>
                    <a:pt x="2568" y="356"/>
                  </a:lnTo>
                  <a:lnTo>
                    <a:pt x="2542" y="362"/>
                  </a:lnTo>
                  <a:lnTo>
                    <a:pt x="2538" y="376"/>
                  </a:lnTo>
                  <a:lnTo>
                    <a:pt x="2530" y="394"/>
                  </a:lnTo>
                  <a:lnTo>
                    <a:pt x="2502" y="380"/>
                  </a:lnTo>
                  <a:lnTo>
                    <a:pt x="2486" y="374"/>
                  </a:lnTo>
                  <a:lnTo>
                    <a:pt x="2488" y="358"/>
                  </a:lnTo>
                  <a:lnTo>
                    <a:pt x="2446" y="360"/>
                  </a:lnTo>
                  <a:lnTo>
                    <a:pt x="2440" y="340"/>
                  </a:lnTo>
                  <a:lnTo>
                    <a:pt x="2426" y="342"/>
                  </a:lnTo>
                  <a:lnTo>
                    <a:pt x="2424" y="356"/>
                  </a:lnTo>
                  <a:lnTo>
                    <a:pt x="2430" y="362"/>
                  </a:lnTo>
                  <a:lnTo>
                    <a:pt x="2412" y="378"/>
                  </a:lnTo>
                  <a:lnTo>
                    <a:pt x="2392" y="380"/>
                  </a:lnTo>
                  <a:lnTo>
                    <a:pt x="2378" y="378"/>
                  </a:lnTo>
                  <a:lnTo>
                    <a:pt x="2370" y="372"/>
                  </a:lnTo>
                  <a:lnTo>
                    <a:pt x="2368" y="380"/>
                  </a:lnTo>
                  <a:lnTo>
                    <a:pt x="2382" y="386"/>
                  </a:lnTo>
                  <a:lnTo>
                    <a:pt x="2396" y="394"/>
                  </a:lnTo>
                  <a:lnTo>
                    <a:pt x="2402" y="412"/>
                  </a:lnTo>
                  <a:lnTo>
                    <a:pt x="2414" y="430"/>
                  </a:lnTo>
                  <a:lnTo>
                    <a:pt x="2400" y="438"/>
                  </a:lnTo>
                  <a:lnTo>
                    <a:pt x="2374" y="428"/>
                  </a:lnTo>
                  <a:lnTo>
                    <a:pt x="2362" y="438"/>
                  </a:lnTo>
                  <a:lnTo>
                    <a:pt x="2326" y="454"/>
                  </a:lnTo>
                  <a:lnTo>
                    <a:pt x="2306" y="464"/>
                  </a:lnTo>
                  <a:lnTo>
                    <a:pt x="2266" y="496"/>
                  </a:lnTo>
                  <a:lnTo>
                    <a:pt x="2252" y="484"/>
                  </a:lnTo>
                  <a:lnTo>
                    <a:pt x="2222" y="484"/>
                  </a:lnTo>
                  <a:lnTo>
                    <a:pt x="2206" y="500"/>
                  </a:lnTo>
                  <a:lnTo>
                    <a:pt x="2202" y="484"/>
                  </a:lnTo>
                  <a:lnTo>
                    <a:pt x="2192" y="484"/>
                  </a:lnTo>
                  <a:lnTo>
                    <a:pt x="2188" y="496"/>
                  </a:lnTo>
                  <a:lnTo>
                    <a:pt x="2160" y="496"/>
                  </a:lnTo>
                  <a:lnTo>
                    <a:pt x="2136" y="534"/>
                  </a:lnTo>
                  <a:lnTo>
                    <a:pt x="2136" y="546"/>
                  </a:lnTo>
                  <a:lnTo>
                    <a:pt x="2152" y="546"/>
                  </a:lnTo>
                  <a:lnTo>
                    <a:pt x="2148" y="564"/>
                  </a:lnTo>
                  <a:lnTo>
                    <a:pt x="2154" y="580"/>
                  </a:lnTo>
                  <a:lnTo>
                    <a:pt x="2136" y="586"/>
                  </a:lnTo>
                  <a:lnTo>
                    <a:pt x="2130" y="600"/>
                  </a:lnTo>
                  <a:lnTo>
                    <a:pt x="2136" y="618"/>
                  </a:lnTo>
                  <a:lnTo>
                    <a:pt x="2112" y="626"/>
                  </a:lnTo>
                  <a:lnTo>
                    <a:pt x="2104" y="634"/>
                  </a:lnTo>
                  <a:lnTo>
                    <a:pt x="2104" y="640"/>
                  </a:lnTo>
                  <a:lnTo>
                    <a:pt x="2106" y="644"/>
                  </a:lnTo>
                  <a:lnTo>
                    <a:pt x="2104" y="648"/>
                  </a:lnTo>
                  <a:lnTo>
                    <a:pt x="2080" y="656"/>
                  </a:lnTo>
                  <a:lnTo>
                    <a:pt x="2080" y="670"/>
                  </a:lnTo>
                  <a:lnTo>
                    <a:pt x="2050" y="700"/>
                  </a:lnTo>
                  <a:lnTo>
                    <a:pt x="2046" y="668"/>
                  </a:lnTo>
                  <a:lnTo>
                    <a:pt x="2034" y="618"/>
                  </a:lnTo>
                  <a:lnTo>
                    <a:pt x="2034" y="582"/>
                  </a:lnTo>
                  <a:lnTo>
                    <a:pt x="2046" y="568"/>
                  </a:lnTo>
                  <a:lnTo>
                    <a:pt x="2058" y="546"/>
                  </a:lnTo>
                  <a:lnTo>
                    <a:pt x="2074" y="542"/>
                  </a:lnTo>
                  <a:lnTo>
                    <a:pt x="2116" y="502"/>
                  </a:lnTo>
                  <a:lnTo>
                    <a:pt x="2148" y="480"/>
                  </a:lnTo>
                  <a:lnTo>
                    <a:pt x="2158" y="476"/>
                  </a:lnTo>
                  <a:lnTo>
                    <a:pt x="2174" y="440"/>
                  </a:lnTo>
                  <a:lnTo>
                    <a:pt x="2182" y="436"/>
                  </a:lnTo>
                  <a:lnTo>
                    <a:pt x="2166" y="430"/>
                  </a:lnTo>
                  <a:lnTo>
                    <a:pt x="2160" y="432"/>
                  </a:lnTo>
                  <a:lnTo>
                    <a:pt x="2154" y="438"/>
                  </a:lnTo>
                  <a:lnTo>
                    <a:pt x="2154" y="456"/>
                  </a:lnTo>
                  <a:lnTo>
                    <a:pt x="2140" y="456"/>
                  </a:lnTo>
                  <a:lnTo>
                    <a:pt x="2108" y="476"/>
                  </a:lnTo>
                  <a:lnTo>
                    <a:pt x="2100" y="468"/>
                  </a:lnTo>
                  <a:lnTo>
                    <a:pt x="2108" y="452"/>
                  </a:lnTo>
                  <a:lnTo>
                    <a:pt x="2098" y="456"/>
                  </a:lnTo>
                  <a:lnTo>
                    <a:pt x="2058" y="456"/>
                  </a:lnTo>
                  <a:lnTo>
                    <a:pt x="2020" y="486"/>
                  </a:lnTo>
                  <a:lnTo>
                    <a:pt x="2012" y="502"/>
                  </a:lnTo>
                  <a:lnTo>
                    <a:pt x="2016" y="506"/>
                  </a:lnTo>
                  <a:lnTo>
                    <a:pt x="2026" y="516"/>
                  </a:lnTo>
                  <a:lnTo>
                    <a:pt x="2010" y="516"/>
                  </a:lnTo>
                  <a:lnTo>
                    <a:pt x="1994" y="518"/>
                  </a:lnTo>
                  <a:lnTo>
                    <a:pt x="1964" y="520"/>
                  </a:lnTo>
                  <a:lnTo>
                    <a:pt x="1972" y="512"/>
                  </a:lnTo>
                  <a:lnTo>
                    <a:pt x="1966" y="504"/>
                  </a:lnTo>
                  <a:lnTo>
                    <a:pt x="1944" y="502"/>
                  </a:lnTo>
                  <a:lnTo>
                    <a:pt x="1930" y="504"/>
                  </a:lnTo>
                  <a:lnTo>
                    <a:pt x="1924" y="512"/>
                  </a:lnTo>
                  <a:lnTo>
                    <a:pt x="1894" y="510"/>
                  </a:lnTo>
                  <a:lnTo>
                    <a:pt x="1880" y="512"/>
                  </a:lnTo>
                  <a:lnTo>
                    <a:pt x="1828" y="512"/>
                  </a:lnTo>
                  <a:lnTo>
                    <a:pt x="1712" y="612"/>
                  </a:lnTo>
                  <a:lnTo>
                    <a:pt x="1714" y="622"/>
                  </a:lnTo>
                  <a:lnTo>
                    <a:pt x="1734" y="620"/>
                  </a:lnTo>
                  <a:lnTo>
                    <a:pt x="1736" y="636"/>
                  </a:lnTo>
                  <a:lnTo>
                    <a:pt x="1746" y="624"/>
                  </a:lnTo>
                  <a:lnTo>
                    <a:pt x="1756" y="640"/>
                  </a:lnTo>
                  <a:lnTo>
                    <a:pt x="1770" y="628"/>
                  </a:lnTo>
                  <a:lnTo>
                    <a:pt x="1792" y="632"/>
                  </a:lnTo>
                  <a:lnTo>
                    <a:pt x="1808" y="652"/>
                  </a:lnTo>
                  <a:lnTo>
                    <a:pt x="1804" y="674"/>
                  </a:lnTo>
                  <a:lnTo>
                    <a:pt x="1796" y="696"/>
                  </a:lnTo>
                  <a:lnTo>
                    <a:pt x="1794" y="728"/>
                  </a:lnTo>
                  <a:lnTo>
                    <a:pt x="1788" y="746"/>
                  </a:lnTo>
                  <a:lnTo>
                    <a:pt x="1728" y="820"/>
                  </a:lnTo>
                  <a:lnTo>
                    <a:pt x="1710" y="842"/>
                  </a:lnTo>
                  <a:lnTo>
                    <a:pt x="1696" y="852"/>
                  </a:lnTo>
                  <a:lnTo>
                    <a:pt x="1678" y="860"/>
                  </a:lnTo>
                  <a:lnTo>
                    <a:pt x="1664" y="852"/>
                  </a:lnTo>
                  <a:lnTo>
                    <a:pt x="1646" y="856"/>
                  </a:lnTo>
                  <a:lnTo>
                    <a:pt x="1646" y="820"/>
                  </a:lnTo>
                  <a:lnTo>
                    <a:pt x="1660" y="810"/>
                  </a:lnTo>
                  <a:lnTo>
                    <a:pt x="1666" y="816"/>
                  </a:lnTo>
                  <a:lnTo>
                    <a:pt x="1678" y="814"/>
                  </a:lnTo>
                  <a:lnTo>
                    <a:pt x="1690" y="792"/>
                  </a:lnTo>
                  <a:lnTo>
                    <a:pt x="1696" y="770"/>
                  </a:lnTo>
                  <a:lnTo>
                    <a:pt x="1704" y="766"/>
                  </a:lnTo>
                  <a:lnTo>
                    <a:pt x="1702" y="752"/>
                  </a:lnTo>
                  <a:lnTo>
                    <a:pt x="1686" y="754"/>
                  </a:lnTo>
                  <a:lnTo>
                    <a:pt x="1672" y="756"/>
                  </a:lnTo>
                  <a:lnTo>
                    <a:pt x="1666" y="764"/>
                  </a:lnTo>
                  <a:lnTo>
                    <a:pt x="1644" y="762"/>
                  </a:lnTo>
                  <a:lnTo>
                    <a:pt x="1640" y="742"/>
                  </a:lnTo>
                  <a:lnTo>
                    <a:pt x="1610" y="726"/>
                  </a:lnTo>
                  <a:lnTo>
                    <a:pt x="1594" y="726"/>
                  </a:lnTo>
                  <a:lnTo>
                    <a:pt x="1572" y="674"/>
                  </a:lnTo>
                  <a:lnTo>
                    <a:pt x="1560" y="654"/>
                  </a:lnTo>
                  <a:lnTo>
                    <a:pt x="1530" y="642"/>
                  </a:lnTo>
                  <a:lnTo>
                    <a:pt x="1486" y="646"/>
                  </a:lnTo>
                  <a:lnTo>
                    <a:pt x="1472" y="652"/>
                  </a:lnTo>
                  <a:lnTo>
                    <a:pt x="1470" y="660"/>
                  </a:lnTo>
                  <a:lnTo>
                    <a:pt x="1482" y="662"/>
                  </a:lnTo>
                  <a:lnTo>
                    <a:pt x="1482" y="676"/>
                  </a:lnTo>
                  <a:lnTo>
                    <a:pt x="1472" y="682"/>
                  </a:lnTo>
                  <a:lnTo>
                    <a:pt x="1462" y="700"/>
                  </a:lnTo>
                  <a:lnTo>
                    <a:pt x="1458" y="716"/>
                  </a:lnTo>
                  <a:lnTo>
                    <a:pt x="1446" y="718"/>
                  </a:lnTo>
                  <a:lnTo>
                    <a:pt x="1436" y="728"/>
                  </a:lnTo>
                  <a:lnTo>
                    <a:pt x="1418" y="718"/>
                  </a:lnTo>
                  <a:lnTo>
                    <a:pt x="1394" y="716"/>
                  </a:lnTo>
                  <a:lnTo>
                    <a:pt x="1386" y="710"/>
                  </a:lnTo>
                  <a:lnTo>
                    <a:pt x="1376" y="712"/>
                  </a:lnTo>
                  <a:lnTo>
                    <a:pt x="1358" y="726"/>
                  </a:lnTo>
                  <a:lnTo>
                    <a:pt x="1328" y="732"/>
                  </a:lnTo>
                  <a:lnTo>
                    <a:pt x="1310" y="734"/>
                  </a:lnTo>
                  <a:lnTo>
                    <a:pt x="1288" y="732"/>
                  </a:lnTo>
                  <a:lnTo>
                    <a:pt x="1282" y="726"/>
                  </a:lnTo>
                  <a:lnTo>
                    <a:pt x="1276" y="718"/>
                  </a:lnTo>
                  <a:lnTo>
                    <a:pt x="1266" y="716"/>
                  </a:lnTo>
                  <a:lnTo>
                    <a:pt x="1260" y="710"/>
                  </a:lnTo>
                  <a:lnTo>
                    <a:pt x="1236" y="706"/>
                  </a:lnTo>
                  <a:lnTo>
                    <a:pt x="1222" y="714"/>
                  </a:lnTo>
                  <a:lnTo>
                    <a:pt x="1196" y="710"/>
                  </a:lnTo>
                  <a:lnTo>
                    <a:pt x="1186" y="698"/>
                  </a:lnTo>
                  <a:lnTo>
                    <a:pt x="1184" y="688"/>
                  </a:lnTo>
                  <a:lnTo>
                    <a:pt x="1160" y="680"/>
                  </a:lnTo>
                  <a:lnTo>
                    <a:pt x="1132" y="674"/>
                  </a:lnTo>
                  <a:lnTo>
                    <a:pt x="1114" y="692"/>
                  </a:lnTo>
                  <a:lnTo>
                    <a:pt x="1126" y="706"/>
                  </a:lnTo>
                  <a:lnTo>
                    <a:pt x="1124" y="714"/>
                  </a:lnTo>
                  <a:lnTo>
                    <a:pt x="1112" y="724"/>
                  </a:lnTo>
                  <a:lnTo>
                    <a:pt x="1104" y="718"/>
                  </a:lnTo>
                  <a:lnTo>
                    <a:pt x="1072" y="718"/>
                  </a:lnTo>
                  <a:lnTo>
                    <a:pt x="1062" y="706"/>
                  </a:lnTo>
                  <a:lnTo>
                    <a:pt x="1042" y="702"/>
                  </a:lnTo>
                  <a:lnTo>
                    <a:pt x="1024" y="700"/>
                  </a:lnTo>
                  <a:lnTo>
                    <a:pt x="990" y="718"/>
                  </a:lnTo>
                  <a:lnTo>
                    <a:pt x="982" y="726"/>
                  </a:lnTo>
                  <a:lnTo>
                    <a:pt x="968" y="728"/>
                  </a:lnTo>
                  <a:lnTo>
                    <a:pt x="960" y="736"/>
                  </a:lnTo>
                  <a:lnTo>
                    <a:pt x="944" y="736"/>
                  </a:lnTo>
                  <a:lnTo>
                    <a:pt x="940" y="722"/>
                  </a:lnTo>
                  <a:lnTo>
                    <a:pt x="918" y="720"/>
                  </a:lnTo>
                  <a:lnTo>
                    <a:pt x="904" y="710"/>
                  </a:lnTo>
                  <a:lnTo>
                    <a:pt x="894" y="696"/>
                  </a:lnTo>
                  <a:lnTo>
                    <a:pt x="866" y="700"/>
                  </a:lnTo>
                  <a:lnTo>
                    <a:pt x="844" y="688"/>
                  </a:lnTo>
                  <a:lnTo>
                    <a:pt x="840" y="696"/>
                  </a:lnTo>
                  <a:lnTo>
                    <a:pt x="832" y="696"/>
                  </a:lnTo>
                  <a:lnTo>
                    <a:pt x="818" y="672"/>
                  </a:lnTo>
                  <a:lnTo>
                    <a:pt x="802" y="648"/>
                  </a:lnTo>
                  <a:lnTo>
                    <a:pt x="784" y="636"/>
                  </a:lnTo>
                  <a:lnTo>
                    <a:pt x="782" y="626"/>
                  </a:lnTo>
                  <a:lnTo>
                    <a:pt x="760" y="632"/>
                  </a:lnTo>
                  <a:lnTo>
                    <a:pt x="742" y="642"/>
                  </a:lnTo>
                  <a:lnTo>
                    <a:pt x="722" y="632"/>
                  </a:lnTo>
                  <a:lnTo>
                    <a:pt x="702" y="626"/>
                  </a:lnTo>
                  <a:lnTo>
                    <a:pt x="692" y="620"/>
                  </a:lnTo>
                  <a:lnTo>
                    <a:pt x="688" y="606"/>
                  </a:lnTo>
                  <a:lnTo>
                    <a:pt x="668" y="604"/>
                  </a:lnTo>
                  <a:lnTo>
                    <a:pt x="646" y="608"/>
                  </a:lnTo>
                  <a:lnTo>
                    <a:pt x="558" y="632"/>
                  </a:lnTo>
                  <a:lnTo>
                    <a:pt x="536" y="634"/>
                  </a:lnTo>
                  <a:lnTo>
                    <a:pt x="540" y="644"/>
                  </a:lnTo>
                  <a:lnTo>
                    <a:pt x="544" y="652"/>
                  </a:lnTo>
                  <a:lnTo>
                    <a:pt x="532" y="656"/>
                  </a:lnTo>
                  <a:lnTo>
                    <a:pt x="530" y="666"/>
                  </a:lnTo>
                  <a:lnTo>
                    <a:pt x="524" y="672"/>
                  </a:lnTo>
                  <a:lnTo>
                    <a:pt x="518" y="680"/>
                  </a:lnTo>
                  <a:lnTo>
                    <a:pt x="532" y="684"/>
                  </a:lnTo>
                  <a:lnTo>
                    <a:pt x="540" y="692"/>
                  </a:lnTo>
                  <a:lnTo>
                    <a:pt x="530" y="702"/>
                  </a:lnTo>
                  <a:lnTo>
                    <a:pt x="504" y="704"/>
                  </a:lnTo>
                  <a:lnTo>
                    <a:pt x="494" y="694"/>
                  </a:lnTo>
                  <a:lnTo>
                    <a:pt x="476" y="694"/>
                  </a:lnTo>
                  <a:lnTo>
                    <a:pt x="454" y="704"/>
                  </a:lnTo>
                  <a:lnTo>
                    <a:pt x="438" y="702"/>
                  </a:lnTo>
                  <a:lnTo>
                    <a:pt x="416" y="688"/>
                  </a:lnTo>
                  <a:lnTo>
                    <a:pt x="380" y="682"/>
                  </a:lnTo>
                  <a:lnTo>
                    <a:pt x="364" y="688"/>
                  </a:lnTo>
                  <a:lnTo>
                    <a:pt x="340" y="706"/>
                  </a:lnTo>
                  <a:lnTo>
                    <a:pt x="338" y="718"/>
                  </a:lnTo>
                  <a:lnTo>
                    <a:pt x="330" y="722"/>
                  </a:lnTo>
                  <a:lnTo>
                    <a:pt x="322" y="706"/>
                  </a:lnTo>
                  <a:lnTo>
                    <a:pt x="310" y="720"/>
                  </a:lnTo>
                  <a:lnTo>
                    <a:pt x="304" y="744"/>
                  </a:lnTo>
                  <a:lnTo>
                    <a:pt x="314" y="758"/>
                  </a:lnTo>
                  <a:lnTo>
                    <a:pt x="328" y="762"/>
                  </a:lnTo>
                  <a:lnTo>
                    <a:pt x="340" y="778"/>
                  </a:lnTo>
                  <a:lnTo>
                    <a:pt x="344" y="79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03" name="Freeform 119"/>
            <p:cNvSpPr>
              <a:spLocks/>
            </p:cNvSpPr>
            <p:nvPr/>
          </p:nvSpPr>
          <p:spPr bwMode="gray">
            <a:xfrm>
              <a:off x="7104063" y="3060700"/>
              <a:ext cx="49212" cy="211138"/>
            </a:xfrm>
            <a:custGeom>
              <a:avLst/>
              <a:gdLst>
                <a:gd name="T0" fmla="*/ 0 w 42"/>
                <a:gd name="T1" fmla="*/ 2147483647 h 174"/>
                <a:gd name="T2" fmla="*/ 2147483647 w 42"/>
                <a:gd name="T3" fmla="*/ 2147483647 h 174"/>
                <a:gd name="T4" fmla="*/ 2147483647 w 42"/>
                <a:gd name="T5" fmla="*/ 2147483647 h 174"/>
                <a:gd name="T6" fmla="*/ 2147483647 w 42"/>
                <a:gd name="T7" fmla="*/ 2147483647 h 174"/>
                <a:gd name="T8" fmla="*/ 2147483647 w 42"/>
                <a:gd name="T9" fmla="*/ 2147483647 h 174"/>
                <a:gd name="T10" fmla="*/ 2147483647 w 42"/>
                <a:gd name="T11" fmla="*/ 2147483647 h 174"/>
                <a:gd name="T12" fmla="*/ 2147483647 w 42"/>
                <a:gd name="T13" fmla="*/ 2147483647 h 174"/>
                <a:gd name="T14" fmla="*/ 2147483647 w 42"/>
                <a:gd name="T15" fmla="*/ 2147483647 h 174"/>
                <a:gd name="T16" fmla="*/ 2147483647 w 42"/>
                <a:gd name="T17" fmla="*/ 2147483647 h 174"/>
                <a:gd name="T18" fmla="*/ 2147483647 w 42"/>
                <a:gd name="T19" fmla="*/ 2147483647 h 174"/>
                <a:gd name="T20" fmla="*/ 2147483647 w 42"/>
                <a:gd name="T21" fmla="*/ 2147483647 h 174"/>
                <a:gd name="T22" fmla="*/ 2147483647 w 42"/>
                <a:gd name="T23" fmla="*/ 2147483647 h 174"/>
                <a:gd name="T24" fmla="*/ 2147483647 w 42"/>
                <a:gd name="T25" fmla="*/ 2147483647 h 174"/>
                <a:gd name="T26" fmla="*/ 2147483647 w 42"/>
                <a:gd name="T27" fmla="*/ 2147483647 h 174"/>
                <a:gd name="T28" fmla="*/ 2147483647 w 42"/>
                <a:gd name="T29" fmla="*/ 2147483647 h 174"/>
                <a:gd name="T30" fmla="*/ 2147483647 w 42"/>
                <a:gd name="T31" fmla="*/ 2147483647 h 174"/>
                <a:gd name="T32" fmla="*/ 2147483647 w 42"/>
                <a:gd name="T33" fmla="*/ 2147483647 h 174"/>
                <a:gd name="T34" fmla="*/ 2147483647 w 42"/>
                <a:gd name="T35" fmla="*/ 2147483647 h 174"/>
                <a:gd name="T36" fmla="*/ 2147483647 w 42"/>
                <a:gd name="T37" fmla="*/ 2147483647 h 174"/>
                <a:gd name="T38" fmla="*/ 2147483647 w 42"/>
                <a:gd name="T39" fmla="*/ 2147483647 h 174"/>
                <a:gd name="T40" fmla="*/ 2147483647 w 42"/>
                <a:gd name="T41" fmla="*/ 0 h 174"/>
                <a:gd name="T42" fmla="*/ 2147483647 w 42"/>
                <a:gd name="T43" fmla="*/ 2147483647 h 174"/>
                <a:gd name="T44" fmla="*/ 2147483647 w 42"/>
                <a:gd name="T45" fmla="*/ 2147483647 h 174"/>
                <a:gd name="T46" fmla="*/ 2147483647 w 42"/>
                <a:gd name="T47" fmla="*/ 2147483647 h 174"/>
                <a:gd name="T48" fmla="*/ 2147483647 w 42"/>
                <a:gd name="T49" fmla="*/ 2147483647 h 174"/>
                <a:gd name="T50" fmla="*/ 2147483647 w 42"/>
                <a:gd name="T51" fmla="*/ 2147483647 h 174"/>
                <a:gd name="T52" fmla="*/ 2147483647 w 42"/>
                <a:gd name="T53" fmla="*/ 2147483647 h 174"/>
                <a:gd name="T54" fmla="*/ 2147483647 w 42"/>
                <a:gd name="T55" fmla="*/ 2147483647 h 174"/>
                <a:gd name="T56" fmla="*/ 2147483647 w 42"/>
                <a:gd name="T57" fmla="*/ 2147483647 h 174"/>
                <a:gd name="T58" fmla="*/ 2147483647 w 42"/>
                <a:gd name="T59" fmla="*/ 2147483647 h 174"/>
                <a:gd name="T60" fmla="*/ 2147483647 w 42"/>
                <a:gd name="T61" fmla="*/ 2147483647 h 174"/>
                <a:gd name="T62" fmla="*/ 2147483647 w 42"/>
                <a:gd name="T63" fmla="*/ 2147483647 h 174"/>
                <a:gd name="T64" fmla="*/ 2147483647 w 42"/>
                <a:gd name="T65" fmla="*/ 2147483647 h 174"/>
                <a:gd name="T66" fmla="*/ 0 w 42"/>
                <a:gd name="T67" fmla="*/ 2147483647 h 17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2"/>
                <a:gd name="T103" fmla="*/ 0 h 174"/>
                <a:gd name="T104" fmla="*/ 42 w 42"/>
                <a:gd name="T105" fmla="*/ 174 h 17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2" h="174">
                  <a:moveTo>
                    <a:pt x="0" y="166"/>
                  </a:moveTo>
                  <a:lnTo>
                    <a:pt x="6" y="174"/>
                  </a:lnTo>
                  <a:lnTo>
                    <a:pt x="10" y="160"/>
                  </a:lnTo>
                  <a:lnTo>
                    <a:pt x="18" y="162"/>
                  </a:lnTo>
                  <a:lnTo>
                    <a:pt x="24" y="170"/>
                  </a:lnTo>
                  <a:lnTo>
                    <a:pt x="26" y="162"/>
                  </a:lnTo>
                  <a:lnTo>
                    <a:pt x="22" y="154"/>
                  </a:lnTo>
                  <a:lnTo>
                    <a:pt x="14" y="144"/>
                  </a:lnTo>
                  <a:lnTo>
                    <a:pt x="10" y="134"/>
                  </a:lnTo>
                  <a:lnTo>
                    <a:pt x="14" y="126"/>
                  </a:lnTo>
                  <a:lnTo>
                    <a:pt x="18" y="114"/>
                  </a:lnTo>
                  <a:lnTo>
                    <a:pt x="22" y="108"/>
                  </a:lnTo>
                  <a:lnTo>
                    <a:pt x="30" y="106"/>
                  </a:lnTo>
                  <a:lnTo>
                    <a:pt x="42" y="116"/>
                  </a:lnTo>
                  <a:lnTo>
                    <a:pt x="42" y="104"/>
                  </a:lnTo>
                  <a:lnTo>
                    <a:pt x="32" y="88"/>
                  </a:lnTo>
                  <a:lnTo>
                    <a:pt x="28" y="62"/>
                  </a:lnTo>
                  <a:lnTo>
                    <a:pt x="24" y="42"/>
                  </a:lnTo>
                  <a:lnTo>
                    <a:pt x="22" y="26"/>
                  </a:lnTo>
                  <a:lnTo>
                    <a:pt x="20" y="12"/>
                  </a:lnTo>
                  <a:lnTo>
                    <a:pt x="16" y="0"/>
                  </a:lnTo>
                  <a:lnTo>
                    <a:pt x="12" y="6"/>
                  </a:lnTo>
                  <a:lnTo>
                    <a:pt x="12" y="16"/>
                  </a:lnTo>
                  <a:lnTo>
                    <a:pt x="2" y="20"/>
                  </a:lnTo>
                  <a:lnTo>
                    <a:pt x="2" y="36"/>
                  </a:lnTo>
                  <a:lnTo>
                    <a:pt x="2" y="50"/>
                  </a:lnTo>
                  <a:lnTo>
                    <a:pt x="2" y="62"/>
                  </a:lnTo>
                  <a:lnTo>
                    <a:pt x="8" y="70"/>
                  </a:lnTo>
                  <a:lnTo>
                    <a:pt x="6" y="82"/>
                  </a:lnTo>
                  <a:lnTo>
                    <a:pt x="6" y="102"/>
                  </a:lnTo>
                  <a:lnTo>
                    <a:pt x="6" y="126"/>
                  </a:lnTo>
                  <a:lnTo>
                    <a:pt x="6" y="146"/>
                  </a:lnTo>
                  <a:lnTo>
                    <a:pt x="6" y="158"/>
                  </a:lnTo>
                  <a:lnTo>
                    <a:pt x="0" y="16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04" name="Freeform 120"/>
            <p:cNvSpPr>
              <a:spLocks/>
            </p:cNvSpPr>
            <p:nvPr/>
          </p:nvSpPr>
          <p:spPr bwMode="gray">
            <a:xfrm>
              <a:off x="5275263" y="3414713"/>
              <a:ext cx="28575" cy="23812"/>
            </a:xfrm>
            <a:custGeom>
              <a:avLst/>
              <a:gdLst>
                <a:gd name="T0" fmla="*/ 2147483647 w 24"/>
                <a:gd name="T1" fmla="*/ 2147483647 h 20"/>
                <a:gd name="T2" fmla="*/ 2147483647 w 24"/>
                <a:gd name="T3" fmla="*/ 2147483647 h 20"/>
                <a:gd name="T4" fmla="*/ 2147483647 w 24"/>
                <a:gd name="T5" fmla="*/ 2147483647 h 20"/>
                <a:gd name="T6" fmla="*/ 0 w 24"/>
                <a:gd name="T7" fmla="*/ 2147483647 h 20"/>
                <a:gd name="T8" fmla="*/ 2147483647 w 24"/>
                <a:gd name="T9" fmla="*/ 0 h 20"/>
                <a:gd name="T10" fmla="*/ 2147483647 w 24"/>
                <a:gd name="T11" fmla="*/ 0 h 20"/>
                <a:gd name="T12" fmla="*/ 2147483647 w 24"/>
                <a:gd name="T13" fmla="*/ 2147483647 h 20"/>
                <a:gd name="T14" fmla="*/ 2147483647 w 24"/>
                <a:gd name="T15" fmla="*/ 2147483647 h 20"/>
                <a:gd name="T16" fmla="*/ 2147483647 w 24"/>
                <a:gd name="T17" fmla="*/ 2147483647 h 20"/>
                <a:gd name="T18" fmla="*/ 2147483647 w 24"/>
                <a:gd name="T19" fmla="*/ 2147483647 h 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"/>
                <a:gd name="T31" fmla="*/ 0 h 20"/>
                <a:gd name="T32" fmla="*/ 24 w 24"/>
                <a:gd name="T33" fmla="*/ 20 h 2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" h="20">
                  <a:moveTo>
                    <a:pt x="22" y="20"/>
                  </a:moveTo>
                  <a:lnTo>
                    <a:pt x="14" y="16"/>
                  </a:lnTo>
                  <a:lnTo>
                    <a:pt x="8" y="12"/>
                  </a:lnTo>
                  <a:lnTo>
                    <a:pt x="0" y="4"/>
                  </a:lnTo>
                  <a:lnTo>
                    <a:pt x="2" y="0"/>
                  </a:lnTo>
                  <a:lnTo>
                    <a:pt x="10" y="0"/>
                  </a:lnTo>
                  <a:lnTo>
                    <a:pt x="16" y="4"/>
                  </a:lnTo>
                  <a:lnTo>
                    <a:pt x="22" y="6"/>
                  </a:lnTo>
                  <a:lnTo>
                    <a:pt x="24" y="14"/>
                  </a:lnTo>
                  <a:lnTo>
                    <a:pt x="22" y="2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05" name="Freeform 121"/>
            <p:cNvSpPr>
              <a:spLocks/>
            </p:cNvSpPr>
            <p:nvPr/>
          </p:nvSpPr>
          <p:spPr bwMode="gray">
            <a:xfrm>
              <a:off x="5046663" y="3511550"/>
              <a:ext cx="33337" cy="19050"/>
            </a:xfrm>
            <a:custGeom>
              <a:avLst/>
              <a:gdLst>
                <a:gd name="T0" fmla="*/ 2147483647 w 30"/>
                <a:gd name="T1" fmla="*/ 2147483647 h 16"/>
                <a:gd name="T2" fmla="*/ 2147483647 w 30"/>
                <a:gd name="T3" fmla="*/ 2147483647 h 16"/>
                <a:gd name="T4" fmla="*/ 2147483647 w 30"/>
                <a:gd name="T5" fmla="*/ 2147483647 h 16"/>
                <a:gd name="T6" fmla="*/ 2147483647 w 30"/>
                <a:gd name="T7" fmla="*/ 0 h 16"/>
                <a:gd name="T8" fmla="*/ 2147483647 w 30"/>
                <a:gd name="T9" fmla="*/ 2147483647 h 16"/>
                <a:gd name="T10" fmla="*/ 2147483647 w 30"/>
                <a:gd name="T11" fmla="*/ 2147483647 h 16"/>
                <a:gd name="T12" fmla="*/ 2147483647 w 30"/>
                <a:gd name="T13" fmla="*/ 2147483647 h 16"/>
                <a:gd name="T14" fmla="*/ 2147483647 w 30"/>
                <a:gd name="T15" fmla="*/ 2147483647 h 16"/>
                <a:gd name="T16" fmla="*/ 0 w 30"/>
                <a:gd name="T17" fmla="*/ 2147483647 h 16"/>
                <a:gd name="T18" fmla="*/ 0 w 30"/>
                <a:gd name="T19" fmla="*/ 2147483647 h 16"/>
                <a:gd name="T20" fmla="*/ 2147483647 w 30"/>
                <a:gd name="T21" fmla="*/ 2147483647 h 1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0"/>
                <a:gd name="T34" fmla="*/ 0 h 16"/>
                <a:gd name="T35" fmla="*/ 30 w 30"/>
                <a:gd name="T36" fmla="*/ 16 h 1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0" h="16">
                  <a:moveTo>
                    <a:pt x="8" y="6"/>
                  </a:moveTo>
                  <a:lnTo>
                    <a:pt x="16" y="4"/>
                  </a:lnTo>
                  <a:lnTo>
                    <a:pt x="24" y="4"/>
                  </a:lnTo>
                  <a:lnTo>
                    <a:pt x="30" y="0"/>
                  </a:lnTo>
                  <a:lnTo>
                    <a:pt x="22" y="8"/>
                  </a:lnTo>
                  <a:lnTo>
                    <a:pt x="18" y="12"/>
                  </a:lnTo>
                  <a:lnTo>
                    <a:pt x="12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6"/>
                  </a:lnTo>
                  <a:lnTo>
                    <a:pt x="8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06" name="Freeform 122"/>
            <p:cNvSpPr>
              <a:spLocks/>
            </p:cNvSpPr>
            <p:nvPr/>
          </p:nvSpPr>
          <p:spPr bwMode="gray">
            <a:xfrm>
              <a:off x="5092700" y="3530600"/>
              <a:ext cx="33338" cy="34925"/>
            </a:xfrm>
            <a:custGeom>
              <a:avLst/>
              <a:gdLst>
                <a:gd name="T0" fmla="*/ 2147483647 w 28"/>
                <a:gd name="T1" fmla="*/ 2147483647 h 28"/>
                <a:gd name="T2" fmla="*/ 2147483647 w 28"/>
                <a:gd name="T3" fmla="*/ 0 h 28"/>
                <a:gd name="T4" fmla="*/ 2147483647 w 28"/>
                <a:gd name="T5" fmla="*/ 2147483647 h 28"/>
                <a:gd name="T6" fmla="*/ 2147483647 w 28"/>
                <a:gd name="T7" fmla="*/ 2147483647 h 28"/>
                <a:gd name="T8" fmla="*/ 2147483647 w 28"/>
                <a:gd name="T9" fmla="*/ 2147483647 h 28"/>
                <a:gd name="T10" fmla="*/ 2147483647 w 28"/>
                <a:gd name="T11" fmla="*/ 2147483647 h 28"/>
                <a:gd name="T12" fmla="*/ 2147483647 w 28"/>
                <a:gd name="T13" fmla="*/ 2147483647 h 28"/>
                <a:gd name="T14" fmla="*/ 2147483647 w 28"/>
                <a:gd name="T15" fmla="*/ 2147483647 h 28"/>
                <a:gd name="T16" fmla="*/ 0 w 28"/>
                <a:gd name="T17" fmla="*/ 2147483647 h 28"/>
                <a:gd name="T18" fmla="*/ 2147483647 w 28"/>
                <a:gd name="T19" fmla="*/ 2147483647 h 28"/>
                <a:gd name="T20" fmla="*/ 2147483647 w 28"/>
                <a:gd name="T21" fmla="*/ 2147483647 h 28"/>
                <a:gd name="T22" fmla="*/ 2147483647 w 28"/>
                <a:gd name="T23" fmla="*/ 2147483647 h 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8"/>
                <a:gd name="T37" fmla="*/ 0 h 28"/>
                <a:gd name="T38" fmla="*/ 28 w 28"/>
                <a:gd name="T39" fmla="*/ 28 h 2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8" h="28">
                  <a:moveTo>
                    <a:pt x="16" y="2"/>
                  </a:moveTo>
                  <a:lnTo>
                    <a:pt x="24" y="0"/>
                  </a:lnTo>
                  <a:lnTo>
                    <a:pt x="28" y="4"/>
                  </a:lnTo>
                  <a:lnTo>
                    <a:pt x="24" y="10"/>
                  </a:lnTo>
                  <a:lnTo>
                    <a:pt x="18" y="14"/>
                  </a:lnTo>
                  <a:lnTo>
                    <a:pt x="16" y="20"/>
                  </a:lnTo>
                  <a:lnTo>
                    <a:pt x="10" y="24"/>
                  </a:lnTo>
                  <a:lnTo>
                    <a:pt x="6" y="28"/>
                  </a:lnTo>
                  <a:lnTo>
                    <a:pt x="0" y="26"/>
                  </a:lnTo>
                  <a:lnTo>
                    <a:pt x="6" y="18"/>
                  </a:lnTo>
                  <a:lnTo>
                    <a:pt x="12" y="8"/>
                  </a:lnTo>
                  <a:lnTo>
                    <a:pt x="16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07" name="Freeform 123"/>
            <p:cNvSpPr>
              <a:spLocks/>
            </p:cNvSpPr>
            <p:nvPr/>
          </p:nvSpPr>
          <p:spPr bwMode="gray">
            <a:xfrm>
              <a:off x="5100638" y="3475038"/>
              <a:ext cx="128587" cy="104775"/>
            </a:xfrm>
            <a:custGeom>
              <a:avLst/>
              <a:gdLst>
                <a:gd name="T0" fmla="*/ 2147483647 w 108"/>
                <a:gd name="T1" fmla="*/ 2147483647 h 86"/>
                <a:gd name="T2" fmla="*/ 2147483647 w 108"/>
                <a:gd name="T3" fmla="*/ 2147483647 h 86"/>
                <a:gd name="T4" fmla="*/ 2147483647 w 108"/>
                <a:gd name="T5" fmla="*/ 2147483647 h 86"/>
                <a:gd name="T6" fmla="*/ 2147483647 w 108"/>
                <a:gd name="T7" fmla="*/ 2147483647 h 86"/>
                <a:gd name="T8" fmla="*/ 2147483647 w 108"/>
                <a:gd name="T9" fmla="*/ 2147483647 h 86"/>
                <a:gd name="T10" fmla="*/ 2147483647 w 108"/>
                <a:gd name="T11" fmla="*/ 2147483647 h 86"/>
                <a:gd name="T12" fmla="*/ 2147483647 w 108"/>
                <a:gd name="T13" fmla="*/ 2147483647 h 86"/>
                <a:gd name="T14" fmla="*/ 2147483647 w 108"/>
                <a:gd name="T15" fmla="*/ 2147483647 h 86"/>
                <a:gd name="T16" fmla="*/ 2147483647 w 108"/>
                <a:gd name="T17" fmla="*/ 2147483647 h 86"/>
                <a:gd name="T18" fmla="*/ 2147483647 w 108"/>
                <a:gd name="T19" fmla="*/ 2147483647 h 86"/>
                <a:gd name="T20" fmla="*/ 2147483647 w 108"/>
                <a:gd name="T21" fmla="*/ 2147483647 h 86"/>
                <a:gd name="T22" fmla="*/ 2147483647 w 108"/>
                <a:gd name="T23" fmla="*/ 2147483647 h 86"/>
                <a:gd name="T24" fmla="*/ 2147483647 w 108"/>
                <a:gd name="T25" fmla="*/ 0 h 86"/>
                <a:gd name="T26" fmla="*/ 2147483647 w 108"/>
                <a:gd name="T27" fmla="*/ 0 h 86"/>
                <a:gd name="T28" fmla="*/ 2147483647 w 108"/>
                <a:gd name="T29" fmla="*/ 2147483647 h 86"/>
                <a:gd name="T30" fmla="*/ 2147483647 w 108"/>
                <a:gd name="T31" fmla="*/ 2147483647 h 86"/>
                <a:gd name="T32" fmla="*/ 2147483647 w 108"/>
                <a:gd name="T33" fmla="*/ 2147483647 h 86"/>
                <a:gd name="T34" fmla="*/ 2147483647 w 108"/>
                <a:gd name="T35" fmla="*/ 2147483647 h 86"/>
                <a:gd name="T36" fmla="*/ 2147483647 w 108"/>
                <a:gd name="T37" fmla="*/ 2147483647 h 86"/>
                <a:gd name="T38" fmla="*/ 2147483647 w 108"/>
                <a:gd name="T39" fmla="*/ 2147483647 h 86"/>
                <a:gd name="T40" fmla="*/ 2147483647 w 108"/>
                <a:gd name="T41" fmla="*/ 2147483647 h 86"/>
                <a:gd name="T42" fmla="*/ 2147483647 w 108"/>
                <a:gd name="T43" fmla="*/ 2147483647 h 86"/>
                <a:gd name="T44" fmla="*/ 2147483647 w 108"/>
                <a:gd name="T45" fmla="*/ 2147483647 h 86"/>
                <a:gd name="T46" fmla="*/ 0 w 108"/>
                <a:gd name="T47" fmla="*/ 2147483647 h 86"/>
                <a:gd name="T48" fmla="*/ 2147483647 w 108"/>
                <a:gd name="T49" fmla="*/ 2147483647 h 86"/>
                <a:gd name="T50" fmla="*/ 2147483647 w 108"/>
                <a:gd name="T51" fmla="*/ 2147483647 h 86"/>
                <a:gd name="T52" fmla="*/ 2147483647 w 108"/>
                <a:gd name="T53" fmla="*/ 2147483647 h 86"/>
                <a:gd name="T54" fmla="*/ 2147483647 w 108"/>
                <a:gd name="T55" fmla="*/ 2147483647 h 86"/>
                <a:gd name="T56" fmla="*/ 2147483647 w 108"/>
                <a:gd name="T57" fmla="*/ 2147483647 h 86"/>
                <a:gd name="T58" fmla="*/ 2147483647 w 108"/>
                <a:gd name="T59" fmla="*/ 2147483647 h 8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08"/>
                <a:gd name="T91" fmla="*/ 0 h 86"/>
                <a:gd name="T92" fmla="*/ 108 w 108"/>
                <a:gd name="T93" fmla="*/ 86 h 8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08" h="86">
                  <a:moveTo>
                    <a:pt x="10" y="48"/>
                  </a:moveTo>
                  <a:lnTo>
                    <a:pt x="8" y="32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8" y="12"/>
                  </a:lnTo>
                  <a:lnTo>
                    <a:pt x="20" y="4"/>
                  </a:lnTo>
                  <a:lnTo>
                    <a:pt x="26" y="8"/>
                  </a:lnTo>
                  <a:lnTo>
                    <a:pt x="38" y="8"/>
                  </a:lnTo>
                  <a:lnTo>
                    <a:pt x="40" y="4"/>
                  </a:lnTo>
                  <a:lnTo>
                    <a:pt x="46" y="4"/>
                  </a:lnTo>
                  <a:lnTo>
                    <a:pt x="52" y="10"/>
                  </a:lnTo>
                  <a:lnTo>
                    <a:pt x="70" y="8"/>
                  </a:lnTo>
                  <a:lnTo>
                    <a:pt x="82" y="0"/>
                  </a:lnTo>
                  <a:lnTo>
                    <a:pt x="108" y="0"/>
                  </a:lnTo>
                  <a:lnTo>
                    <a:pt x="108" y="4"/>
                  </a:lnTo>
                  <a:lnTo>
                    <a:pt x="94" y="14"/>
                  </a:lnTo>
                  <a:lnTo>
                    <a:pt x="90" y="46"/>
                  </a:lnTo>
                  <a:lnTo>
                    <a:pt x="54" y="68"/>
                  </a:lnTo>
                  <a:lnTo>
                    <a:pt x="28" y="84"/>
                  </a:lnTo>
                  <a:lnTo>
                    <a:pt x="20" y="86"/>
                  </a:lnTo>
                  <a:lnTo>
                    <a:pt x="12" y="82"/>
                  </a:lnTo>
                  <a:lnTo>
                    <a:pt x="6" y="80"/>
                  </a:lnTo>
                  <a:lnTo>
                    <a:pt x="2" y="78"/>
                  </a:lnTo>
                  <a:lnTo>
                    <a:pt x="0" y="74"/>
                  </a:lnTo>
                  <a:lnTo>
                    <a:pt x="10" y="66"/>
                  </a:lnTo>
                  <a:lnTo>
                    <a:pt x="12" y="60"/>
                  </a:lnTo>
                  <a:lnTo>
                    <a:pt x="18" y="56"/>
                  </a:lnTo>
                  <a:lnTo>
                    <a:pt x="22" y="50"/>
                  </a:lnTo>
                  <a:lnTo>
                    <a:pt x="18" y="46"/>
                  </a:lnTo>
                  <a:lnTo>
                    <a:pt x="10" y="4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08" name="Freeform 124"/>
            <p:cNvSpPr>
              <a:spLocks/>
            </p:cNvSpPr>
            <p:nvPr/>
          </p:nvSpPr>
          <p:spPr bwMode="gray">
            <a:xfrm>
              <a:off x="5076825" y="3562350"/>
              <a:ext cx="26988" cy="77788"/>
            </a:xfrm>
            <a:custGeom>
              <a:avLst/>
              <a:gdLst>
                <a:gd name="T0" fmla="*/ 2147483647 w 24"/>
                <a:gd name="T1" fmla="*/ 2147483647 h 64"/>
                <a:gd name="T2" fmla="*/ 2147483647 w 24"/>
                <a:gd name="T3" fmla="*/ 2147483647 h 64"/>
                <a:gd name="T4" fmla="*/ 2147483647 w 24"/>
                <a:gd name="T5" fmla="*/ 2147483647 h 64"/>
                <a:gd name="T6" fmla="*/ 2147483647 w 24"/>
                <a:gd name="T7" fmla="*/ 2147483647 h 64"/>
                <a:gd name="T8" fmla="*/ 2147483647 w 24"/>
                <a:gd name="T9" fmla="*/ 2147483647 h 64"/>
                <a:gd name="T10" fmla="*/ 2147483647 w 24"/>
                <a:gd name="T11" fmla="*/ 0 h 64"/>
                <a:gd name="T12" fmla="*/ 2147483647 w 24"/>
                <a:gd name="T13" fmla="*/ 2147483647 h 64"/>
                <a:gd name="T14" fmla="*/ 2147483647 w 24"/>
                <a:gd name="T15" fmla="*/ 2147483647 h 64"/>
                <a:gd name="T16" fmla="*/ 2147483647 w 24"/>
                <a:gd name="T17" fmla="*/ 2147483647 h 64"/>
                <a:gd name="T18" fmla="*/ 2147483647 w 24"/>
                <a:gd name="T19" fmla="*/ 2147483647 h 64"/>
                <a:gd name="T20" fmla="*/ 2147483647 w 24"/>
                <a:gd name="T21" fmla="*/ 2147483647 h 64"/>
                <a:gd name="T22" fmla="*/ 0 w 24"/>
                <a:gd name="T23" fmla="*/ 2147483647 h 64"/>
                <a:gd name="T24" fmla="*/ 2147483647 w 24"/>
                <a:gd name="T25" fmla="*/ 2147483647 h 64"/>
                <a:gd name="T26" fmla="*/ 2147483647 w 24"/>
                <a:gd name="T27" fmla="*/ 2147483647 h 64"/>
                <a:gd name="T28" fmla="*/ 2147483647 w 24"/>
                <a:gd name="T29" fmla="*/ 2147483647 h 64"/>
                <a:gd name="T30" fmla="*/ 2147483647 w 24"/>
                <a:gd name="T31" fmla="*/ 2147483647 h 64"/>
                <a:gd name="T32" fmla="*/ 2147483647 w 24"/>
                <a:gd name="T33" fmla="*/ 2147483647 h 64"/>
                <a:gd name="T34" fmla="*/ 2147483647 w 24"/>
                <a:gd name="T35" fmla="*/ 2147483647 h 64"/>
                <a:gd name="T36" fmla="*/ 2147483647 w 24"/>
                <a:gd name="T37" fmla="*/ 2147483647 h 64"/>
                <a:gd name="T38" fmla="*/ 2147483647 w 24"/>
                <a:gd name="T39" fmla="*/ 2147483647 h 64"/>
                <a:gd name="T40" fmla="*/ 2147483647 w 24"/>
                <a:gd name="T41" fmla="*/ 2147483647 h 64"/>
                <a:gd name="T42" fmla="*/ 2147483647 w 24"/>
                <a:gd name="T43" fmla="*/ 2147483647 h 6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4"/>
                <a:gd name="T67" fmla="*/ 0 h 64"/>
                <a:gd name="T68" fmla="*/ 24 w 24"/>
                <a:gd name="T69" fmla="*/ 64 h 64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4" h="64">
                  <a:moveTo>
                    <a:pt x="16" y="14"/>
                  </a:moveTo>
                  <a:lnTo>
                    <a:pt x="22" y="14"/>
                  </a:lnTo>
                  <a:lnTo>
                    <a:pt x="24" y="8"/>
                  </a:lnTo>
                  <a:lnTo>
                    <a:pt x="22" y="6"/>
                  </a:lnTo>
                  <a:lnTo>
                    <a:pt x="20" y="2"/>
                  </a:lnTo>
                  <a:lnTo>
                    <a:pt x="14" y="0"/>
                  </a:lnTo>
                  <a:lnTo>
                    <a:pt x="14" y="6"/>
                  </a:lnTo>
                  <a:lnTo>
                    <a:pt x="12" y="14"/>
                  </a:lnTo>
                  <a:lnTo>
                    <a:pt x="10" y="20"/>
                  </a:lnTo>
                  <a:lnTo>
                    <a:pt x="6" y="26"/>
                  </a:lnTo>
                  <a:lnTo>
                    <a:pt x="4" y="30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6" y="48"/>
                  </a:lnTo>
                  <a:lnTo>
                    <a:pt x="10" y="58"/>
                  </a:lnTo>
                  <a:lnTo>
                    <a:pt x="12" y="64"/>
                  </a:lnTo>
                  <a:lnTo>
                    <a:pt x="18" y="52"/>
                  </a:lnTo>
                  <a:lnTo>
                    <a:pt x="20" y="42"/>
                  </a:lnTo>
                  <a:lnTo>
                    <a:pt x="20" y="30"/>
                  </a:lnTo>
                  <a:lnTo>
                    <a:pt x="16" y="30"/>
                  </a:lnTo>
                  <a:lnTo>
                    <a:pt x="14" y="18"/>
                  </a:lnTo>
                  <a:lnTo>
                    <a:pt x="16" y="1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09" name="Freeform 125"/>
            <p:cNvSpPr>
              <a:spLocks/>
            </p:cNvSpPr>
            <p:nvPr/>
          </p:nvSpPr>
          <p:spPr bwMode="gray">
            <a:xfrm>
              <a:off x="5170488" y="3468688"/>
              <a:ext cx="166687" cy="179387"/>
            </a:xfrm>
            <a:custGeom>
              <a:avLst/>
              <a:gdLst>
                <a:gd name="T0" fmla="*/ 2147483647 w 142"/>
                <a:gd name="T1" fmla="*/ 2147483647 h 148"/>
                <a:gd name="T2" fmla="*/ 2147483647 w 142"/>
                <a:gd name="T3" fmla="*/ 2147483647 h 148"/>
                <a:gd name="T4" fmla="*/ 2147483647 w 142"/>
                <a:gd name="T5" fmla="*/ 2147483647 h 148"/>
                <a:gd name="T6" fmla="*/ 2147483647 w 142"/>
                <a:gd name="T7" fmla="*/ 2147483647 h 148"/>
                <a:gd name="T8" fmla="*/ 2147483647 w 142"/>
                <a:gd name="T9" fmla="*/ 2147483647 h 148"/>
                <a:gd name="T10" fmla="*/ 2147483647 w 142"/>
                <a:gd name="T11" fmla="*/ 2147483647 h 148"/>
                <a:gd name="T12" fmla="*/ 2147483647 w 142"/>
                <a:gd name="T13" fmla="*/ 2147483647 h 148"/>
                <a:gd name="T14" fmla="*/ 2147483647 w 142"/>
                <a:gd name="T15" fmla="*/ 2147483647 h 148"/>
                <a:gd name="T16" fmla="*/ 2147483647 w 142"/>
                <a:gd name="T17" fmla="*/ 2147483647 h 148"/>
                <a:gd name="T18" fmla="*/ 2147483647 w 142"/>
                <a:gd name="T19" fmla="*/ 2147483647 h 148"/>
                <a:gd name="T20" fmla="*/ 2147483647 w 142"/>
                <a:gd name="T21" fmla="*/ 2147483647 h 148"/>
                <a:gd name="T22" fmla="*/ 2147483647 w 142"/>
                <a:gd name="T23" fmla="*/ 2147483647 h 148"/>
                <a:gd name="T24" fmla="*/ 2147483647 w 142"/>
                <a:gd name="T25" fmla="*/ 2147483647 h 148"/>
                <a:gd name="T26" fmla="*/ 2147483647 w 142"/>
                <a:gd name="T27" fmla="*/ 2147483647 h 148"/>
                <a:gd name="T28" fmla="*/ 2147483647 w 142"/>
                <a:gd name="T29" fmla="*/ 2147483647 h 148"/>
                <a:gd name="T30" fmla="*/ 2147483647 w 142"/>
                <a:gd name="T31" fmla="*/ 2147483647 h 148"/>
                <a:gd name="T32" fmla="*/ 2147483647 w 142"/>
                <a:gd name="T33" fmla="*/ 2147483647 h 148"/>
                <a:gd name="T34" fmla="*/ 2147483647 w 142"/>
                <a:gd name="T35" fmla="*/ 2147483647 h 148"/>
                <a:gd name="T36" fmla="*/ 2147483647 w 142"/>
                <a:gd name="T37" fmla="*/ 2147483647 h 148"/>
                <a:gd name="T38" fmla="*/ 2147483647 w 142"/>
                <a:gd name="T39" fmla="*/ 2147483647 h 148"/>
                <a:gd name="T40" fmla="*/ 2147483647 w 142"/>
                <a:gd name="T41" fmla="*/ 2147483647 h 148"/>
                <a:gd name="T42" fmla="*/ 2147483647 w 142"/>
                <a:gd name="T43" fmla="*/ 2147483647 h 148"/>
                <a:gd name="T44" fmla="*/ 2147483647 w 142"/>
                <a:gd name="T45" fmla="*/ 2147483647 h 148"/>
                <a:gd name="T46" fmla="*/ 2147483647 w 142"/>
                <a:gd name="T47" fmla="*/ 2147483647 h 148"/>
                <a:gd name="T48" fmla="*/ 0 w 142"/>
                <a:gd name="T49" fmla="*/ 2147483647 h 148"/>
                <a:gd name="T50" fmla="*/ 2147483647 w 142"/>
                <a:gd name="T51" fmla="*/ 2147483647 h 148"/>
                <a:gd name="T52" fmla="*/ 2147483647 w 142"/>
                <a:gd name="T53" fmla="*/ 2147483647 h 148"/>
                <a:gd name="T54" fmla="*/ 2147483647 w 142"/>
                <a:gd name="T55" fmla="*/ 2147483647 h 148"/>
                <a:gd name="T56" fmla="*/ 2147483647 w 142"/>
                <a:gd name="T57" fmla="*/ 2147483647 h 148"/>
                <a:gd name="T58" fmla="*/ 2147483647 w 142"/>
                <a:gd name="T59" fmla="*/ 0 h 148"/>
                <a:gd name="T60" fmla="*/ 2147483647 w 142"/>
                <a:gd name="T61" fmla="*/ 2147483647 h 148"/>
                <a:gd name="T62" fmla="*/ 2147483647 w 142"/>
                <a:gd name="T63" fmla="*/ 2147483647 h 14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42"/>
                <a:gd name="T97" fmla="*/ 0 h 148"/>
                <a:gd name="T98" fmla="*/ 142 w 142"/>
                <a:gd name="T99" fmla="*/ 148 h 14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42" h="148">
                  <a:moveTo>
                    <a:pt x="90" y="2"/>
                  </a:moveTo>
                  <a:lnTo>
                    <a:pt x="94" y="10"/>
                  </a:lnTo>
                  <a:lnTo>
                    <a:pt x="106" y="28"/>
                  </a:lnTo>
                  <a:lnTo>
                    <a:pt x="114" y="30"/>
                  </a:lnTo>
                  <a:lnTo>
                    <a:pt x="110" y="36"/>
                  </a:lnTo>
                  <a:lnTo>
                    <a:pt x="112" y="44"/>
                  </a:lnTo>
                  <a:lnTo>
                    <a:pt x="106" y="48"/>
                  </a:lnTo>
                  <a:lnTo>
                    <a:pt x="100" y="62"/>
                  </a:lnTo>
                  <a:lnTo>
                    <a:pt x="112" y="74"/>
                  </a:lnTo>
                  <a:lnTo>
                    <a:pt x="118" y="84"/>
                  </a:lnTo>
                  <a:lnTo>
                    <a:pt x="132" y="90"/>
                  </a:lnTo>
                  <a:lnTo>
                    <a:pt x="140" y="98"/>
                  </a:lnTo>
                  <a:lnTo>
                    <a:pt x="136" y="112"/>
                  </a:lnTo>
                  <a:lnTo>
                    <a:pt x="142" y="124"/>
                  </a:lnTo>
                  <a:lnTo>
                    <a:pt x="140" y="130"/>
                  </a:lnTo>
                  <a:lnTo>
                    <a:pt x="132" y="132"/>
                  </a:lnTo>
                  <a:lnTo>
                    <a:pt x="122" y="140"/>
                  </a:lnTo>
                  <a:lnTo>
                    <a:pt x="122" y="148"/>
                  </a:lnTo>
                  <a:lnTo>
                    <a:pt x="90" y="148"/>
                  </a:lnTo>
                  <a:lnTo>
                    <a:pt x="76" y="136"/>
                  </a:lnTo>
                  <a:lnTo>
                    <a:pt x="68" y="136"/>
                  </a:lnTo>
                  <a:lnTo>
                    <a:pt x="58" y="120"/>
                  </a:lnTo>
                  <a:lnTo>
                    <a:pt x="22" y="100"/>
                  </a:lnTo>
                  <a:lnTo>
                    <a:pt x="2" y="96"/>
                  </a:lnTo>
                  <a:lnTo>
                    <a:pt x="0" y="72"/>
                  </a:lnTo>
                  <a:lnTo>
                    <a:pt x="32" y="52"/>
                  </a:lnTo>
                  <a:lnTo>
                    <a:pt x="36" y="20"/>
                  </a:lnTo>
                  <a:lnTo>
                    <a:pt x="50" y="10"/>
                  </a:lnTo>
                  <a:lnTo>
                    <a:pt x="50" y="6"/>
                  </a:lnTo>
                  <a:lnTo>
                    <a:pt x="60" y="0"/>
                  </a:lnTo>
                  <a:lnTo>
                    <a:pt x="88" y="6"/>
                  </a:lnTo>
                  <a:lnTo>
                    <a:pt x="90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10" name="Freeform 126"/>
            <p:cNvSpPr>
              <a:spLocks/>
            </p:cNvSpPr>
            <p:nvPr/>
          </p:nvSpPr>
          <p:spPr bwMode="gray">
            <a:xfrm>
              <a:off x="5240338" y="3857625"/>
              <a:ext cx="193675" cy="122238"/>
            </a:xfrm>
            <a:custGeom>
              <a:avLst/>
              <a:gdLst>
                <a:gd name="T0" fmla="*/ 2147483647 w 162"/>
                <a:gd name="T1" fmla="*/ 2147483647 h 100"/>
                <a:gd name="T2" fmla="*/ 2147483647 w 162"/>
                <a:gd name="T3" fmla="*/ 2147483647 h 100"/>
                <a:gd name="T4" fmla="*/ 2147483647 w 162"/>
                <a:gd name="T5" fmla="*/ 2147483647 h 100"/>
                <a:gd name="T6" fmla="*/ 2147483647 w 162"/>
                <a:gd name="T7" fmla="*/ 2147483647 h 100"/>
                <a:gd name="T8" fmla="*/ 2147483647 w 162"/>
                <a:gd name="T9" fmla="*/ 2147483647 h 100"/>
                <a:gd name="T10" fmla="*/ 0 w 162"/>
                <a:gd name="T11" fmla="*/ 2147483647 h 100"/>
                <a:gd name="T12" fmla="*/ 0 w 162"/>
                <a:gd name="T13" fmla="*/ 2147483647 h 100"/>
                <a:gd name="T14" fmla="*/ 2147483647 w 162"/>
                <a:gd name="T15" fmla="*/ 2147483647 h 100"/>
                <a:gd name="T16" fmla="*/ 2147483647 w 162"/>
                <a:gd name="T17" fmla="*/ 2147483647 h 100"/>
                <a:gd name="T18" fmla="*/ 2147483647 w 162"/>
                <a:gd name="T19" fmla="*/ 2147483647 h 100"/>
                <a:gd name="T20" fmla="*/ 2147483647 w 162"/>
                <a:gd name="T21" fmla="*/ 2147483647 h 100"/>
                <a:gd name="T22" fmla="*/ 2147483647 w 162"/>
                <a:gd name="T23" fmla="*/ 0 h 100"/>
                <a:gd name="T24" fmla="*/ 2147483647 w 162"/>
                <a:gd name="T25" fmla="*/ 0 h 100"/>
                <a:gd name="T26" fmla="*/ 2147483647 w 162"/>
                <a:gd name="T27" fmla="*/ 2147483647 h 100"/>
                <a:gd name="T28" fmla="*/ 2147483647 w 162"/>
                <a:gd name="T29" fmla="*/ 2147483647 h 100"/>
                <a:gd name="T30" fmla="*/ 2147483647 w 162"/>
                <a:gd name="T31" fmla="*/ 2147483647 h 100"/>
                <a:gd name="T32" fmla="*/ 2147483647 w 162"/>
                <a:gd name="T33" fmla="*/ 2147483647 h 100"/>
                <a:gd name="T34" fmla="*/ 2147483647 w 162"/>
                <a:gd name="T35" fmla="*/ 2147483647 h 100"/>
                <a:gd name="T36" fmla="*/ 2147483647 w 162"/>
                <a:gd name="T37" fmla="*/ 2147483647 h 100"/>
                <a:gd name="T38" fmla="*/ 2147483647 w 162"/>
                <a:gd name="T39" fmla="*/ 2147483647 h 100"/>
                <a:gd name="T40" fmla="*/ 2147483647 w 162"/>
                <a:gd name="T41" fmla="*/ 2147483647 h 100"/>
                <a:gd name="T42" fmla="*/ 2147483647 w 162"/>
                <a:gd name="T43" fmla="*/ 2147483647 h 100"/>
                <a:gd name="T44" fmla="*/ 2147483647 w 162"/>
                <a:gd name="T45" fmla="*/ 2147483647 h 100"/>
                <a:gd name="T46" fmla="*/ 2147483647 w 162"/>
                <a:gd name="T47" fmla="*/ 2147483647 h 100"/>
                <a:gd name="T48" fmla="*/ 2147483647 w 162"/>
                <a:gd name="T49" fmla="*/ 2147483647 h 10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62"/>
                <a:gd name="T76" fmla="*/ 0 h 100"/>
                <a:gd name="T77" fmla="*/ 162 w 162"/>
                <a:gd name="T78" fmla="*/ 100 h 10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62" h="100">
                  <a:moveTo>
                    <a:pt x="50" y="86"/>
                  </a:moveTo>
                  <a:lnTo>
                    <a:pt x="42" y="92"/>
                  </a:lnTo>
                  <a:lnTo>
                    <a:pt x="36" y="100"/>
                  </a:lnTo>
                  <a:lnTo>
                    <a:pt x="16" y="100"/>
                  </a:lnTo>
                  <a:lnTo>
                    <a:pt x="8" y="96"/>
                  </a:lnTo>
                  <a:lnTo>
                    <a:pt x="0" y="66"/>
                  </a:lnTo>
                  <a:lnTo>
                    <a:pt x="0" y="42"/>
                  </a:lnTo>
                  <a:lnTo>
                    <a:pt x="8" y="24"/>
                  </a:lnTo>
                  <a:lnTo>
                    <a:pt x="42" y="22"/>
                  </a:lnTo>
                  <a:lnTo>
                    <a:pt x="72" y="28"/>
                  </a:lnTo>
                  <a:lnTo>
                    <a:pt x="98" y="4"/>
                  </a:lnTo>
                  <a:lnTo>
                    <a:pt x="128" y="0"/>
                  </a:lnTo>
                  <a:lnTo>
                    <a:pt x="146" y="0"/>
                  </a:lnTo>
                  <a:lnTo>
                    <a:pt x="162" y="36"/>
                  </a:lnTo>
                  <a:lnTo>
                    <a:pt x="150" y="42"/>
                  </a:lnTo>
                  <a:lnTo>
                    <a:pt x="142" y="48"/>
                  </a:lnTo>
                  <a:lnTo>
                    <a:pt x="142" y="56"/>
                  </a:lnTo>
                  <a:lnTo>
                    <a:pt x="136" y="60"/>
                  </a:lnTo>
                  <a:lnTo>
                    <a:pt x="114" y="66"/>
                  </a:lnTo>
                  <a:lnTo>
                    <a:pt x="104" y="68"/>
                  </a:lnTo>
                  <a:lnTo>
                    <a:pt x="96" y="80"/>
                  </a:lnTo>
                  <a:lnTo>
                    <a:pt x="78" y="78"/>
                  </a:lnTo>
                  <a:lnTo>
                    <a:pt x="70" y="88"/>
                  </a:lnTo>
                  <a:lnTo>
                    <a:pt x="56" y="88"/>
                  </a:lnTo>
                  <a:lnTo>
                    <a:pt x="50" y="8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11" name="Freeform 127"/>
            <p:cNvSpPr>
              <a:spLocks/>
            </p:cNvSpPr>
            <p:nvPr/>
          </p:nvSpPr>
          <p:spPr bwMode="gray">
            <a:xfrm>
              <a:off x="5264150" y="3417888"/>
              <a:ext cx="361950" cy="312737"/>
            </a:xfrm>
            <a:custGeom>
              <a:avLst/>
              <a:gdLst>
                <a:gd name="T0" fmla="*/ 2147483647 w 306"/>
                <a:gd name="T1" fmla="*/ 2147483647 h 258"/>
                <a:gd name="T2" fmla="*/ 2147483647 w 306"/>
                <a:gd name="T3" fmla="*/ 2147483647 h 258"/>
                <a:gd name="T4" fmla="*/ 2147483647 w 306"/>
                <a:gd name="T5" fmla="*/ 2147483647 h 258"/>
                <a:gd name="T6" fmla="*/ 2147483647 w 306"/>
                <a:gd name="T7" fmla="*/ 2147483647 h 258"/>
                <a:gd name="T8" fmla="*/ 2147483647 w 306"/>
                <a:gd name="T9" fmla="*/ 2147483647 h 258"/>
                <a:gd name="T10" fmla="*/ 2147483647 w 306"/>
                <a:gd name="T11" fmla="*/ 2147483647 h 258"/>
                <a:gd name="T12" fmla="*/ 2147483647 w 306"/>
                <a:gd name="T13" fmla="*/ 2147483647 h 258"/>
                <a:gd name="T14" fmla="*/ 2147483647 w 306"/>
                <a:gd name="T15" fmla="*/ 2147483647 h 258"/>
                <a:gd name="T16" fmla="*/ 2147483647 w 306"/>
                <a:gd name="T17" fmla="*/ 2147483647 h 258"/>
                <a:gd name="T18" fmla="*/ 2147483647 w 306"/>
                <a:gd name="T19" fmla="*/ 2147483647 h 258"/>
                <a:gd name="T20" fmla="*/ 2147483647 w 306"/>
                <a:gd name="T21" fmla="*/ 2147483647 h 258"/>
                <a:gd name="T22" fmla="*/ 2147483647 w 306"/>
                <a:gd name="T23" fmla="*/ 2147483647 h 258"/>
                <a:gd name="T24" fmla="*/ 2147483647 w 306"/>
                <a:gd name="T25" fmla="*/ 2147483647 h 258"/>
                <a:gd name="T26" fmla="*/ 2147483647 w 306"/>
                <a:gd name="T27" fmla="*/ 2147483647 h 258"/>
                <a:gd name="T28" fmla="*/ 2147483647 w 306"/>
                <a:gd name="T29" fmla="*/ 2147483647 h 258"/>
                <a:gd name="T30" fmla="*/ 2147483647 w 306"/>
                <a:gd name="T31" fmla="*/ 2147483647 h 258"/>
                <a:gd name="T32" fmla="*/ 2147483647 w 306"/>
                <a:gd name="T33" fmla="*/ 2147483647 h 258"/>
                <a:gd name="T34" fmla="*/ 2147483647 w 306"/>
                <a:gd name="T35" fmla="*/ 2147483647 h 258"/>
                <a:gd name="T36" fmla="*/ 2147483647 w 306"/>
                <a:gd name="T37" fmla="*/ 2147483647 h 258"/>
                <a:gd name="T38" fmla="*/ 2147483647 w 306"/>
                <a:gd name="T39" fmla="*/ 2147483647 h 258"/>
                <a:gd name="T40" fmla="*/ 2147483647 w 306"/>
                <a:gd name="T41" fmla="*/ 2147483647 h 258"/>
                <a:gd name="T42" fmla="*/ 2147483647 w 306"/>
                <a:gd name="T43" fmla="*/ 2147483647 h 258"/>
                <a:gd name="T44" fmla="*/ 2147483647 w 306"/>
                <a:gd name="T45" fmla="*/ 2147483647 h 258"/>
                <a:gd name="T46" fmla="*/ 2147483647 w 306"/>
                <a:gd name="T47" fmla="*/ 2147483647 h 258"/>
                <a:gd name="T48" fmla="*/ 2147483647 w 306"/>
                <a:gd name="T49" fmla="*/ 2147483647 h 258"/>
                <a:gd name="T50" fmla="*/ 2147483647 w 306"/>
                <a:gd name="T51" fmla="*/ 2147483647 h 258"/>
                <a:gd name="T52" fmla="*/ 2147483647 w 306"/>
                <a:gd name="T53" fmla="*/ 2147483647 h 258"/>
                <a:gd name="T54" fmla="*/ 2147483647 w 306"/>
                <a:gd name="T55" fmla="*/ 2147483647 h 258"/>
                <a:gd name="T56" fmla="*/ 0 w 306"/>
                <a:gd name="T57" fmla="*/ 2147483647 h 258"/>
                <a:gd name="T58" fmla="*/ 2147483647 w 306"/>
                <a:gd name="T59" fmla="*/ 2147483647 h 258"/>
                <a:gd name="T60" fmla="*/ 2147483647 w 306"/>
                <a:gd name="T61" fmla="*/ 2147483647 h 258"/>
                <a:gd name="T62" fmla="*/ 2147483647 w 306"/>
                <a:gd name="T63" fmla="*/ 2147483647 h 258"/>
                <a:gd name="T64" fmla="*/ 2147483647 w 306"/>
                <a:gd name="T65" fmla="*/ 0 h 258"/>
                <a:gd name="T66" fmla="*/ 2147483647 w 306"/>
                <a:gd name="T67" fmla="*/ 2147483647 h 258"/>
                <a:gd name="T68" fmla="*/ 2147483647 w 306"/>
                <a:gd name="T69" fmla="*/ 2147483647 h 258"/>
                <a:gd name="T70" fmla="*/ 2147483647 w 306"/>
                <a:gd name="T71" fmla="*/ 2147483647 h 25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6"/>
                <a:gd name="T109" fmla="*/ 0 h 258"/>
                <a:gd name="T110" fmla="*/ 306 w 306"/>
                <a:gd name="T111" fmla="*/ 258 h 25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6" h="258">
                  <a:moveTo>
                    <a:pt x="76" y="24"/>
                  </a:moveTo>
                  <a:lnTo>
                    <a:pt x="80" y="38"/>
                  </a:lnTo>
                  <a:lnTo>
                    <a:pt x="100" y="48"/>
                  </a:lnTo>
                  <a:lnTo>
                    <a:pt x="112" y="56"/>
                  </a:lnTo>
                  <a:lnTo>
                    <a:pt x="142" y="56"/>
                  </a:lnTo>
                  <a:lnTo>
                    <a:pt x="156" y="48"/>
                  </a:lnTo>
                  <a:lnTo>
                    <a:pt x="178" y="32"/>
                  </a:lnTo>
                  <a:lnTo>
                    <a:pt x="204" y="28"/>
                  </a:lnTo>
                  <a:lnTo>
                    <a:pt x="226" y="36"/>
                  </a:lnTo>
                  <a:lnTo>
                    <a:pt x="256" y="52"/>
                  </a:lnTo>
                  <a:lnTo>
                    <a:pt x="272" y="56"/>
                  </a:lnTo>
                  <a:lnTo>
                    <a:pt x="274" y="78"/>
                  </a:lnTo>
                  <a:lnTo>
                    <a:pt x="264" y="98"/>
                  </a:lnTo>
                  <a:lnTo>
                    <a:pt x="262" y="126"/>
                  </a:lnTo>
                  <a:lnTo>
                    <a:pt x="268" y="150"/>
                  </a:lnTo>
                  <a:lnTo>
                    <a:pt x="282" y="150"/>
                  </a:lnTo>
                  <a:lnTo>
                    <a:pt x="280" y="162"/>
                  </a:lnTo>
                  <a:lnTo>
                    <a:pt x="266" y="176"/>
                  </a:lnTo>
                  <a:lnTo>
                    <a:pt x="272" y="186"/>
                  </a:lnTo>
                  <a:lnTo>
                    <a:pt x="286" y="202"/>
                  </a:lnTo>
                  <a:lnTo>
                    <a:pt x="298" y="212"/>
                  </a:lnTo>
                  <a:lnTo>
                    <a:pt x="298" y="224"/>
                  </a:lnTo>
                  <a:lnTo>
                    <a:pt x="306" y="224"/>
                  </a:lnTo>
                  <a:lnTo>
                    <a:pt x="306" y="232"/>
                  </a:lnTo>
                  <a:lnTo>
                    <a:pt x="292" y="234"/>
                  </a:lnTo>
                  <a:lnTo>
                    <a:pt x="278" y="242"/>
                  </a:lnTo>
                  <a:lnTo>
                    <a:pt x="278" y="258"/>
                  </a:lnTo>
                  <a:lnTo>
                    <a:pt x="236" y="254"/>
                  </a:lnTo>
                  <a:lnTo>
                    <a:pt x="208" y="246"/>
                  </a:lnTo>
                  <a:lnTo>
                    <a:pt x="206" y="230"/>
                  </a:lnTo>
                  <a:lnTo>
                    <a:pt x="196" y="222"/>
                  </a:lnTo>
                  <a:lnTo>
                    <a:pt x="188" y="224"/>
                  </a:lnTo>
                  <a:lnTo>
                    <a:pt x="178" y="232"/>
                  </a:lnTo>
                  <a:lnTo>
                    <a:pt x="164" y="234"/>
                  </a:lnTo>
                  <a:lnTo>
                    <a:pt x="138" y="224"/>
                  </a:lnTo>
                  <a:lnTo>
                    <a:pt x="118" y="206"/>
                  </a:lnTo>
                  <a:lnTo>
                    <a:pt x="104" y="188"/>
                  </a:lnTo>
                  <a:lnTo>
                    <a:pt x="98" y="176"/>
                  </a:lnTo>
                  <a:lnTo>
                    <a:pt x="80" y="172"/>
                  </a:lnTo>
                  <a:lnTo>
                    <a:pt x="70" y="176"/>
                  </a:lnTo>
                  <a:lnTo>
                    <a:pt x="60" y="172"/>
                  </a:lnTo>
                  <a:lnTo>
                    <a:pt x="62" y="166"/>
                  </a:lnTo>
                  <a:lnTo>
                    <a:pt x="56" y="154"/>
                  </a:lnTo>
                  <a:lnTo>
                    <a:pt x="60" y="140"/>
                  </a:lnTo>
                  <a:lnTo>
                    <a:pt x="48" y="130"/>
                  </a:lnTo>
                  <a:lnTo>
                    <a:pt x="38" y="126"/>
                  </a:lnTo>
                  <a:lnTo>
                    <a:pt x="20" y="104"/>
                  </a:lnTo>
                  <a:lnTo>
                    <a:pt x="26" y="90"/>
                  </a:lnTo>
                  <a:lnTo>
                    <a:pt x="32" y="86"/>
                  </a:lnTo>
                  <a:lnTo>
                    <a:pt x="30" y="78"/>
                  </a:lnTo>
                  <a:lnTo>
                    <a:pt x="34" y="72"/>
                  </a:lnTo>
                  <a:lnTo>
                    <a:pt x="26" y="70"/>
                  </a:lnTo>
                  <a:lnTo>
                    <a:pt x="16" y="54"/>
                  </a:lnTo>
                  <a:lnTo>
                    <a:pt x="10" y="44"/>
                  </a:lnTo>
                  <a:lnTo>
                    <a:pt x="6" y="34"/>
                  </a:lnTo>
                  <a:lnTo>
                    <a:pt x="4" y="24"/>
                  </a:lnTo>
                  <a:lnTo>
                    <a:pt x="2" y="16"/>
                  </a:lnTo>
                  <a:lnTo>
                    <a:pt x="0" y="8"/>
                  </a:lnTo>
                  <a:lnTo>
                    <a:pt x="2" y="4"/>
                  </a:lnTo>
                  <a:lnTo>
                    <a:pt x="10" y="2"/>
                  </a:lnTo>
                  <a:lnTo>
                    <a:pt x="24" y="14"/>
                  </a:lnTo>
                  <a:lnTo>
                    <a:pt x="32" y="18"/>
                  </a:lnTo>
                  <a:lnTo>
                    <a:pt x="34" y="12"/>
                  </a:lnTo>
                  <a:lnTo>
                    <a:pt x="42" y="14"/>
                  </a:lnTo>
                  <a:lnTo>
                    <a:pt x="48" y="10"/>
                  </a:lnTo>
                  <a:lnTo>
                    <a:pt x="60" y="0"/>
                  </a:lnTo>
                  <a:lnTo>
                    <a:pt x="64" y="2"/>
                  </a:lnTo>
                  <a:lnTo>
                    <a:pt x="64" y="10"/>
                  </a:lnTo>
                  <a:lnTo>
                    <a:pt x="68" y="16"/>
                  </a:lnTo>
                  <a:lnTo>
                    <a:pt x="62" y="18"/>
                  </a:lnTo>
                  <a:lnTo>
                    <a:pt x="68" y="24"/>
                  </a:lnTo>
                  <a:lnTo>
                    <a:pt x="76" y="2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12" name="Freeform 128"/>
            <p:cNvSpPr>
              <a:spLocks/>
            </p:cNvSpPr>
            <p:nvPr/>
          </p:nvSpPr>
          <p:spPr bwMode="gray">
            <a:xfrm>
              <a:off x="5575300" y="3443288"/>
              <a:ext cx="266700" cy="196850"/>
            </a:xfrm>
            <a:custGeom>
              <a:avLst/>
              <a:gdLst>
                <a:gd name="T0" fmla="*/ 2147483647 w 226"/>
                <a:gd name="T1" fmla="*/ 2147483647 h 162"/>
                <a:gd name="T2" fmla="*/ 2147483647 w 226"/>
                <a:gd name="T3" fmla="*/ 2147483647 h 162"/>
                <a:gd name="T4" fmla="*/ 2147483647 w 226"/>
                <a:gd name="T5" fmla="*/ 2147483647 h 162"/>
                <a:gd name="T6" fmla="*/ 2147483647 w 226"/>
                <a:gd name="T7" fmla="*/ 2147483647 h 162"/>
                <a:gd name="T8" fmla="*/ 2147483647 w 226"/>
                <a:gd name="T9" fmla="*/ 2147483647 h 162"/>
                <a:gd name="T10" fmla="*/ 2147483647 w 226"/>
                <a:gd name="T11" fmla="*/ 2147483647 h 162"/>
                <a:gd name="T12" fmla="*/ 2147483647 w 226"/>
                <a:gd name="T13" fmla="*/ 2147483647 h 162"/>
                <a:gd name="T14" fmla="*/ 2147483647 w 226"/>
                <a:gd name="T15" fmla="*/ 2147483647 h 162"/>
                <a:gd name="T16" fmla="*/ 2147483647 w 226"/>
                <a:gd name="T17" fmla="*/ 2147483647 h 162"/>
                <a:gd name="T18" fmla="*/ 2147483647 w 226"/>
                <a:gd name="T19" fmla="*/ 2147483647 h 162"/>
                <a:gd name="T20" fmla="*/ 2147483647 w 226"/>
                <a:gd name="T21" fmla="*/ 2147483647 h 162"/>
                <a:gd name="T22" fmla="*/ 2147483647 w 226"/>
                <a:gd name="T23" fmla="*/ 2147483647 h 162"/>
                <a:gd name="T24" fmla="*/ 2147483647 w 226"/>
                <a:gd name="T25" fmla="*/ 0 h 162"/>
                <a:gd name="T26" fmla="*/ 2147483647 w 226"/>
                <a:gd name="T27" fmla="*/ 2147483647 h 162"/>
                <a:gd name="T28" fmla="*/ 2147483647 w 226"/>
                <a:gd name="T29" fmla="*/ 2147483647 h 162"/>
                <a:gd name="T30" fmla="*/ 2147483647 w 226"/>
                <a:gd name="T31" fmla="*/ 2147483647 h 162"/>
                <a:gd name="T32" fmla="*/ 2147483647 w 226"/>
                <a:gd name="T33" fmla="*/ 2147483647 h 162"/>
                <a:gd name="T34" fmla="*/ 2147483647 w 226"/>
                <a:gd name="T35" fmla="*/ 2147483647 h 162"/>
                <a:gd name="T36" fmla="*/ 2147483647 w 226"/>
                <a:gd name="T37" fmla="*/ 2147483647 h 162"/>
                <a:gd name="T38" fmla="*/ 2147483647 w 226"/>
                <a:gd name="T39" fmla="*/ 2147483647 h 162"/>
                <a:gd name="T40" fmla="*/ 2147483647 w 226"/>
                <a:gd name="T41" fmla="*/ 2147483647 h 162"/>
                <a:gd name="T42" fmla="*/ 2147483647 w 226"/>
                <a:gd name="T43" fmla="*/ 2147483647 h 162"/>
                <a:gd name="T44" fmla="*/ 2147483647 w 226"/>
                <a:gd name="T45" fmla="*/ 2147483647 h 162"/>
                <a:gd name="T46" fmla="*/ 2147483647 w 226"/>
                <a:gd name="T47" fmla="*/ 2147483647 h 162"/>
                <a:gd name="T48" fmla="*/ 2147483647 w 226"/>
                <a:gd name="T49" fmla="*/ 2147483647 h 162"/>
                <a:gd name="T50" fmla="*/ 2147483647 w 226"/>
                <a:gd name="T51" fmla="*/ 2147483647 h 162"/>
                <a:gd name="T52" fmla="*/ 2147483647 w 226"/>
                <a:gd name="T53" fmla="*/ 2147483647 h 162"/>
                <a:gd name="T54" fmla="*/ 2147483647 w 226"/>
                <a:gd name="T55" fmla="*/ 2147483647 h 162"/>
                <a:gd name="T56" fmla="*/ 2147483647 w 226"/>
                <a:gd name="T57" fmla="*/ 2147483647 h 162"/>
                <a:gd name="T58" fmla="*/ 2147483647 w 226"/>
                <a:gd name="T59" fmla="*/ 2147483647 h 162"/>
                <a:gd name="T60" fmla="*/ 2147483647 w 226"/>
                <a:gd name="T61" fmla="*/ 2147483647 h 162"/>
                <a:gd name="T62" fmla="*/ 2147483647 w 226"/>
                <a:gd name="T63" fmla="*/ 2147483647 h 162"/>
                <a:gd name="T64" fmla="*/ 2147483647 w 226"/>
                <a:gd name="T65" fmla="*/ 2147483647 h 162"/>
                <a:gd name="T66" fmla="*/ 2147483647 w 226"/>
                <a:gd name="T67" fmla="*/ 2147483647 h 162"/>
                <a:gd name="T68" fmla="*/ 2147483647 w 226"/>
                <a:gd name="T69" fmla="*/ 2147483647 h 162"/>
                <a:gd name="T70" fmla="*/ 2147483647 w 226"/>
                <a:gd name="T71" fmla="*/ 2147483647 h 162"/>
                <a:gd name="T72" fmla="*/ 2147483647 w 226"/>
                <a:gd name="T73" fmla="*/ 2147483647 h 162"/>
                <a:gd name="T74" fmla="*/ 2147483647 w 226"/>
                <a:gd name="T75" fmla="*/ 2147483647 h 162"/>
                <a:gd name="T76" fmla="*/ 2147483647 w 226"/>
                <a:gd name="T77" fmla="*/ 2147483647 h 162"/>
                <a:gd name="T78" fmla="*/ 2147483647 w 226"/>
                <a:gd name="T79" fmla="*/ 2147483647 h 162"/>
                <a:gd name="T80" fmla="*/ 2147483647 w 226"/>
                <a:gd name="T81" fmla="*/ 2147483647 h 162"/>
                <a:gd name="T82" fmla="*/ 2147483647 w 226"/>
                <a:gd name="T83" fmla="*/ 2147483647 h 162"/>
                <a:gd name="T84" fmla="*/ 2147483647 w 226"/>
                <a:gd name="T85" fmla="*/ 2147483647 h 162"/>
                <a:gd name="T86" fmla="*/ 2147483647 w 226"/>
                <a:gd name="T87" fmla="*/ 2147483647 h 162"/>
                <a:gd name="T88" fmla="*/ 2147483647 w 226"/>
                <a:gd name="T89" fmla="*/ 2147483647 h 162"/>
                <a:gd name="T90" fmla="*/ 2147483647 w 226"/>
                <a:gd name="T91" fmla="*/ 2147483647 h 162"/>
                <a:gd name="T92" fmla="*/ 2147483647 w 226"/>
                <a:gd name="T93" fmla="*/ 2147483647 h 162"/>
                <a:gd name="T94" fmla="*/ 2147483647 w 226"/>
                <a:gd name="T95" fmla="*/ 2147483647 h 162"/>
                <a:gd name="T96" fmla="*/ 2147483647 w 226"/>
                <a:gd name="T97" fmla="*/ 2147483647 h 162"/>
                <a:gd name="T98" fmla="*/ 2147483647 w 226"/>
                <a:gd name="T99" fmla="*/ 2147483647 h 162"/>
                <a:gd name="T100" fmla="*/ 2147483647 w 226"/>
                <a:gd name="T101" fmla="*/ 2147483647 h 162"/>
                <a:gd name="T102" fmla="*/ 2147483647 w 226"/>
                <a:gd name="T103" fmla="*/ 2147483647 h 162"/>
                <a:gd name="T104" fmla="*/ 0 w 226"/>
                <a:gd name="T105" fmla="*/ 2147483647 h 162"/>
                <a:gd name="T106" fmla="*/ 2147483647 w 226"/>
                <a:gd name="T107" fmla="*/ 2147483647 h 162"/>
                <a:gd name="T108" fmla="*/ 2147483647 w 226"/>
                <a:gd name="T109" fmla="*/ 2147483647 h 16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26"/>
                <a:gd name="T166" fmla="*/ 0 h 162"/>
                <a:gd name="T167" fmla="*/ 226 w 226"/>
                <a:gd name="T168" fmla="*/ 162 h 16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26" h="162">
                  <a:moveTo>
                    <a:pt x="12" y="56"/>
                  </a:moveTo>
                  <a:lnTo>
                    <a:pt x="24" y="56"/>
                  </a:lnTo>
                  <a:lnTo>
                    <a:pt x="34" y="60"/>
                  </a:lnTo>
                  <a:lnTo>
                    <a:pt x="44" y="48"/>
                  </a:lnTo>
                  <a:lnTo>
                    <a:pt x="56" y="44"/>
                  </a:lnTo>
                  <a:lnTo>
                    <a:pt x="68" y="26"/>
                  </a:lnTo>
                  <a:lnTo>
                    <a:pt x="84" y="20"/>
                  </a:lnTo>
                  <a:lnTo>
                    <a:pt x="96" y="20"/>
                  </a:lnTo>
                  <a:lnTo>
                    <a:pt x="116" y="26"/>
                  </a:lnTo>
                  <a:lnTo>
                    <a:pt x="126" y="30"/>
                  </a:lnTo>
                  <a:lnTo>
                    <a:pt x="146" y="18"/>
                  </a:lnTo>
                  <a:lnTo>
                    <a:pt x="154" y="16"/>
                  </a:lnTo>
                  <a:lnTo>
                    <a:pt x="164" y="0"/>
                  </a:lnTo>
                  <a:lnTo>
                    <a:pt x="172" y="6"/>
                  </a:lnTo>
                  <a:lnTo>
                    <a:pt x="174" y="18"/>
                  </a:lnTo>
                  <a:lnTo>
                    <a:pt x="172" y="26"/>
                  </a:lnTo>
                  <a:lnTo>
                    <a:pt x="172" y="32"/>
                  </a:lnTo>
                  <a:lnTo>
                    <a:pt x="182" y="30"/>
                  </a:lnTo>
                  <a:lnTo>
                    <a:pt x="190" y="26"/>
                  </a:lnTo>
                  <a:lnTo>
                    <a:pt x="198" y="20"/>
                  </a:lnTo>
                  <a:lnTo>
                    <a:pt x="226" y="20"/>
                  </a:lnTo>
                  <a:lnTo>
                    <a:pt x="226" y="28"/>
                  </a:lnTo>
                  <a:lnTo>
                    <a:pt x="214" y="30"/>
                  </a:lnTo>
                  <a:lnTo>
                    <a:pt x="198" y="30"/>
                  </a:lnTo>
                  <a:lnTo>
                    <a:pt x="190" y="30"/>
                  </a:lnTo>
                  <a:lnTo>
                    <a:pt x="186" y="32"/>
                  </a:lnTo>
                  <a:lnTo>
                    <a:pt x="174" y="40"/>
                  </a:lnTo>
                  <a:lnTo>
                    <a:pt x="168" y="46"/>
                  </a:lnTo>
                  <a:lnTo>
                    <a:pt x="172" y="52"/>
                  </a:lnTo>
                  <a:lnTo>
                    <a:pt x="174" y="58"/>
                  </a:lnTo>
                  <a:lnTo>
                    <a:pt x="172" y="68"/>
                  </a:lnTo>
                  <a:lnTo>
                    <a:pt x="168" y="78"/>
                  </a:lnTo>
                  <a:lnTo>
                    <a:pt x="152" y="84"/>
                  </a:lnTo>
                  <a:lnTo>
                    <a:pt x="148" y="96"/>
                  </a:lnTo>
                  <a:lnTo>
                    <a:pt x="142" y="100"/>
                  </a:lnTo>
                  <a:lnTo>
                    <a:pt x="138" y="110"/>
                  </a:lnTo>
                  <a:lnTo>
                    <a:pt x="138" y="124"/>
                  </a:lnTo>
                  <a:lnTo>
                    <a:pt x="114" y="124"/>
                  </a:lnTo>
                  <a:lnTo>
                    <a:pt x="110" y="132"/>
                  </a:lnTo>
                  <a:lnTo>
                    <a:pt x="94" y="132"/>
                  </a:lnTo>
                  <a:lnTo>
                    <a:pt x="90" y="138"/>
                  </a:lnTo>
                  <a:lnTo>
                    <a:pt x="88" y="156"/>
                  </a:lnTo>
                  <a:lnTo>
                    <a:pt x="78" y="158"/>
                  </a:lnTo>
                  <a:lnTo>
                    <a:pt x="42" y="162"/>
                  </a:lnTo>
                  <a:lnTo>
                    <a:pt x="24" y="162"/>
                  </a:lnTo>
                  <a:lnTo>
                    <a:pt x="18" y="156"/>
                  </a:lnTo>
                  <a:lnTo>
                    <a:pt x="8" y="160"/>
                  </a:lnTo>
                  <a:lnTo>
                    <a:pt x="4" y="154"/>
                  </a:lnTo>
                  <a:lnTo>
                    <a:pt x="18" y="140"/>
                  </a:lnTo>
                  <a:lnTo>
                    <a:pt x="20" y="128"/>
                  </a:lnTo>
                  <a:lnTo>
                    <a:pt x="6" y="128"/>
                  </a:lnTo>
                  <a:lnTo>
                    <a:pt x="4" y="114"/>
                  </a:lnTo>
                  <a:lnTo>
                    <a:pt x="0" y="104"/>
                  </a:lnTo>
                  <a:lnTo>
                    <a:pt x="2" y="76"/>
                  </a:lnTo>
                  <a:lnTo>
                    <a:pt x="12" y="5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13" name="Freeform 129"/>
            <p:cNvSpPr>
              <a:spLocks/>
            </p:cNvSpPr>
            <p:nvPr/>
          </p:nvSpPr>
          <p:spPr bwMode="gray">
            <a:xfrm>
              <a:off x="5584825" y="3478213"/>
              <a:ext cx="303213" cy="280987"/>
            </a:xfrm>
            <a:custGeom>
              <a:avLst/>
              <a:gdLst>
                <a:gd name="T0" fmla="*/ 2147483647 w 256"/>
                <a:gd name="T1" fmla="*/ 2147483647 h 232"/>
                <a:gd name="T2" fmla="*/ 2147483647 w 256"/>
                <a:gd name="T3" fmla="*/ 2147483647 h 232"/>
                <a:gd name="T4" fmla="*/ 2147483647 w 256"/>
                <a:gd name="T5" fmla="*/ 2147483647 h 232"/>
                <a:gd name="T6" fmla="*/ 2147483647 w 256"/>
                <a:gd name="T7" fmla="*/ 2147483647 h 232"/>
                <a:gd name="T8" fmla="*/ 2147483647 w 256"/>
                <a:gd name="T9" fmla="*/ 2147483647 h 232"/>
                <a:gd name="T10" fmla="*/ 2147483647 w 256"/>
                <a:gd name="T11" fmla="*/ 2147483647 h 232"/>
                <a:gd name="T12" fmla="*/ 2147483647 w 256"/>
                <a:gd name="T13" fmla="*/ 2147483647 h 232"/>
                <a:gd name="T14" fmla="*/ 2147483647 w 256"/>
                <a:gd name="T15" fmla="*/ 2147483647 h 232"/>
                <a:gd name="T16" fmla="*/ 2147483647 w 256"/>
                <a:gd name="T17" fmla="*/ 2147483647 h 232"/>
                <a:gd name="T18" fmla="*/ 2147483647 w 256"/>
                <a:gd name="T19" fmla="*/ 2147483647 h 232"/>
                <a:gd name="T20" fmla="*/ 2147483647 w 256"/>
                <a:gd name="T21" fmla="*/ 2147483647 h 232"/>
                <a:gd name="T22" fmla="*/ 2147483647 w 256"/>
                <a:gd name="T23" fmla="*/ 2147483647 h 232"/>
                <a:gd name="T24" fmla="*/ 2147483647 w 256"/>
                <a:gd name="T25" fmla="*/ 2147483647 h 232"/>
                <a:gd name="T26" fmla="*/ 2147483647 w 256"/>
                <a:gd name="T27" fmla="*/ 2147483647 h 232"/>
                <a:gd name="T28" fmla="*/ 2147483647 w 256"/>
                <a:gd name="T29" fmla="*/ 2147483647 h 232"/>
                <a:gd name="T30" fmla="*/ 2147483647 w 256"/>
                <a:gd name="T31" fmla="*/ 0 h 232"/>
                <a:gd name="T32" fmla="*/ 2147483647 w 256"/>
                <a:gd name="T33" fmla="*/ 2147483647 h 232"/>
                <a:gd name="T34" fmla="*/ 2147483647 w 256"/>
                <a:gd name="T35" fmla="*/ 2147483647 h 232"/>
                <a:gd name="T36" fmla="*/ 2147483647 w 256"/>
                <a:gd name="T37" fmla="*/ 2147483647 h 232"/>
                <a:gd name="T38" fmla="*/ 2147483647 w 256"/>
                <a:gd name="T39" fmla="*/ 2147483647 h 232"/>
                <a:gd name="T40" fmla="*/ 2147483647 w 256"/>
                <a:gd name="T41" fmla="*/ 2147483647 h 232"/>
                <a:gd name="T42" fmla="*/ 2147483647 w 256"/>
                <a:gd name="T43" fmla="*/ 2147483647 h 232"/>
                <a:gd name="T44" fmla="*/ 2147483647 w 256"/>
                <a:gd name="T45" fmla="*/ 2147483647 h 232"/>
                <a:gd name="T46" fmla="*/ 2147483647 w 256"/>
                <a:gd name="T47" fmla="*/ 2147483647 h 232"/>
                <a:gd name="T48" fmla="*/ 2147483647 w 256"/>
                <a:gd name="T49" fmla="*/ 2147483647 h 232"/>
                <a:gd name="T50" fmla="*/ 2147483647 w 256"/>
                <a:gd name="T51" fmla="*/ 2147483647 h 232"/>
                <a:gd name="T52" fmla="*/ 2147483647 w 256"/>
                <a:gd name="T53" fmla="*/ 2147483647 h 232"/>
                <a:gd name="T54" fmla="*/ 2147483647 w 256"/>
                <a:gd name="T55" fmla="*/ 2147483647 h 232"/>
                <a:gd name="T56" fmla="*/ 2147483647 w 256"/>
                <a:gd name="T57" fmla="*/ 2147483647 h 232"/>
                <a:gd name="T58" fmla="*/ 2147483647 w 256"/>
                <a:gd name="T59" fmla="*/ 2147483647 h 232"/>
                <a:gd name="T60" fmla="*/ 2147483647 w 256"/>
                <a:gd name="T61" fmla="*/ 2147483647 h 232"/>
                <a:gd name="T62" fmla="*/ 2147483647 w 256"/>
                <a:gd name="T63" fmla="*/ 2147483647 h 232"/>
                <a:gd name="T64" fmla="*/ 2147483647 w 256"/>
                <a:gd name="T65" fmla="*/ 2147483647 h 23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256"/>
                <a:gd name="T100" fmla="*/ 0 h 232"/>
                <a:gd name="T101" fmla="*/ 256 w 256"/>
                <a:gd name="T102" fmla="*/ 232 h 23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256" h="232">
                  <a:moveTo>
                    <a:pt x="8" y="208"/>
                  </a:moveTo>
                  <a:lnTo>
                    <a:pt x="8" y="192"/>
                  </a:lnTo>
                  <a:lnTo>
                    <a:pt x="22" y="184"/>
                  </a:lnTo>
                  <a:lnTo>
                    <a:pt x="36" y="182"/>
                  </a:lnTo>
                  <a:lnTo>
                    <a:pt x="36" y="174"/>
                  </a:lnTo>
                  <a:lnTo>
                    <a:pt x="28" y="174"/>
                  </a:lnTo>
                  <a:lnTo>
                    <a:pt x="28" y="162"/>
                  </a:lnTo>
                  <a:lnTo>
                    <a:pt x="16" y="152"/>
                  </a:lnTo>
                  <a:lnTo>
                    <a:pt x="0" y="132"/>
                  </a:lnTo>
                  <a:lnTo>
                    <a:pt x="10" y="128"/>
                  </a:lnTo>
                  <a:lnTo>
                    <a:pt x="16" y="134"/>
                  </a:lnTo>
                  <a:lnTo>
                    <a:pt x="34" y="134"/>
                  </a:lnTo>
                  <a:lnTo>
                    <a:pt x="54" y="132"/>
                  </a:lnTo>
                  <a:lnTo>
                    <a:pt x="70" y="130"/>
                  </a:lnTo>
                  <a:lnTo>
                    <a:pt x="80" y="128"/>
                  </a:lnTo>
                  <a:lnTo>
                    <a:pt x="82" y="110"/>
                  </a:lnTo>
                  <a:lnTo>
                    <a:pt x="86" y="104"/>
                  </a:lnTo>
                  <a:lnTo>
                    <a:pt x="102" y="104"/>
                  </a:lnTo>
                  <a:lnTo>
                    <a:pt x="106" y="96"/>
                  </a:lnTo>
                  <a:lnTo>
                    <a:pt x="130" y="96"/>
                  </a:lnTo>
                  <a:lnTo>
                    <a:pt x="130" y="82"/>
                  </a:lnTo>
                  <a:lnTo>
                    <a:pt x="134" y="72"/>
                  </a:lnTo>
                  <a:lnTo>
                    <a:pt x="140" y="68"/>
                  </a:lnTo>
                  <a:lnTo>
                    <a:pt x="144" y="56"/>
                  </a:lnTo>
                  <a:lnTo>
                    <a:pt x="160" y="50"/>
                  </a:lnTo>
                  <a:lnTo>
                    <a:pt x="166" y="30"/>
                  </a:lnTo>
                  <a:lnTo>
                    <a:pt x="160" y="18"/>
                  </a:lnTo>
                  <a:lnTo>
                    <a:pt x="166" y="12"/>
                  </a:lnTo>
                  <a:lnTo>
                    <a:pt x="182" y="2"/>
                  </a:lnTo>
                  <a:lnTo>
                    <a:pt x="190" y="2"/>
                  </a:lnTo>
                  <a:lnTo>
                    <a:pt x="206" y="2"/>
                  </a:lnTo>
                  <a:lnTo>
                    <a:pt x="218" y="0"/>
                  </a:lnTo>
                  <a:lnTo>
                    <a:pt x="224" y="2"/>
                  </a:lnTo>
                  <a:lnTo>
                    <a:pt x="236" y="6"/>
                  </a:lnTo>
                  <a:lnTo>
                    <a:pt x="236" y="16"/>
                  </a:lnTo>
                  <a:lnTo>
                    <a:pt x="256" y="24"/>
                  </a:lnTo>
                  <a:lnTo>
                    <a:pt x="254" y="30"/>
                  </a:lnTo>
                  <a:lnTo>
                    <a:pt x="250" y="42"/>
                  </a:lnTo>
                  <a:lnTo>
                    <a:pt x="234" y="46"/>
                  </a:lnTo>
                  <a:lnTo>
                    <a:pt x="204" y="42"/>
                  </a:lnTo>
                  <a:lnTo>
                    <a:pt x="206" y="72"/>
                  </a:lnTo>
                  <a:lnTo>
                    <a:pt x="214" y="78"/>
                  </a:lnTo>
                  <a:lnTo>
                    <a:pt x="222" y="86"/>
                  </a:lnTo>
                  <a:lnTo>
                    <a:pt x="216" y="92"/>
                  </a:lnTo>
                  <a:lnTo>
                    <a:pt x="214" y="106"/>
                  </a:lnTo>
                  <a:lnTo>
                    <a:pt x="172" y="160"/>
                  </a:lnTo>
                  <a:lnTo>
                    <a:pt x="158" y="164"/>
                  </a:lnTo>
                  <a:lnTo>
                    <a:pt x="150" y="160"/>
                  </a:lnTo>
                  <a:lnTo>
                    <a:pt x="142" y="160"/>
                  </a:lnTo>
                  <a:lnTo>
                    <a:pt x="132" y="172"/>
                  </a:lnTo>
                  <a:lnTo>
                    <a:pt x="132" y="182"/>
                  </a:lnTo>
                  <a:lnTo>
                    <a:pt x="140" y="182"/>
                  </a:lnTo>
                  <a:lnTo>
                    <a:pt x="144" y="196"/>
                  </a:lnTo>
                  <a:lnTo>
                    <a:pt x="150" y="202"/>
                  </a:lnTo>
                  <a:lnTo>
                    <a:pt x="156" y="210"/>
                  </a:lnTo>
                  <a:lnTo>
                    <a:pt x="156" y="220"/>
                  </a:lnTo>
                  <a:lnTo>
                    <a:pt x="142" y="220"/>
                  </a:lnTo>
                  <a:lnTo>
                    <a:pt x="138" y="226"/>
                  </a:lnTo>
                  <a:lnTo>
                    <a:pt x="130" y="220"/>
                  </a:lnTo>
                  <a:lnTo>
                    <a:pt x="122" y="220"/>
                  </a:lnTo>
                  <a:lnTo>
                    <a:pt x="116" y="232"/>
                  </a:lnTo>
                  <a:lnTo>
                    <a:pt x="104" y="228"/>
                  </a:lnTo>
                  <a:lnTo>
                    <a:pt x="86" y="204"/>
                  </a:lnTo>
                  <a:lnTo>
                    <a:pt x="86" y="200"/>
                  </a:lnTo>
                  <a:lnTo>
                    <a:pt x="38" y="204"/>
                  </a:lnTo>
                  <a:lnTo>
                    <a:pt x="34" y="210"/>
                  </a:lnTo>
                  <a:lnTo>
                    <a:pt x="8" y="20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14" name="Freeform 130"/>
            <p:cNvSpPr>
              <a:spLocks/>
            </p:cNvSpPr>
            <p:nvPr/>
          </p:nvSpPr>
          <p:spPr bwMode="gray">
            <a:xfrm>
              <a:off x="5091113" y="3556000"/>
              <a:ext cx="79375" cy="92075"/>
            </a:xfrm>
            <a:custGeom>
              <a:avLst/>
              <a:gdLst>
                <a:gd name="T0" fmla="*/ 2147483647 w 68"/>
                <a:gd name="T1" fmla="*/ 0 h 76"/>
                <a:gd name="T2" fmla="*/ 2147483647 w 68"/>
                <a:gd name="T3" fmla="*/ 2147483647 h 76"/>
                <a:gd name="T4" fmla="*/ 2147483647 w 68"/>
                <a:gd name="T5" fmla="*/ 2147483647 h 76"/>
                <a:gd name="T6" fmla="*/ 2147483647 w 68"/>
                <a:gd name="T7" fmla="*/ 2147483647 h 76"/>
                <a:gd name="T8" fmla="*/ 2147483647 w 68"/>
                <a:gd name="T9" fmla="*/ 2147483647 h 76"/>
                <a:gd name="T10" fmla="*/ 2147483647 w 68"/>
                <a:gd name="T11" fmla="*/ 2147483647 h 76"/>
                <a:gd name="T12" fmla="*/ 2147483647 w 68"/>
                <a:gd name="T13" fmla="*/ 2147483647 h 76"/>
                <a:gd name="T14" fmla="*/ 2147483647 w 68"/>
                <a:gd name="T15" fmla="*/ 2147483647 h 76"/>
                <a:gd name="T16" fmla="*/ 2147483647 w 68"/>
                <a:gd name="T17" fmla="*/ 2147483647 h 76"/>
                <a:gd name="T18" fmla="*/ 2147483647 w 68"/>
                <a:gd name="T19" fmla="*/ 2147483647 h 76"/>
                <a:gd name="T20" fmla="*/ 0 w 68"/>
                <a:gd name="T21" fmla="*/ 2147483647 h 76"/>
                <a:gd name="T22" fmla="*/ 2147483647 w 68"/>
                <a:gd name="T23" fmla="*/ 2147483647 h 76"/>
                <a:gd name="T24" fmla="*/ 2147483647 w 68"/>
                <a:gd name="T25" fmla="*/ 2147483647 h 76"/>
                <a:gd name="T26" fmla="*/ 2147483647 w 68"/>
                <a:gd name="T27" fmla="*/ 2147483647 h 76"/>
                <a:gd name="T28" fmla="*/ 2147483647 w 68"/>
                <a:gd name="T29" fmla="*/ 2147483647 h 76"/>
                <a:gd name="T30" fmla="*/ 2147483647 w 68"/>
                <a:gd name="T31" fmla="*/ 2147483647 h 76"/>
                <a:gd name="T32" fmla="*/ 2147483647 w 68"/>
                <a:gd name="T33" fmla="*/ 2147483647 h 76"/>
                <a:gd name="T34" fmla="*/ 2147483647 w 68"/>
                <a:gd name="T35" fmla="*/ 2147483647 h 76"/>
                <a:gd name="T36" fmla="*/ 2147483647 w 68"/>
                <a:gd name="T37" fmla="*/ 2147483647 h 76"/>
                <a:gd name="T38" fmla="*/ 2147483647 w 68"/>
                <a:gd name="T39" fmla="*/ 2147483647 h 76"/>
                <a:gd name="T40" fmla="*/ 2147483647 w 68"/>
                <a:gd name="T41" fmla="*/ 2147483647 h 76"/>
                <a:gd name="T42" fmla="*/ 2147483647 w 68"/>
                <a:gd name="T43" fmla="*/ 0 h 7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8"/>
                <a:gd name="T67" fmla="*/ 0 h 76"/>
                <a:gd name="T68" fmla="*/ 68 w 68"/>
                <a:gd name="T69" fmla="*/ 76 h 7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8" h="76">
                  <a:moveTo>
                    <a:pt x="66" y="0"/>
                  </a:moveTo>
                  <a:lnTo>
                    <a:pt x="68" y="24"/>
                  </a:lnTo>
                  <a:lnTo>
                    <a:pt x="66" y="30"/>
                  </a:lnTo>
                  <a:lnTo>
                    <a:pt x="38" y="34"/>
                  </a:lnTo>
                  <a:lnTo>
                    <a:pt x="50" y="50"/>
                  </a:lnTo>
                  <a:lnTo>
                    <a:pt x="44" y="56"/>
                  </a:lnTo>
                  <a:lnTo>
                    <a:pt x="42" y="62"/>
                  </a:lnTo>
                  <a:lnTo>
                    <a:pt x="30" y="64"/>
                  </a:lnTo>
                  <a:lnTo>
                    <a:pt x="24" y="72"/>
                  </a:lnTo>
                  <a:lnTo>
                    <a:pt x="20" y="76"/>
                  </a:lnTo>
                  <a:lnTo>
                    <a:pt x="0" y="70"/>
                  </a:lnTo>
                  <a:lnTo>
                    <a:pt x="6" y="58"/>
                  </a:lnTo>
                  <a:lnTo>
                    <a:pt x="8" y="48"/>
                  </a:lnTo>
                  <a:lnTo>
                    <a:pt x="8" y="36"/>
                  </a:lnTo>
                  <a:lnTo>
                    <a:pt x="10" y="28"/>
                  </a:lnTo>
                  <a:lnTo>
                    <a:pt x="10" y="20"/>
                  </a:lnTo>
                  <a:lnTo>
                    <a:pt x="12" y="14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8" y="20"/>
                  </a:lnTo>
                  <a:lnTo>
                    <a:pt x="36" y="18"/>
                  </a:lnTo>
                  <a:lnTo>
                    <a:pt x="66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15" name="Freeform 131"/>
            <p:cNvSpPr>
              <a:spLocks/>
            </p:cNvSpPr>
            <p:nvPr/>
          </p:nvSpPr>
          <p:spPr bwMode="gray">
            <a:xfrm>
              <a:off x="5092700" y="3579813"/>
              <a:ext cx="7938" cy="20637"/>
            </a:xfrm>
            <a:custGeom>
              <a:avLst/>
              <a:gdLst>
                <a:gd name="T0" fmla="*/ 2147483647 w 8"/>
                <a:gd name="T1" fmla="*/ 0 h 16"/>
                <a:gd name="T2" fmla="*/ 2147483647 w 8"/>
                <a:gd name="T3" fmla="*/ 0 h 16"/>
                <a:gd name="T4" fmla="*/ 0 w 8"/>
                <a:gd name="T5" fmla="*/ 2147483647 h 16"/>
                <a:gd name="T6" fmla="*/ 0 w 8"/>
                <a:gd name="T7" fmla="*/ 2147483647 h 16"/>
                <a:gd name="T8" fmla="*/ 2147483647 w 8"/>
                <a:gd name="T9" fmla="*/ 2147483647 h 16"/>
                <a:gd name="T10" fmla="*/ 2147483647 w 8"/>
                <a:gd name="T11" fmla="*/ 2147483647 h 16"/>
                <a:gd name="T12" fmla="*/ 2147483647 w 8"/>
                <a:gd name="T13" fmla="*/ 2147483647 h 16"/>
                <a:gd name="T14" fmla="*/ 2147483647 w 8"/>
                <a:gd name="T15" fmla="*/ 2147483647 h 16"/>
                <a:gd name="T16" fmla="*/ 2147483647 w 8"/>
                <a:gd name="T17" fmla="*/ 0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"/>
                <a:gd name="T28" fmla="*/ 0 h 16"/>
                <a:gd name="T29" fmla="*/ 8 w 8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" h="16">
                  <a:moveTo>
                    <a:pt x="8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8" y="8"/>
                  </a:lnTo>
                  <a:lnTo>
                    <a:pt x="8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16" name="Freeform 132"/>
            <p:cNvSpPr>
              <a:spLocks/>
            </p:cNvSpPr>
            <p:nvPr/>
          </p:nvSpPr>
          <p:spPr bwMode="gray">
            <a:xfrm>
              <a:off x="5391150" y="3713163"/>
              <a:ext cx="12700" cy="30162"/>
            </a:xfrm>
            <a:custGeom>
              <a:avLst/>
              <a:gdLst>
                <a:gd name="T0" fmla="*/ 0 w 10"/>
                <a:gd name="T1" fmla="*/ 2147483647 h 26"/>
                <a:gd name="T2" fmla="*/ 0 w 10"/>
                <a:gd name="T3" fmla="*/ 2147483647 h 26"/>
                <a:gd name="T4" fmla="*/ 2147483647 w 10"/>
                <a:gd name="T5" fmla="*/ 0 h 26"/>
                <a:gd name="T6" fmla="*/ 2147483647 w 10"/>
                <a:gd name="T7" fmla="*/ 0 h 26"/>
                <a:gd name="T8" fmla="*/ 2147483647 w 10"/>
                <a:gd name="T9" fmla="*/ 2147483647 h 26"/>
                <a:gd name="T10" fmla="*/ 2147483647 w 10"/>
                <a:gd name="T11" fmla="*/ 2147483647 h 26"/>
                <a:gd name="T12" fmla="*/ 2147483647 w 10"/>
                <a:gd name="T13" fmla="*/ 2147483647 h 26"/>
                <a:gd name="T14" fmla="*/ 2147483647 w 10"/>
                <a:gd name="T15" fmla="*/ 2147483647 h 26"/>
                <a:gd name="T16" fmla="*/ 0 w 10"/>
                <a:gd name="T17" fmla="*/ 2147483647 h 2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0"/>
                <a:gd name="T28" fmla="*/ 0 h 26"/>
                <a:gd name="T29" fmla="*/ 10 w 10"/>
                <a:gd name="T30" fmla="*/ 26 h 2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0" h="26">
                  <a:moveTo>
                    <a:pt x="0" y="22"/>
                  </a:moveTo>
                  <a:lnTo>
                    <a:pt x="0" y="1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0" y="8"/>
                  </a:lnTo>
                  <a:lnTo>
                    <a:pt x="10" y="14"/>
                  </a:lnTo>
                  <a:lnTo>
                    <a:pt x="8" y="22"/>
                  </a:lnTo>
                  <a:lnTo>
                    <a:pt x="4" y="26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17" name="Freeform 133"/>
            <p:cNvSpPr>
              <a:spLocks/>
            </p:cNvSpPr>
            <p:nvPr/>
          </p:nvSpPr>
          <p:spPr bwMode="gray">
            <a:xfrm>
              <a:off x="6361113" y="3941763"/>
              <a:ext cx="96837" cy="82550"/>
            </a:xfrm>
            <a:custGeom>
              <a:avLst/>
              <a:gdLst>
                <a:gd name="T0" fmla="*/ 2147483647 w 80"/>
                <a:gd name="T1" fmla="*/ 2147483647 h 68"/>
                <a:gd name="T2" fmla="*/ 2147483647 w 80"/>
                <a:gd name="T3" fmla="*/ 2147483647 h 68"/>
                <a:gd name="T4" fmla="*/ 2147483647 w 80"/>
                <a:gd name="T5" fmla="*/ 2147483647 h 68"/>
                <a:gd name="T6" fmla="*/ 2147483647 w 80"/>
                <a:gd name="T7" fmla="*/ 2147483647 h 68"/>
                <a:gd name="T8" fmla="*/ 2147483647 w 80"/>
                <a:gd name="T9" fmla="*/ 2147483647 h 68"/>
                <a:gd name="T10" fmla="*/ 2147483647 w 80"/>
                <a:gd name="T11" fmla="*/ 2147483647 h 68"/>
                <a:gd name="T12" fmla="*/ 0 w 80"/>
                <a:gd name="T13" fmla="*/ 2147483647 h 68"/>
                <a:gd name="T14" fmla="*/ 0 w 80"/>
                <a:gd name="T15" fmla="*/ 2147483647 h 68"/>
                <a:gd name="T16" fmla="*/ 2147483647 w 80"/>
                <a:gd name="T17" fmla="*/ 2147483647 h 68"/>
                <a:gd name="T18" fmla="*/ 2147483647 w 80"/>
                <a:gd name="T19" fmla="*/ 2147483647 h 68"/>
                <a:gd name="T20" fmla="*/ 2147483647 w 80"/>
                <a:gd name="T21" fmla="*/ 2147483647 h 68"/>
                <a:gd name="T22" fmla="*/ 2147483647 w 80"/>
                <a:gd name="T23" fmla="*/ 2147483647 h 68"/>
                <a:gd name="T24" fmla="*/ 2147483647 w 80"/>
                <a:gd name="T25" fmla="*/ 0 h 68"/>
                <a:gd name="T26" fmla="*/ 2147483647 w 80"/>
                <a:gd name="T27" fmla="*/ 2147483647 h 68"/>
                <a:gd name="T28" fmla="*/ 2147483647 w 80"/>
                <a:gd name="T29" fmla="*/ 2147483647 h 68"/>
                <a:gd name="T30" fmla="*/ 2147483647 w 80"/>
                <a:gd name="T31" fmla="*/ 2147483647 h 68"/>
                <a:gd name="T32" fmla="*/ 2147483647 w 80"/>
                <a:gd name="T33" fmla="*/ 2147483647 h 68"/>
                <a:gd name="T34" fmla="*/ 2147483647 w 80"/>
                <a:gd name="T35" fmla="*/ 2147483647 h 68"/>
                <a:gd name="T36" fmla="*/ 2147483647 w 80"/>
                <a:gd name="T37" fmla="*/ 2147483647 h 68"/>
                <a:gd name="T38" fmla="*/ 2147483647 w 80"/>
                <a:gd name="T39" fmla="*/ 2147483647 h 68"/>
                <a:gd name="T40" fmla="*/ 2147483647 w 80"/>
                <a:gd name="T41" fmla="*/ 2147483647 h 68"/>
                <a:gd name="T42" fmla="*/ 2147483647 w 80"/>
                <a:gd name="T43" fmla="*/ 2147483647 h 68"/>
                <a:gd name="T44" fmla="*/ 2147483647 w 80"/>
                <a:gd name="T45" fmla="*/ 2147483647 h 68"/>
                <a:gd name="T46" fmla="*/ 2147483647 w 80"/>
                <a:gd name="T47" fmla="*/ 2147483647 h 6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80"/>
                <a:gd name="T73" fmla="*/ 0 h 68"/>
                <a:gd name="T74" fmla="*/ 80 w 80"/>
                <a:gd name="T75" fmla="*/ 68 h 6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80" h="68">
                  <a:moveTo>
                    <a:pt x="40" y="66"/>
                  </a:moveTo>
                  <a:lnTo>
                    <a:pt x="34" y="66"/>
                  </a:lnTo>
                  <a:lnTo>
                    <a:pt x="32" y="68"/>
                  </a:lnTo>
                  <a:lnTo>
                    <a:pt x="18" y="64"/>
                  </a:lnTo>
                  <a:lnTo>
                    <a:pt x="12" y="54"/>
                  </a:lnTo>
                  <a:lnTo>
                    <a:pt x="8" y="44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8" y="4"/>
                  </a:lnTo>
                  <a:lnTo>
                    <a:pt x="48" y="2"/>
                  </a:lnTo>
                  <a:lnTo>
                    <a:pt x="48" y="8"/>
                  </a:lnTo>
                  <a:lnTo>
                    <a:pt x="58" y="8"/>
                  </a:lnTo>
                  <a:lnTo>
                    <a:pt x="62" y="0"/>
                  </a:lnTo>
                  <a:lnTo>
                    <a:pt x="66" y="2"/>
                  </a:lnTo>
                  <a:lnTo>
                    <a:pt x="68" y="6"/>
                  </a:lnTo>
                  <a:lnTo>
                    <a:pt x="80" y="6"/>
                  </a:lnTo>
                  <a:lnTo>
                    <a:pt x="80" y="16"/>
                  </a:lnTo>
                  <a:lnTo>
                    <a:pt x="76" y="26"/>
                  </a:lnTo>
                  <a:lnTo>
                    <a:pt x="70" y="38"/>
                  </a:lnTo>
                  <a:lnTo>
                    <a:pt x="64" y="46"/>
                  </a:lnTo>
                  <a:lnTo>
                    <a:pt x="54" y="50"/>
                  </a:lnTo>
                  <a:lnTo>
                    <a:pt x="54" y="58"/>
                  </a:lnTo>
                  <a:lnTo>
                    <a:pt x="44" y="62"/>
                  </a:lnTo>
                  <a:lnTo>
                    <a:pt x="40" y="6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18" name="Freeform 134" descr="Diagonal hell nach oben"/>
            <p:cNvSpPr>
              <a:spLocks/>
            </p:cNvSpPr>
            <p:nvPr/>
          </p:nvSpPr>
          <p:spPr bwMode="gray">
            <a:xfrm>
              <a:off x="6359525" y="3773488"/>
              <a:ext cx="133350" cy="282575"/>
            </a:xfrm>
            <a:custGeom>
              <a:avLst/>
              <a:gdLst>
                <a:gd name="T0" fmla="*/ 2147483647 w 112"/>
                <a:gd name="T1" fmla="*/ 2147483647 h 234"/>
                <a:gd name="T2" fmla="*/ 2147483647 w 112"/>
                <a:gd name="T3" fmla="*/ 2147483647 h 234"/>
                <a:gd name="T4" fmla="*/ 2147483647 w 112"/>
                <a:gd name="T5" fmla="*/ 2147483647 h 234"/>
                <a:gd name="T6" fmla="*/ 2147483647 w 112"/>
                <a:gd name="T7" fmla="*/ 2147483647 h 234"/>
                <a:gd name="T8" fmla="*/ 2147483647 w 112"/>
                <a:gd name="T9" fmla="*/ 2147483647 h 234"/>
                <a:gd name="T10" fmla="*/ 2147483647 w 112"/>
                <a:gd name="T11" fmla="*/ 2147483647 h 234"/>
                <a:gd name="T12" fmla="*/ 2147483647 w 112"/>
                <a:gd name="T13" fmla="*/ 2147483647 h 234"/>
                <a:gd name="T14" fmla="*/ 2147483647 w 112"/>
                <a:gd name="T15" fmla="*/ 2147483647 h 234"/>
                <a:gd name="T16" fmla="*/ 2147483647 w 112"/>
                <a:gd name="T17" fmla="*/ 2147483647 h 234"/>
                <a:gd name="T18" fmla="*/ 2147483647 w 112"/>
                <a:gd name="T19" fmla="*/ 2147483647 h 234"/>
                <a:gd name="T20" fmla="*/ 2147483647 w 112"/>
                <a:gd name="T21" fmla="*/ 2147483647 h 234"/>
                <a:gd name="T22" fmla="*/ 2147483647 w 112"/>
                <a:gd name="T23" fmla="*/ 2147483647 h 234"/>
                <a:gd name="T24" fmla="*/ 2147483647 w 112"/>
                <a:gd name="T25" fmla="*/ 2147483647 h 234"/>
                <a:gd name="T26" fmla="*/ 2147483647 w 112"/>
                <a:gd name="T27" fmla="*/ 2147483647 h 234"/>
                <a:gd name="T28" fmla="*/ 2147483647 w 112"/>
                <a:gd name="T29" fmla="*/ 2147483647 h 234"/>
                <a:gd name="T30" fmla="*/ 2147483647 w 112"/>
                <a:gd name="T31" fmla="*/ 2147483647 h 234"/>
                <a:gd name="T32" fmla="*/ 2147483647 w 112"/>
                <a:gd name="T33" fmla="*/ 2147483647 h 234"/>
                <a:gd name="T34" fmla="*/ 2147483647 w 112"/>
                <a:gd name="T35" fmla="*/ 2147483647 h 234"/>
                <a:gd name="T36" fmla="*/ 2147483647 w 112"/>
                <a:gd name="T37" fmla="*/ 2147483647 h 234"/>
                <a:gd name="T38" fmla="*/ 2147483647 w 112"/>
                <a:gd name="T39" fmla="*/ 2147483647 h 234"/>
                <a:gd name="T40" fmla="*/ 2147483647 w 112"/>
                <a:gd name="T41" fmla="*/ 2147483647 h 234"/>
                <a:gd name="T42" fmla="*/ 2147483647 w 112"/>
                <a:gd name="T43" fmla="*/ 2147483647 h 234"/>
                <a:gd name="T44" fmla="*/ 2147483647 w 112"/>
                <a:gd name="T45" fmla="*/ 2147483647 h 234"/>
                <a:gd name="T46" fmla="*/ 2147483647 w 112"/>
                <a:gd name="T47" fmla="*/ 2147483647 h 234"/>
                <a:gd name="T48" fmla="*/ 2147483647 w 112"/>
                <a:gd name="T49" fmla="*/ 2147483647 h 234"/>
                <a:gd name="T50" fmla="*/ 2147483647 w 112"/>
                <a:gd name="T51" fmla="*/ 2147483647 h 234"/>
                <a:gd name="T52" fmla="*/ 2147483647 w 112"/>
                <a:gd name="T53" fmla="*/ 0 h 234"/>
                <a:gd name="T54" fmla="*/ 2147483647 w 112"/>
                <a:gd name="T55" fmla="*/ 0 h 234"/>
                <a:gd name="T56" fmla="*/ 2147483647 w 112"/>
                <a:gd name="T57" fmla="*/ 2147483647 h 234"/>
                <a:gd name="T58" fmla="*/ 2147483647 w 112"/>
                <a:gd name="T59" fmla="*/ 2147483647 h 234"/>
                <a:gd name="T60" fmla="*/ 0 w 112"/>
                <a:gd name="T61" fmla="*/ 2147483647 h 234"/>
                <a:gd name="T62" fmla="*/ 2147483647 w 112"/>
                <a:gd name="T63" fmla="*/ 2147483647 h 234"/>
                <a:gd name="T64" fmla="*/ 2147483647 w 112"/>
                <a:gd name="T65" fmla="*/ 2147483647 h 234"/>
                <a:gd name="T66" fmla="*/ 2147483647 w 112"/>
                <a:gd name="T67" fmla="*/ 2147483647 h 234"/>
                <a:gd name="T68" fmla="*/ 2147483647 w 112"/>
                <a:gd name="T69" fmla="*/ 2147483647 h 234"/>
                <a:gd name="T70" fmla="*/ 2147483647 w 112"/>
                <a:gd name="T71" fmla="*/ 2147483647 h 234"/>
                <a:gd name="T72" fmla="*/ 2147483647 w 112"/>
                <a:gd name="T73" fmla="*/ 2147483647 h 234"/>
                <a:gd name="T74" fmla="*/ 2147483647 w 112"/>
                <a:gd name="T75" fmla="*/ 2147483647 h 234"/>
                <a:gd name="T76" fmla="*/ 2147483647 w 112"/>
                <a:gd name="T77" fmla="*/ 2147483647 h 234"/>
                <a:gd name="T78" fmla="*/ 2147483647 w 112"/>
                <a:gd name="T79" fmla="*/ 2147483647 h 234"/>
                <a:gd name="T80" fmla="*/ 2147483647 w 112"/>
                <a:gd name="T81" fmla="*/ 2147483647 h 234"/>
                <a:gd name="T82" fmla="*/ 2147483647 w 112"/>
                <a:gd name="T83" fmla="*/ 2147483647 h 234"/>
                <a:gd name="T84" fmla="*/ 2147483647 w 112"/>
                <a:gd name="T85" fmla="*/ 2147483647 h 234"/>
                <a:gd name="T86" fmla="*/ 2147483647 w 112"/>
                <a:gd name="T87" fmla="*/ 2147483647 h 234"/>
                <a:gd name="T88" fmla="*/ 2147483647 w 112"/>
                <a:gd name="T89" fmla="*/ 2147483647 h 234"/>
                <a:gd name="T90" fmla="*/ 2147483647 w 112"/>
                <a:gd name="T91" fmla="*/ 2147483647 h 234"/>
                <a:gd name="T92" fmla="*/ 2147483647 w 112"/>
                <a:gd name="T93" fmla="*/ 2147483647 h 234"/>
                <a:gd name="T94" fmla="*/ 2147483647 w 112"/>
                <a:gd name="T95" fmla="*/ 2147483647 h 234"/>
                <a:gd name="T96" fmla="*/ 2147483647 w 112"/>
                <a:gd name="T97" fmla="*/ 2147483647 h 234"/>
                <a:gd name="T98" fmla="*/ 2147483647 w 112"/>
                <a:gd name="T99" fmla="*/ 2147483647 h 234"/>
                <a:gd name="T100" fmla="*/ 2147483647 w 112"/>
                <a:gd name="T101" fmla="*/ 2147483647 h 23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2"/>
                <a:gd name="T154" fmla="*/ 0 h 234"/>
                <a:gd name="T155" fmla="*/ 112 w 112"/>
                <a:gd name="T156" fmla="*/ 234 h 23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2" h="234">
                  <a:moveTo>
                    <a:pt x="42" y="204"/>
                  </a:moveTo>
                  <a:lnTo>
                    <a:pt x="44" y="206"/>
                  </a:lnTo>
                  <a:lnTo>
                    <a:pt x="44" y="208"/>
                  </a:lnTo>
                  <a:lnTo>
                    <a:pt x="44" y="214"/>
                  </a:lnTo>
                  <a:lnTo>
                    <a:pt x="42" y="214"/>
                  </a:lnTo>
                  <a:lnTo>
                    <a:pt x="40" y="234"/>
                  </a:lnTo>
                  <a:lnTo>
                    <a:pt x="52" y="226"/>
                  </a:lnTo>
                  <a:lnTo>
                    <a:pt x="66" y="218"/>
                  </a:lnTo>
                  <a:lnTo>
                    <a:pt x="66" y="210"/>
                  </a:lnTo>
                  <a:lnTo>
                    <a:pt x="70" y="204"/>
                  </a:lnTo>
                  <a:lnTo>
                    <a:pt x="82" y="206"/>
                  </a:lnTo>
                  <a:lnTo>
                    <a:pt x="94" y="202"/>
                  </a:lnTo>
                  <a:lnTo>
                    <a:pt x="108" y="190"/>
                  </a:lnTo>
                  <a:lnTo>
                    <a:pt x="112" y="172"/>
                  </a:lnTo>
                  <a:lnTo>
                    <a:pt x="108" y="152"/>
                  </a:lnTo>
                  <a:lnTo>
                    <a:pt x="104" y="138"/>
                  </a:lnTo>
                  <a:lnTo>
                    <a:pt x="100" y="122"/>
                  </a:lnTo>
                  <a:lnTo>
                    <a:pt x="60" y="78"/>
                  </a:lnTo>
                  <a:lnTo>
                    <a:pt x="54" y="70"/>
                  </a:lnTo>
                  <a:lnTo>
                    <a:pt x="62" y="50"/>
                  </a:lnTo>
                  <a:lnTo>
                    <a:pt x="74" y="34"/>
                  </a:lnTo>
                  <a:lnTo>
                    <a:pt x="82" y="32"/>
                  </a:lnTo>
                  <a:lnTo>
                    <a:pt x="80" y="24"/>
                  </a:lnTo>
                  <a:lnTo>
                    <a:pt x="70" y="20"/>
                  </a:lnTo>
                  <a:lnTo>
                    <a:pt x="68" y="6"/>
                  </a:lnTo>
                  <a:lnTo>
                    <a:pt x="58" y="4"/>
                  </a:lnTo>
                  <a:lnTo>
                    <a:pt x="50" y="0"/>
                  </a:lnTo>
                  <a:lnTo>
                    <a:pt x="44" y="0"/>
                  </a:lnTo>
                  <a:lnTo>
                    <a:pt x="34" y="6"/>
                  </a:lnTo>
                  <a:lnTo>
                    <a:pt x="2" y="8"/>
                  </a:lnTo>
                  <a:lnTo>
                    <a:pt x="0" y="14"/>
                  </a:lnTo>
                  <a:lnTo>
                    <a:pt x="10" y="24"/>
                  </a:lnTo>
                  <a:lnTo>
                    <a:pt x="12" y="38"/>
                  </a:lnTo>
                  <a:lnTo>
                    <a:pt x="34" y="36"/>
                  </a:lnTo>
                  <a:lnTo>
                    <a:pt x="40" y="46"/>
                  </a:lnTo>
                  <a:lnTo>
                    <a:pt x="42" y="56"/>
                  </a:lnTo>
                  <a:lnTo>
                    <a:pt x="28" y="56"/>
                  </a:lnTo>
                  <a:lnTo>
                    <a:pt x="26" y="66"/>
                  </a:lnTo>
                  <a:lnTo>
                    <a:pt x="34" y="70"/>
                  </a:lnTo>
                  <a:lnTo>
                    <a:pt x="62" y="96"/>
                  </a:lnTo>
                  <a:lnTo>
                    <a:pt x="80" y="116"/>
                  </a:lnTo>
                  <a:lnTo>
                    <a:pt x="84" y="130"/>
                  </a:lnTo>
                  <a:lnTo>
                    <a:pt x="82" y="144"/>
                  </a:lnTo>
                  <a:lnTo>
                    <a:pt x="82" y="152"/>
                  </a:lnTo>
                  <a:lnTo>
                    <a:pt x="78" y="164"/>
                  </a:lnTo>
                  <a:lnTo>
                    <a:pt x="72" y="176"/>
                  </a:lnTo>
                  <a:lnTo>
                    <a:pt x="66" y="184"/>
                  </a:lnTo>
                  <a:lnTo>
                    <a:pt x="56" y="188"/>
                  </a:lnTo>
                  <a:lnTo>
                    <a:pt x="56" y="196"/>
                  </a:lnTo>
                  <a:lnTo>
                    <a:pt x="46" y="200"/>
                  </a:lnTo>
                  <a:lnTo>
                    <a:pt x="42" y="204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19" name="Freeform 135"/>
            <p:cNvSpPr>
              <a:spLocks/>
            </p:cNvSpPr>
            <p:nvPr/>
          </p:nvSpPr>
          <p:spPr bwMode="gray">
            <a:xfrm>
              <a:off x="5902325" y="3498850"/>
              <a:ext cx="46038" cy="44450"/>
            </a:xfrm>
            <a:custGeom>
              <a:avLst/>
              <a:gdLst>
                <a:gd name="T0" fmla="*/ 2147483647 w 38"/>
                <a:gd name="T1" fmla="*/ 2147483647 h 36"/>
                <a:gd name="T2" fmla="*/ 2147483647 w 38"/>
                <a:gd name="T3" fmla="*/ 2147483647 h 36"/>
                <a:gd name="T4" fmla="*/ 2147483647 w 38"/>
                <a:gd name="T5" fmla="*/ 2147483647 h 36"/>
                <a:gd name="T6" fmla="*/ 0 w 38"/>
                <a:gd name="T7" fmla="*/ 2147483647 h 36"/>
                <a:gd name="T8" fmla="*/ 2147483647 w 38"/>
                <a:gd name="T9" fmla="*/ 2147483647 h 36"/>
                <a:gd name="T10" fmla="*/ 2147483647 w 38"/>
                <a:gd name="T11" fmla="*/ 0 h 36"/>
                <a:gd name="T12" fmla="*/ 2147483647 w 38"/>
                <a:gd name="T13" fmla="*/ 2147483647 h 36"/>
                <a:gd name="T14" fmla="*/ 2147483647 w 38"/>
                <a:gd name="T15" fmla="*/ 2147483647 h 36"/>
                <a:gd name="T16" fmla="*/ 2147483647 w 38"/>
                <a:gd name="T17" fmla="*/ 2147483647 h 36"/>
                <a:gd name="T18" fmla="*/ 2147483647 w 38"/>
                <a:gd name="T19" fmla="*/ 2147483647 h 36"/>
                <a:gd name="T20" fmla="*/ 2147483647 w 38"/>
                <a:gd name="T21" fmla="*/ 2147483647 h 36"/>
                <a:gd name="T22" fmla="*/ 2147483647 w 38"/>
                <a:gd name="T23" fmla="*/ 2147483647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8"/>
                <a:gd name="T37" fmla="*/ 0 h 36"/>
                <a:gd name="T38" fmla="*/ 38 w 38"/>
                <a:gd name="T39" fmla="*/ 36 h 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8" h="36">
                  <a:moveTo>
                    <a:pt x="14" y="36"/>
                  </a:moveTo>
                  <a:lnTo>
                    <a:pt x="12" y="28"/>
                  </a:lnTo>
                  <a:lnTo>
                    <a:pt x="2" y="22"/>
                  </a:lnTo>
                  <a:lnTo>
                    <a:pt x="0" y="8"/>
                  </a:lnTo>
                  <a:lnTo>
                    <a:pt x="6" y="4"/>
                  </a:lnTo>
                  <a:lnTo>
                    <a:pt x="20" y="0"/>
                  </a:lnTo>
                  <a:lnTo>
                    <a:pt x="28" y="6"/>
                  </a:lnTo>
                  <a:lnTo>
                    <a:pt x="38" y="12"/>
                  </a:lnTo>
                  <a:lnTo>
                    <a:pt x="38" y="20"/>
                  </a:lnTo>
                  <a:lnTo>
                    <a:pt x="32" y="26"/>
                  </a:lnTo>
                  <a:lnTo>
                    <a:pt x="24" y="30"/>
                  </a:lnTo>
                  <a:lnTo>
                    <a:pt x="14" y="3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20" name="Freeform 136"/>
            <p:cNvSpPr>
              <a:spLocks/>
            </p:cNvSpPr>
            <p:nvPr/>
          </p:nvSpPr>
          <p:spPr bwMode="gray">
            <a:xfrm>
              <a:off x="5940425" y="3619500"/>
              <a:ext cx="153988" cy="85725"/>
            </a:xfrm>
            <a:custGeom>
              <a:avLst/>
              <a:gdLst>
                <a:gd name="T0" fmla="*/ 2147483647 w 130"/>
                <a:gd name="T1" fmla="*/ 2147483647 h 72"/>
                <a:gd name="T2" fmla="*/ 2147483647 w 130"/>
                <a:gd name="T3" fmla="*/ 0 h 72"/>
                <a:gd name="T4" fmla="*/ 2147483647 w 130"/>
                <a:gd name="T5" fmla="*/ 2147483647 h 72"/>
                <a:gd name="T6" fmla="*/ 2147483647 w 130"/>
                <a:gd name="T7" fmla="*/ 2147483647 h 72"/>
                <a:gd name="T8" fmla="*/ 2147483647 w 130"/>
                <a:gd name="T9" fmla="*/ 2147483647 h 72"/>
                <a:gd name="T10" fmla="*/ 2147483647 w 130"/>
                <a:gd name="T11" fmla="*/ 2147483647 h 72"/>
                <a:gd name="T12" fmla="*/ 2147483647 w 130"/>
                <a:gd name="T13" fmla="*/ 2147483647 h 72"/>
                <a:gd name="T14" fmla="*/ 2147483647 w 130"/>
                <a:gd name="T15" fmla="*/ 2147483647 h 72"/>
                <a:gd name="T16" fmla="*/ 2147483647 w 130"/>
                <a:gd name="T17" fmla="*/ 2147483647 h 72"/>
                <a:gd name="T18" fmla="*/ 2147483647 w 130"/>
                <a:gd name="T19" fmla="*/ 2147483647 h 72"/>
                <a:gd name="T20" fmla="*/ 2147483647 w 130"/>
                <a:gd name="T21" fmla="*/ 2147483647 h 72"/>
                <a:gd name="T22" fmla="*/ 2147483647 w 130"/>
                <a:gd name="T23" fmla="*/ 2147483647 h 72"/>
                <a:gd name="T24" fmla="*/ 2147483647 w 130"/>
                <a:gd name="T25" fmla="*/ 2147483647 h 72"/>
                <a:gd name="T26" fmla="*/ 2147483647 w 130"/>
                <a:gd name="T27" fmla="*/ 2147483647 h 72"/>
                <a:gd name="T28" fmla="*/ 2147483647 w 130"/>
                <a:gd name="T29" fmla="*/ 2147483647 h 72"/>
                <a:gd name="T30" fmla="*/ 2147483647 w 130"/>
                <a:gd name="T31" fmla="*/ 2147483647 h 72"/>
                <a:gd name="T32" fmla="*/ 0 w 130"/>
                <a:gd name="T33" fmla="*/ 2147483647 h 72"/>
                <a:gd name="T34" fmla="*/ 2147483647 w 130"/>
                <a:gd name="T35" fmla="*/ 2147483647 h 72"/>
                <a:gd name="T36" fmla="*/ 2147483647 w 130"/>
                <a:gd name="T37" fmla="*/ 2147483647 h 7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30"/>
                <a:gd name="T58" fmla="*/ 0 h 72"/>
                <a:gd name="T59" fmla="*/ 130 w 130"/>
                <a:gd name="T60" fmla="*/ 72 h 7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30" h="72">
                  <a:moveTo>
                    <a:pt x="16" y="6"/>
                  </a:moveTo>
                  <a:lnTo>
                    <a:pt x="30" y="0"/>
                  </a:lnTo>
                  <a:lnTo>
                    <a:pt x="44" y="14"/>
                  </a:lnTo>
                  <a:lnTo>
                    <a:pt x="60" y="22"/>
                  </a:lnTo>
                  <a:lnTo>
                    <a:pt x="72" y="30"/>
                  </a:lnTo>
                  <a:lnTo>
                    <a:pt x="88" y="40"/>
                  </a:lnTo>
                  <a:lnTo>
                    <a:pt x="104" y="44"/>
                  </a:lnTo>
                  <a:lnTo>
                    <a:pt x="128" y="46"/>
                  </a:lnTo>
                  <a:lnTo>
                    <a:pt x="128" y="58"/>
                  </a:lnTo>
                  <a:lnTo>
                    <a:pt x="130" y="70"/>
                  </a:lnTo>
                  <a:lnTo>
                    <a:pt x="102" y="72"/>
                  </a:lnTo>
                  <a:lnTo>
                    <a:pt x="88" y="66"/>
                  </a:lnTo>
                  <a:lnTo>
                    <a:pt x="72" y="54"/>
                  </a:lnTo>
                  <a:lnTo>
                    <a:pt x="48" y="52"/>
                  </a:lnTo>
                  <a:lnTo>
                    <a:pt x="34" y="46"/>
                  </a:lnTo>
                  <a:lnTo>
                    <a:pt x="20" y="36"/>
                  </a:lnTo>
                  <a:lnTo>
                    <a:pt x="0" y="30"/>
                  </a:lnTo>
                  <a:lnTo>
                    <a:pt x="4" y="14"/>
                  </a:lnTo>
                  <a:lnTo>
                    <a:pt x="16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21" name="Freeform 137"/>
            <p:cNvSpPr>
              <a:spLocks/>
            </p:cNvSpPr>
            <p:nvPr/>
          </p:nvSpPr>
          <p:spPr bwMode="gray">
            <a:xfrm>
              <a:off x="6111875" y="3667125"/>
              <a:ext cx="57150" cy="31750"/>
            </a:xfrm>
            <a:custGeom>
              <a:avLst/>
              <a:gdLst>
                <a:gd name="T0" fmla="*/ 2147483647 w 50"/>
                <a:gd name="T1" fmla="*/ 0 h 26"/>
                <a:gd name="T2" fmla="*/ 2147483647 w 50"/>
                <a:gd name="T3" fmla="*/ 2147483647 h 26"/>
                <a:gd name="T4" fmla="*/ 2147483647 w 50"/>
                <a:gd name="T5" fmla="*/ 2147483647 h 26"/>
                <a:gd name="T6" fmla="*/ 0 w 50"/>
                <a:gd name="T7" fmla="*/ 2147483647 h 26"/>
                <a:gd name="T8" fmla="*/ 2147483647 w 50"/>
                <a:gd name="T9" fmla="*/ 2147483647 h 26"/>
                <a:gd name="T10" fmla="*/ 2147483647 w 50"/>
                <a:gd name="T11" fmla="*/ 2147483647 h 26"/>
                <a:gd name="T12" fmla="*/ 2147483647 w 50"/>
                <a:gd name="T13" fmla="*/ 2147483647 h 26"/>
                <a:gd name="T14" fmla="*/ 2147483647 w 50"/>
                <a:gd name="T15" fmla="*/ 2147483647 h 26"/>
                <a:gd name="T16" fmla="*/ 2147483647 w 50"/>
                <a:gd name="T17" fmla="*/ 2147483647 h 26"/>
                <a:gd name="T18" fmla="*/ 2147483647 w 50"/>
                <a:gd name="T19" fmla="*/ 2147483647 h 26"/>
                <a:gd name="T20" fmla="*/ 2147483647 w 50"/>
                <a:gd name="T21" fmla="*/ 2147483647 h 26"/>
                <a:gd name="T22" fmla="*/ 2147483647 w 50"/>
                <a:gd name="T23" fmla="*/ 2147483647 h 26"/>
                <a:gd name="T24" fmla="*/ 2147483647 w 50"/>
                <a:gd name="T25" fmla="*/ 0 h 26"/>
                <a:gd name="T26" fmla="*/ 2147483647 w 50"/>
                <a:gd name="T27" fmla="*/ 0 h 2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0"/>
                <a:gd name="T43" fmla="*/ 0 h 26"/>
                <a:gd name="T44" fmla="*/ 50 w 50"/>
                <a:gd name="T45" fmla="*/ 26 h 2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0" h="26">
                  <a:moveTo>
                    <a:pt x="10" y="0"/>
                  </a:moveTo>
                  <a:lnTo>
                    <a:pt x="4" y="6"/>
                  </a:lnTo>
                  <a:lnTo>
                    <a:pt x="2" y="6"/>
                  </a:lnTo>
                  <a:lnTo>
                    <a:pt x="0" y="14"/>
                  </a:lnTo>
                  <a:lnTo>
                    <a:pt x="2" y="20"/>
                  </a:lnTo>
                  <a:lnTo>
                    <a:pt x="8" y="24"/>
                  </a:lnTo>
                  <a:lnTo>
                    <a:pt x="16" y="26"/>
                  </a:lnTo>
                  <a:lnTo>
                    <a:pt x="32" y="24"/>
                  </a:lnTo>
                  <a:lnTo>
                    <a:pt x="46" y="22"/>
                  </a:lnTo>
                  <a:lnTo>
                    <a:pt x="50" y="16"/>
                  </a:lnTo>
                  <a:lnTo>
                    <a:pt x="46" y="6"/>
                  </a:lnTo>
                  <a:lnTo>
                    <a:pt x="32" y="4"/>
                  </a:lnTo>
                  <a:lnTo>
                    <a:pt x="20" y="0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22" name="Freeform 138"/>
            <p:cNvSpPr>
              <a:spLocks/>
            </p:cNvSpPr>
            <p:nvPr/>
          </p:nvSpPr>
          <p:spPr bwMode="gray">
            <a:xfrm>
              <a:off x="6094413" y="3702050"/>
              <a:ext cx="82550" cy="111125"/>
            </a:xfrm>
            <a:custGeom>
              <a:avLst/>
              <a:gdLst>
                <a:gd name="T0" fmla="*/ 2147483647 w 70"/>
                <a:gd name="T1" fmla="*/ 2147483647 h 90"/>
                <a:gd name="T2" fmla="*/ 2147483647 w 70"/>
                <a:gd name="T3" fmla="*/ 2147483647 h 90"/>
                <a:gd name="T4" fmla="*/ 2147483647 w 70"/>
                <a:gd name="T5" fmla="*/ 2147483647 h 90"/>
                <a:gd name="T6" fmla="*/ 2147483647 w 70"/>
                <a:gd name="T7" fmla="*/ 2147483647 h 90"/>
                <a:gd name="T8" fmla="*/ 0 w 70"/>
                <a:gd name="T9" fmla="*/ 2147483647 h 90"/>
                <a:gd name="T10" fmla="*/ 2147483647 w 70"/>
                <a:gd name="T11" fmla="*/ 2147483647 h 90"/>
                <a:gd name="T12" fmla="*/ 2147483647 w 70"/>
                <a:gd name="T13" fmla="*/ 2147483647 h 90"/>
                <a:gd name="T14" fmla="*/ 2147483647 w 70"/>
                <a:gd name="T15" fmla="*/ 2147483647 h 90"/>
                <a:gd name="T16" fmla="*/ 2147483647 w 70"/>
                <a:gd name="T17" fmla="*/ 0 h 90"/>
                <a:gd name="T18" fmla="*/ 2147483647 w 70"/>
                <a:gd name="T19" fmla="*/ 2147483647 h 90"/>
                <a:gd name="T20" fmla="*/ 2147483647 w 70"/>
                <a:gd name="T21" fmla="*/ 2147483647 h 90"/>
                <a:gd name="T22" fmla="*/ 2147483647 w 70"/>
                <a:gd name="T23" fmla="*/ 2147483647 h 90"/>
                <a:gd name="T24" fmla="*/ 2147483647 w 70"/>
                <a:gd name="T25" fmla="*/ 2147483647 h 90"/>
                <a:gd name="T26" fmla="*/ 2147483647 w 70"/>
                <a:gd name="T27" fmla="*/ 2147483647 h 90"/>
                <a:gd name="T28" fmla="*/ 2147483647 w 70"/>
                <a:gd name="T29" fmla="*/ 2147483647 h 90"/>
                <a:gd name="T30" fmla="*/ 2147483647 w 70"/>
                <a:gd name="T31" fmla="*/ 2147483647 h 90"/>
                <a:gd name="T32" fmla="*/ 2147483647 w 70"/>
                <a:gd name="T33" fmla="*/ 2147483647 h 90"/>
                <a:gd name="T34" fmla="*/ 2147483647 w 70"/>
                <a:gd name="T35" fmla="*/ 2147483647 h 90"/>
                <a:gd name="T36" fmla="*/ 2147483647 w 70"/>
                <a:gd name="T37" fmla="*/ 2147483647 h 90"/>
                <a:gd name="T38" fmla="*/ 2147483647 w 70"/>
                <a:gd name="T39" fmla="*/ 2147483647 h 90"/>
                <a:gd name="T40" fmla="*/ 2147483647 w 70"/>
                <a:gd name="T41" fmla="*/ 2147483647 h 90"/>
                <a:gd name="T42" fmla="*/ 2147483647 w 70"/>
                <a:gd name="T43" fmla="*/ 2147483647 h 90"/>
                <a:gd name="T44" fmla="*/ 2147483647 w 70"/>
                <a:gd name="T45" fmla="*/ 2147483647 h 90"/>
                <a:gd name="T46" fmla="*/ 2147483647 w 70"/>
                <a:gd name="T47" fmla="*/ 2147483647 h 90"/>
                <a:gd name="T48" fmla="*/ 2147483647 w 70"/>
                <a:gd name="T49" fmla="*/ 2147483647 h 90"/>
                <a:gd name="T50" fmla="*/ 2147483647 w 70"/>
                <a:gd name="T51" fmla="*/ 2147483647 h 90"/>
                <a:gd name="T52" fmla="*/ 2147483647 w 70"/>
                <a:gd name="T53" fmla="*/ 2147483647 h 90"/>
                <a:gd name="T54" fmla="*/ 2147483647 w 70"/>
                <a:gd name="T55" fmla="*/ 2147483647 h 90"/>
                <a:gd name="T56" fmla="*/ 2147483647 w 70"/>
                <a:gd name="T57" fmla="*/ 2147483647 h 90"/>
                <a:gd name="T58" fmla="*/ 2147483647 w 70"/>
                <a:gd name="T59" fmla="*/ 2147483647 h 90"/>
                <a:gd name="T60" fmla="*/ 2147483647 w 70"/>
                <a:gd name="T61" fmla="*/ 2147483647 h 90"/>
                <a:gd name="T62" fmla="*/ 2147483647 w 70"/>
                <a:gd name="T63" fmla="*/ 2147483647 h 90"/>
                <a:gd name="T64" fmla="*/ 2147483647 w 70"/>
                <a:gd name="T65" fmla="*/ 2147483647 h 90"/>
                <a:gd name="T66" fmla="*/ 2147483647 w 70"/>
                <a:gd name="T67" fmla="*/ 2147483647 h 90"/>
                <a:gd name="T68" fmla="*/ 2147483647 w 70"/>
                <a:gd name="T69" fmla="*/ 2147483647 h 90"/>
                <a:gd name="T70" fmla="*/ 2147483647 w 70"/>
                <a:gd name="T71" fmla="*/ 2147483647 h 9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70"/>
                <a:gd name="T109" fmla="*/ 0 h 90"/>
                <a:gd name="T110" fmla="*/ 70 w 70"/>
                <a:gd name="T111" fmla="*/ 90 h 9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70" h="90">
                  <a:moveTo>
                    <a:pt x="14" y="74"/>
                  </a:moveTo>
                  <a:lnTo>
                    <a:pt x="10" y="50"/>
                  </a:lnTo>
                  <a:lnTo>
                    <a:pt x="8" y="38"/>
                  </a:lnTo>
                  <a:lnTo>
                    <a:pt x="2" y="34"/>
                  </a:lnTo>
                  <a:lnTo>
                    <a:pt x="0" y="26"/>
                  </a:lnTo>
                  <a:lnTo>
                    <a:pt x="12" y="20"/>
                  </a:lnTo>
                  <a:lnTo>
                    <a:pt x="4" y="12"/>
                  </a:lnTo>
                  <a:lnTo>
                    <a:pt x="4" y="6"/>
                  </a:lnTo>
                  <a:lnTo>
                    <a:pt x="10" y="0"/>
                  </a:lnTo>
                  <a:lnTo>
                    <a:pt x="14" y="6"/>
                  </a:lnTo>
                  <a:lnTo>
                    <a:pt x="24" y="10"/>
                  </a:lnTo>
                  <a:lnTo>
                    <a:pt x="30" y="22"/>
                  </a:lnTo>
                  <a:lnTo>
                    <a:pt x="64" y="22"/>
                  </a:lnTo>
                  <a:lnTo>
                    <a:pt x="64" y="34"/>
                  </a:lnTo>
                  <a:lnTo>
                    <a:pt x="56" y="38"/>
                  </a:lnTo>
                  <a:lnTo>
                    <a:pt x="52" y="40"/>
                  </a:lnTo>
                  <a:lnTo>
                    <a:pt x="48" y="46"/>
                  </a:lnTo>
                  <a:lnTo>
                    <a:pt x="48" y="50"/>
                  </a:lnTo>
                  <a:lnTo>
                    <a:pt x="48" y="54"/>
                  </a:lnTo>
                  <a:lnTo>
                    <a:pt x="56" y="58"/>
                  </a:lnTo>
                  <a:lnTo>
                    <a:pt x="60" y="46"/>
                  </a:lnTo>
                  <a:lnTo>
                    <a:pt x="70" y="48"/>
                  </a:lnTo>
                  <a:lnTo>
                    <a:pt x="68" y="60"/>
                  </a:lnTo>
                  <a:lnTo>
                    <a:pt x="68" y="70"/>
                  </a:lnTo>
                  <a:lnTo>
                    <a:pt x="70" y="76"/>
                  </a:lnTo>
                  <a:lnTo>
                    <a:pt x="70" y="86"/>
                  </a:lnTo>
                  <a:lnTo>
                    <a:pt x="64" y="90"/>
                  </a:lnTo>
                  <a:lnTo>
                    <a:pt x="60" y="82"/>
                  </a:lnTo>
                  <a:lnTo>
                    <a:pt x="58" y="68"/>
                  </a:lnTo>
                  <a:lnTo>
                    <a:pt x="54" y="64"/>
                  </a:lnTo>
                  <a:lnTo>
                    <a:pt x="48" y="62"/>
                  </a:lnTo>
                  <a:lnTo>
                    <a:pt x="40" y="56"/>
                  </a:lnTo>
                  <a:lnTo>
                    <a:pt x="36" y="62"/>
                  </a:lnTo>
                  <a:lnTo>
                    <a:pt x="36" y="74"/>
                  </a:lnTo>
                  <a:lnTo>
                    <a:pt x="26" y="74"/>
                  </a:lnTo>
                  <a:lnTo>
                    <a:pt x="14" y="7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23" name="Freeform 139"/>
            <p:cNvSpPr>
              <a:spLocks/>
            </p:cNvSpPr>
            <p:nvPr/>
          </p:nvSpPr>
          <p:spPr bwMode="gray">
            <a:xfrm>
              <a:off x="5937250" y="4035425"/>
              <a:ext cx="39688" cy="69850"/>
            </a:xfrm>
            <a:custGeom>
              <a:avLst/>
              <a:gdLst>
                <a:gd name="T0" fmla="*/ 2147483647 w 32"/>
                <a:gd name="T1" fmla="*/ 0 h 58"/>
                <a:gd name="T2" fmla="*/ 2147483647 w 32"/>
                <a:gd name="T3" fmla="*/ 2147483647 h 58"/>
                <a:gd name="T4" fmla="*/ 2147483647 w 32"/>
                <a:gd name="T5" fmla="*/ 2147483647 h 58"/>
                <a:gd name="T6" fmla="*/ 2147483647 w 32"/>
                <a:gd name="T7" fmla="*/ 2147483647 h 58"/>
                <a:gd name="T8" fmla="*/ 2147483647 w 32"/>
                <a:gd name="T9" fmla="*/ 2147483647 h 58"/>
                <a:gd name="T10" fmla="*/ 2147483647 w 32"/>
                <a:gd name="T11" fmla="*/ 2147483647 h 58"/>
                <a:gd name="T12" fmla="*/ 2147483647 w 32"/>
                <a:gd name="T13" fmla="*/ 2147483647 h 58"/>
                <a:gd name="T14" fmla="*/ 0 w 32"/>
                <a:gd name="T15" fmla="*/ 2147483647 h 58"/>
                <a:gd name="T16" fmla="*/ 0 w 32"/>
                <a:gd name="T17" fmla="*/ 2147483647 h 58"/>
                <a:gd name="T18" fmla="*/ 2147483647 w 32"/>
                <a:gd name="T19" fmla="*/ 2147483647 h 58"/>
                <a:gd name="T20" fmla="*/ 2147483647 w 32"/>
                <a:gd name="T21" fmla="*/ 0 h 5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2"/>
                <a:gd name="T34" fmla="*/ 0 h 58"/>
                <a:gd name="T35" fmla="*/ 32 w 32"/>
                <a:gd name="T36" fmla="*/ 58 h 5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2" h="58">
                  <a:moveTo>
                    <a:pt x="6" y="0"/>
                  </a:moveTo>
                  <a:lnTo>
                    <a:pt x="16" y="12"/>
                  </a:lnTo>
                  <a:lnTo>
                    <a:pt x="26" y="26"/>
                  </a:lnTo>
                  <a:lnTo>
                    <a:pt x="32" y="40"/>
                  </a:lnTo>
                  <a:lnTo>
                    <a:pt x="26" y="56"/>
                  </a:lnTo>
                  <a:lnTo>
                    <a:pt x="16" y="58"/>
                  </a:lnTo>
                  <a:lnTo>
                    <a:pt x="6" y="56"/>
                  </a:lnTo>
                  <a:lnTo>
                    <a:pt x="0" y="44"/>
                  </a:lnTo>
                  <a:lnTo>
                    <a:pt x="0" y="26"/>
                  </a:lnTo>
                  <a:lnTo>
                    <a:pt x="4" y="12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24" name="Freeform 140"/>
            <p:cNvSpPr>
              <a:spLocks/>
            </p:cNvSpPr>
            <p:nvPr/>
          </p:nvSpPr>
          <p:spPr bwMode="gray">
            <a:xfrm>
              <a:off x="6169025" y="3660775"/>
              <a:ext cx="160338" cy="360363"/>
            </a:xfrm>
            <a:custGeom>
              <a:avLst/>
              <a:gdLst>
                <a:gd name="T0" fmla="*/ 2147483647 w 134"/>
                <a:gd name="T1" fmla="*/ 2147483647 h 296"/>
                <a:gd name="T2" fmla="*/ 2147483647 w 134"/>
                <a:gd name="T3" fmla="*/ 2147483647 h 296"/>
                <a:gd name="T4" fmla="*/ 2147483647 w 134"/>
                <a:gd name="T5" fmla="*/ 2147483647 h 296"/>
                <a:gd name="T6" fmla="*/ 2147483647 w 134"/>
                <a:gd name="T7" fmla="*/ 2147483647 h 296"/>
                <a:gd name="T8" fmla="*/ 2147483647 w 134"/>
                <a:gd name="T9" fmla="*/ 2147483647 h 296"/>
                <a:gd name="T10" fmla="*/ 2147483647 w 134"/>
                <a:gd name="T11" fmla="*/ 2147483647 h 296"/>
                <a:gd name="T12" fmla="*/ 2147483647 w 134"/>
                <a:gd name="T13" fmla="*/ 2147483647 h 296"/>
                <a:gd name="T14" fmla="*/ 2147483647 w 134"/>
                <a:gd name="T15" fmla="*/ 2147483647 h 296"/>
                <a:gd name="T16" fmla="*/ 2147483647 w 134"/>
                <a:gd name="T17" fmla="*/ 2147483647 h 296"/>
                <a:gd name="T18" fmla="*/ 2147483647 w 134"/>
                <a:gd name="T19" fmla="*/ 2147483647 h 296"/>
                <a:gd name="T20" fmla="*/ 2147483647 w 134"/>
                <a:gd name="T21" fmla="*/ 2147483647 h 296"/>
                <a:gd name="T22" fmla="*/ 2147483647 w 134"/>
                <a:gd name="T23" fmla="*/ 2147483647 h 296"/>
                <a:gd name="T24" fmla="*/ 2147483647 w 134"/>
                <a:gd name="T25" fmla="*/ 2147483647 h 296"/>
                <a:gd name="T26" fmla="*/ 2147483647 w 134"/>
                <a:gd name="T27" fmla="*/ 2147483647 h 296"/>
                <a:gd name="T28" fmla="*/ 2147483647 w 134"/>
                <a:gd name="T29" fmla="*/ 2147483647 h 296"/>
                <a:gd name="T30" fmla="*/ 2147483647 w 134"/>
                <a:gd name="T31" fmla="*/ 2147483647 h 296"/>
                <a:gd name="T32" fmla="*/ 2147483647 w 134"/>
                <a:gd name="T33" fmla="*/ 2147483647 h 296"/>
                <a:gd name="T34" fmla="*/ 2147483647 w 134"/>
                <a:gd name="T35" fmla="*/ 2147483647 h 296"/>
                <a:gd name="T36" fmla="*/ 2147483647 w 134"/>
                <a:gd name="T37" fmla="*/ 2147483647 h 296"/>
                <a:gd name="T38" fmla="*/ 2147483647 w 134"/>
                <a:gd name="T39" fmla="*/ 2147483647 h 296"/>
                <a:gd name="T40" fmla="*/ 2147483647 w 134"/>
                <a:gd name="T41" fmla="*/ 2147483647 h 296"/>
                <a:gd name="T42" fmla="*/ 2147483647 w 134"/>
                <a:gd name="T43" fmla="*/ 2147483647 h 296"/>
                <a:gd name="T44" fmla="*/ 2147483647 w 134"/>
                <a:gd name="T45" fmla="*/ 2147483647 h 296"/>
                <a:gd name="T46" fmla="*/ 2147483647 w 134"/>
                <a:gd name="T47" fmla="*/ 2147483647 h 296"/>
                <a:gd name="T48" fmla="*/ 2147483647 w 134"/>
                <a:gd name="T49" fmla="*/ 2147483647 h 296"/>
                <a:gd name="T50" fmla="*/ 2147483647 w 134"/>
                <a:gd name="T51" fmla="*/ 2147483647 h 296"/>
                <a:gd name="T52" fmla="*/ 2147483647 w 134"/>
                <a:gd name="T53" fmla="*/ 2147483647 h 296"/>
                <a:gd name="T54" fmla="*/ 2147483647 w 134"/>
                <a:gd name="T55" fmla="*/ 2147483647 h 296"/>
                <a:gd name="T56" fmla="*/ 2147483647 w 134"/>
                <a:gd name="T57" fmla="*/ 2147483647 h 296"/>
                <a:gd name="T58" fmla="*/ 2147483647 w 134"/>
                <a:gd name="T59" fmla="*/ 2147483647 h 296"/>
                <a:gd name="T60" fmla="*/ 2147483647 w 134"/>
                <a:gd name="T61" fmla="*/ 2147483647 h 296"/>
                <a:gd name="T62" fmla="*/ 2147483647 w 134"/>
                <a:gd name="T63" fmla="*/ 2147483647 h 296"/>
                <a:gd name="T64" fmla="*/ 0 w 134"/>
                <a:gd name="T65" fmla="*/ 2147483647 h 29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4"/>
                <a:gd name="T100" fmla="*/ 0 h 296"/>
                <a:gd name="T101" fmla="*/ 134 w 134"/>
                <a:gd name="T102" fmla="*/ 296 h 29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4" h="296">
                  <a:moveTo>
                    <a:pt x="0" y="124"/>
                  </a:moveTo>
                  <a:lnTo>
                    <a:pt x="6" y="120"/>
                  </a:lnTo>
                  <a:lnTo>
                    <a:pt x="6" y="110"/>
                  </a:lnTo>
                  <a:lnTo>
                    <a:pt x="12" y="104"/>
                  </a:lnTo>
                  <a:lnTo>
                    <a:pt x="18" y="76"/>
                  </a:lnTo>
                  <a:lnTo>
                    <a:pt x="32" y="74"/>
                  </a:lnTo>
                  <a:lnTo>
                    <a:pt x="36" y="54"/>
                  </a:lnTo>
                  <a:lnTo>
                    <a:pt x="44" y="46"/>
                  </a:lnTo>
                  <a:lnTo>
                    <a:pt x="46" y="34"/>
                  </a:lnTo>
                  <a:lnTo>
                    <a:pt x="62" y="20"/>
                  </a:lnTo>
                  <a:lnTo>
                    <a:pt x="76" y="20"/>
                  </a:lnTo>
                  <a:lnTo>
                    <a:pt x="76" y="10"/>
                  </a:lnTo>
                  <a:lnTo>
                    <a:pt x="82" y="0"/>
                  </a:lnTo>
                  <a:lnTo>
                    <a:pt x="90" y="2"/>
                  </a:lnTo>
                  <a:lnTo>
                    <a:pt x="96" y="12"/>
                  </a:lnTo>
                  <a:lnTo>
                    <a:pt x="104" y="18"/>
                  </a:lnTo>
                  <a:lnTo>
                    <a:pt x="102" y="42"/>
                  </a:lnTo>
                  <a:lnTo>
                    <a:pt x="94" y="52"/>
                  </a:lnTo>
                  <a:lnTo>
                    <a:pt x="86" y="64"/>
                  </a:lnTo>
                  <a:lnTo>
                    <a:pt x="86" y="68"/>
                  </a:lnTo>
                  <a:lnTo>
                    <a:pt x="106" y="74"/>
                  </a:lnTo>
                  <a:lnTo>
                    <a:pt x="106" y="88"/>
                  </a:lnTo>
                  <a:lnTo>
                    <a:pt x="116" y="92"/>
                  </a:lnTo>
                  <a:lnTo>
                    <a:pt x="116" y="108"/>
                  </a:lnTo>
                  <a:lnTo>
                    <a:pt x="124" y="110"/>
                  </a:lnTo>
                  <a:lnTo>
                    <a:pt x="124" y="116"/>
                  </a:lnTo>
                  <a:lnTo>
                    <a:pt x="132" y="116"/>
                  </a:lnTo>
                  <a:lnTo>
                    <a:pt x="134" y="126"/>
                  </a:lnTo>
                  <a:lnTo>
                    <a:pt x="116" y="136"/>
                  </a:lnTo>
                  <a:lnTo>
                    <a:pt x="106" y="144"/>
                  </a:lnTo>
                  <a:lnTo>
                    <a:pt x="88" y="146"/>
                  </a:lnTo>
                  <a:lnTo>
                    <a:pt x="88" y="158"/>
                  </a:lnTo>
                  <a:lnTo>
                    <a:pt x="86" y="162"/>
                  </a:lnTo>
                  <a:lnTo>
                    <a:pt x="84" y="168"/>
                  </a:lnTo>
                  <a:lnTo>
                    <a:pt x="86" y="178"/>
                  </a:lnTo>
                  <a:lnTo>
                    <a:pt x="88" y="184"/>
                  </a:lnTo>
                  <a:lnTo>
                    <a:pt x="98" y="192"/>
                  </a:lnTo>
                  <a:lnTo>
                    <a:pt x="104" y="208"/>
                  </a:lnTo>
                  <a:lnTo>
                    <a:pt x="100" y="218"/>
                  </a:lnTo>
                  <a:lnTo>
                    <a:pt x="96" y="228"/>
                  </a:lnTo>
                  <a:lnTo>
                    <a:pt x="102" y="236"/>
                  </a:lnTo>
                  <a:lnTo>
                    <a:pt x="110" y="248"/>
                  </a:lnTo>
                  <a:lnTo>
                    <a:pt x="110" y="264"/>
                  </a:lnTo>
                  <a:lnTo>
                    <a:pt x="116" y="274"/>
                  </a:lnTo>
                  <a:lnTo>
                    <a:pt x="112" y="286"/>
                  </a:lnTo>
                  <a:lnTo>
                    <a:pt x="100" y="296"/>
                  </a:lnTo>
                  <a:lnTo>
                    <a:pt x="98" y="288"/>
                  </a:lnTo>
                  <a:lnTo>
                    <a:pt x="100" y="280"/>
                  </a:lnTo>
                  <a:lnTo>
                    <a:pt x="100" y="270"/>
                  </a:lnTo>
                  <a:lnTo>
                    <a:pt x="100" y="256"/>
                  </a:lnTo>
                  <a:lnTo>
                    <a:pt x="98" y="250"/>
                  </a:lnTo>
                  <a:lnTo>
                    <a:pt x="90" y="230"/>
                  </a:lnTo>
                  <a:lnTo>
                    <a:pt x="90" y="214"/>
                  </a:lnTo>
                  <a:lnTo>
                    <a:pt x="84" y="200"/>
                  </a:lnTo>
                  <a:lnTo>
                    <a:pt x="74" y="188"/>
                  </a:lnTo>
                  <a:lnTo>
                    <a:pt x="68" y="200"/>
                  </a:lnTo>
                  <a:lnTo>
                    <a:pt x="56" y="204"/>
                  </a:lnTo>
                  <a:lnTo>
                    <a:pt x="54" y="212"/>
                  </a:lnTo>
                  <a:lnTo>
                    <a:pt x="42" y="212"/>
                  </a:lnTo>
                  <a:lnTo>
                    <a:pt x="36" y="204"/>
                  </a:lnTo>
                  <a:lnTo>
                    <a:pt x="36" y="190"/>
                  </a:lnTo>
                  <a:lnTo>
                    <a:pt x="38" y="176"/>
                  </a:lnTo>
                  <a:lnTo>
                    <a:pt x="34" y="166"/>
                  </a:lnTo>
                  <a:lnTo>
                    <a:pt x="26" y="158"/>
                  </a:lnTo>
                  <a:lnTo>
                    <a:pt x="14" y="138"/>
                  </a:lnTo>
                  <a:lnTo>
                    <a:pt x="0" y="12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25" name="Freeform 141"/>
            <p:cNvSpPr>
              <a:spLocks/>
            </p:cNvSpPr>
            <p:nvPr/>
          </p:nvSpPr>
          <p:spPr bwMode="gray">
            <a:xfrm>
              <a:off x="6269038" y="3824288"/>
              <a:ext cx="155575" cy="292100"/>
            </a:xfrm>
            <a:custGeom>
              <a:avLst/>
              <a:gdLst>
                <a:gd name="T0" fmla="*/ 2147483647 w 130"/>
                <a:gd name="T1" fmla="*/ 2147483647 h 240"/>
                <a:gd name="T2" fmla="*/ 2147483647 w 130"/>
                <a:gd name="T3" fmla="*/ 2147483647 h 240"/>
                <a:gd name="T4" fmla="*/ 2147483647 w 130"/>
                <a:gd name="T5" fmla="*/ 2147483647 h 240"/>
                <a:gd name="T6" fmla="*/ 2147483647 w 130"/>
                <a:gd name="T7" fmla="*/ 2147483647 h 240"/>
                <a:gd name="T8" fmla="*/ 2147483647 w 130"/>
                <a:gd name="T9" fmla="*/ 2147483647 h 240"/>
                <a:gd name="T10" fmla="*/ 2147483647 w 130"/>
                <a:gd name="T11" fmla="*/ 2147483647 h 240"/>
                <a:gd name="T12" fmla="*/ 2147483647 w 130"/>
                <a:gd name="T13" fmla="*/ 2147483647 h 240"/>
                <a:gd name="T14" fmla="*/ 2147483647 w 130"/>
                <a:gd name="T15" fmla="*/ 2147483647 h 240"/>
                <a:gd name="T16" fmla="*/ 2147483647 w 130"/>
                <a:gd name="T17" fmla="*/ 2147483647 h 240"/>
                <a:gd name="T18" fmla="*/ 2147483647 w 130"/>
                <a:gd name="T19" fmla="*/ 2147483647 h 240"/>
                <a:gd name="T20" fmla="*/ 2147483647 w 130"/>
                <a:gd name="T21" fmla="*/ 2147483647 h 240"/>
                <a:gd name="T22" fmla="*/ 2147483647 w 130"/>
                <a:gd name="T23" fmla="*/ 2147483647 h 240"/>
                <a:gd name="T24" fmla="*/ 2147483647 w 130"/>
                <a:gd name="T25" fmla="*/ 2147483647 h 240"/>
                <a:gd name="T26" fmla="*/ 2147483647 w 130"/>
                <a:gd name="T27" fmla="*/ 2147483647 h 240"/>
                <a:gd name="T28" fmla="*/ 2147483647 w 130"/>
                <a:gd name="T29" fmla="*/ 2147483647 h 240"/>
                <a:gd name="T30" fmla="*/ 2147483647 w 130"/>
                <a:gd name="T31" fmla="*/ 2147483647 h 240"/>
                <a:gd name="T32" fmla="*/ 2147483647 w 130"/>
                <a:gd name="T33" fmla="*/ 2147483647 h 240"/>
                <a:gd name="T34" fmla="*/ 2147483647 w 130"/>
                <a:gd name="T35" fmla="*/ 2147483647 h 240"/>
                <a:gd name="T36" fmla="*/ 2147483647 w 130"/>
                <a:gd name="T37" fmla="*/ 2147483647 h 240"/>
                <a:gd name="T38" fmla="*/ 2147483647 w 130"/>
                <a:gd name="T39" fmla="*/ 2147483647 h 240"/>
                <a:gd name="T40" fmla="*/ 2147483647 w 130"/>
                <a:gd name="T41" fmla="*/ 2147483647 h 240"/>
                <a:gd name="T42" fmla="*/ 2147483647 w 130"/>
                <a:gd name="T43" fmla="*/ 2147483647 h 240"/>
                <a:gd name="T44" fmla="*/ 2147483647 w 130"/>
                <a:gd name="T45" fmla="*/ 2147483647 h 240"/>
                <a:gd name="T46" fmla="*/ 2147483647 w 130"/>
                <a:gd name="T47" fmla="*/ 2147483647 h 240"/>
                <a:gd name="T48" fmla="*/ 2147483647 w 130"/>
                <a:gd name="T49" fmla="*/ 2147483647 h 240"/>
                <a:gd name="T50" fmla="*/ 2147483647 w 130"/>
                <a:gd name="T51" fmla="*/ 2147483647 h 240"/>
                <a:gd name="T52" fmla="*/ 2147483647 w 130"/>
                <a:gd name="T53" fmla="*/ 2147483647 h 240"/>
                <a:gd name="T54" fmla="*/ 2147483647 w 130"/>
                <a:gd name="T55" fmla="*/ 2147483647 h 240"/>
                <a:gd name="T56" fmla="*/ 2147483647 w 130"/>
                <a:gd name="T57" fmla="*/ 2147483647 h 240"/>
                <a:gd name="T58" fmla="*/ 2147483647 w 130"/>
                <a:gd name="T59" fmla="*/ 2147483647 h 240"/>
                <a:gd name="T60" fmla="*/ 2147483647 w 130"/>
                <a:gd name="T61" fmla="*/ 2147483647 h 240"/>
                <a:gd name="T62" fmla="*/ 2147483647 w 130"/>
                <a:gd name="T63" fmla="*/ 2147483647 h 24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30"/>
                <a:gd name="T97" fmla="*/ 0 h 240"/>
                <a:gd name="T98" fmla="*/ 130 w 130"/>
                <a:gd name="T99" fmla="*/ 240 h 24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30" h="240">
                  <a:moveTo>
                    <a:pt x="34" y="214"/>
                  </a:moveTo>
                  <a:lnTo>
                    <a:pt x="20" y="198"/>
                  </a:lnTo>
                  <a:lnTo>
                    <a:pt x="12" y="194"/>
                  </a:lnTo>
                  <a:lnTo>
                    <a:pt x="14" y="174"/>
                  </a:lnTo>
                  <a:lnTo>
                    <a:pt x="16" y="162"/>
                  </a:lnTo>
                  <a:lnTo>
                    <a:pt x="28" y="152"/>
                  </a:lnTo>
                  <a:lnTo>
                    <a:pt x="32" y="140"/>
                  </a:lnTo>
                  <a:lnTo>
                    <a:pt x="26" y="130"/>
                  </a:lnTo>
                  <a:lnTo>
                    <a:pt x="26" y="114"/>
                  </a:lnTo>
                  <a:lnTo>
                    <a:pt x="18" y="102"/>
                  </a:lnTo>
                  <a:lnTo>
                    <a:pt x="12" y="94"/>
                  </a:lnTo>
                  <a:lnTo>
                    <a:pt x="20" y="74"/>
                  </a:lnTo>
                  <a:lnTo>
                    <a:pt x="14" y="58"/>
                  </a:lnTo>
                  <a:lnTo>
                    <a:pt x="4" y="50"/>
                  </a:lnTo>
                  <a:lnTo>
                    <a:pt x="0" y="30"/>
                  </a:lnTo>
                  <a:lnTo>
                    <a:pt x="4" y="24"/>
                  </a:lnTo>
                  <a:lnTo>
                    <a:pt x="4" y="12"/>
                  </a:lnTo>
                  <a:lnTo>
                    <a:pt x="22" y="10"/>
                  </a:lnTo>
                  <a:lnTo>
                    <a:pt x="36" y="0"/>
                  </a:lnTo>
                  <a:lnTo>
                    <a:pt x="48" y="6"/>
                  </a:lnTo>
                  <a:lnTo>
                    <a:pt x="48" y="14"/>
                  </a:lnTo>
                  <a:lnTo>
                    <a:pt x="56" y="16"/>
                  </a:lnTo>
                  <a:lnTo>
                    <a:pt x="60" y="30"/>
                  </a:lnTo>
                  <a:lnTo>
                    <a:pt x="56" y="34"/>
                  </a:lnTo>
                  <a:lnTo>
                    <a:pt x="56" y="48"/>
                  </a:lnTo>
                  <a:lnTo>
                    <a:pt x="68" y="42"/>
                  </a:lnTo>
                  <a:lnTo>
                    <a:pt x="76" y="36"/>
                  </a:lnTo>
                  <a:lnTo>
                    <a:pt x="88" y="40"/>
                  </a:lnTo>
                  <a:lnTo>
                    <a:pt x="100" y="32"/>
                  </a:lnTo>
                  <a:lnTo>
                    <a:pt x="116" y="50"/>
                  </a:lnTo>
                  <a:lnTo>
                    <a:pt x="120" y="66"/>
                  </a:lnTo>
                  <a:lnTo>
                    <a:pt x="130" y="76"/>
                  </a:lnTo>
                  <a:lnTo>
                    <a:pt x="130" y="86"/>
                  </a:lnTo>
                  <a:lnTo>
                    <a:pt x="126" y="98"/>
                  </a:lnTo>
                  <a:lnTo>
                    <a:pt x="86" y="100"/>
                  </a:lnTo>
                  <a:lnTo>
                    <a:pt x="78" y="112"/>
                  </a:lnTo>
                  <a:lnTo>
                    <a:pt x="78" y="120"/>
                  </a:lnTo>
                  <a:lnTo>
                    <a:pt x="82" y="130"/>
                  </a:lnTo>
                  <a:lnTo>
                    <a:pt x="86" y="140"/>
                  </a:lnTo>
                  <a:lnTo>
                    <a:pt x="84" y="144"/>
                  </a:lnTo>
                  <a:lnTo>
                    <a:pt x="72" y="128"/>
                  </a:lnTo>
                  <a:lnTo>
                    <a:pt x="56" y="126"/>
                  </a:lnTo>
                  <a:lnTo>
                    <a:pt x="56" y="116"/>
                  </a:lnTo>
                  <a:lnTo>
                    <a:pt x="44" y="116"/>
                  </a:lnTo>
                  <a:lnTo>
                    <a:pt x="40" y="120"/>
                  </a:lnTo>
                  <a:lnTo>
                    <a:pt x="40" y="132"/>
                  </a:lnTo>
                  <a:lnTo>
                    <a:pt x="38" y="140"/>
                  </a:lnTo>
                  <a:lnTo>
                    <a:pt x="32" y="154"/>
                  </a:lnTo>
                  <a:lnTo>
                    <a:pt x="28" y="162"/>
                  </a:lnTo>
                  <a:lnTo>
                    <a:pt x="24" y="178"/>
                  </a:lnTo>
                  <a:lnTo>
                    <a:pt x="30" y="182"/>
                  </a:lnTo>
                  <a:lnTo>
                    <a:pt x="40" y="186"/>
                  </a:lnTo>
                  <a:lnTo>
                    <a:pt x="42" y="192"/>
                  </a:lnTo>
                  <a:lnTo>
                    <a:pt x="46" y="210"/>
                  </a:lnTo>
                  <a:lnTo>
                    <a:pt x="52" y="218"/>
                  </a:lnTo>
                  <a:lnTo>
                    <a:pt x="64" y="222"/>
                  </a:lnTo>
                  <a:lnTo>
                    <a:pt x="72" y="230"/>
                  </a:lnTo>
                  <a:lnTo>
                    <a:pt x="68" y="234"/>
                  </a:lnTo>
                  <a:lnTo>
                    <a:pt x="66" y="240"/>
                  </a:lnTo>
                  <a:lnTo>
                    <a:pt x="56" y="238"/>
                  </a:lnTo>
                  <a:lnTo>
                    <a:pt x="58" y="230"/>
                  </a:lnTo>
                  <a:lnTo>
                    <a:pt x="52" y="226"/>
                  </a:lnTo>
                  <a:lnTo>
                    <a:pt x="42" y="224"/>
                  </a:lnTo>
                  <a:lnTo>
                    <a:pt x="34" y="21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26" name="Freeform 142"/>
            <p:cNvSpPr>
              <a:spLocks/>
            </p:cNvSpPr>
            <p:nvPr/>
          </p:nvSpPr>
          <p:spPr bwMode="gray">
            <a:xfrm>
              <a:off x="6500813" y="4090988"/>
              <a:ext cx="182562" cy="114300"/>
            </a:xfrm>
            <a:custGeom>
              <a:avLst/>
              <a:gdLst>
                <a:gd name="T0" fmla="*/ 0 w 154"/>
                <a:gd name="T1" fmla="*/ 2147483647 h 94"/>
                <a:gd name="T2" fmla="*/ 2147483647 w 154"/>
                <a:gd name="T3" fmla="*/ 2147483647 h 94"/>
                <a:gd name="T4" fmla="*/ 2147483647 w 154"/>
                <a:gd name="T5" fmla="*/ 2147483647 h 94"/>
                <a:gd name="T6" fmla="*/ 2147483647 w 154"/>
                <a:gd name="T7" fmla="*/ 2147483647 h 94"/>
                <a:gd name="T8" fmla="*/ 2147483647 w 154"/>
                <a:gd name="T9" fmla="*/ 2147483647 h 94"/>
                <a:gd name="T10" fmla="*/ 2147483647 w 154"/>
                <a:gd name="T11" fmla="*/ 2147483647 h 94"/>
                <a:gd name="T12" fmla="*/ 2147483647 w 154"/>
                <a:gd name="T13" fmla="*/ 2147483647 h 94"/>
                <a:gd name="T14" fmla="*/ 2147483647 w 154"/>
                <a:gd name="T15" fmla="*/ 2147483647 h 94"/>
                <a:gd name="T16" fmla="*/ 2147483647 w 154"/>
                <a:gd name="T17" fmla="*/ 2147483647 h 94"/>
                <a:gd name="T18" fmla="*/ 2147483647 w 154"/>
                <a:gd name="T19" fmla="*/ 2147483647 h 94"/>
                <a:gd name="T20" fmla="*/ 2147483647 w 154"/>
                <a:gd name="T21" fmla="*/ 2147483647 h 94"/>
                <a:gd name="T22" fmla="*/ 2147483647 w 154"/>
                <a:gd name="T23" fmla="*/ 2147483647 h 94"/>
                <a:gd name="T24" fmla="*/ 2147483647 w 154"/>
                <a:gd name="T25" fmla="*/ 2147483647 h 94"/>
                <a:gd name="T26" fmla="*/ 2147483647 w 154"/>
                <a:gd name="T27" fmla="*/ 2147483647 h 94"/>
                <a:gd name="T28" fmla="*/ 2147483647 w 154"/>
                <a:gd name="T29" fmla="*/ 2147483647 h 94"/>
                <a:gd name="T30" fmla="*/ 2147483647 w 154"/>
                <a:gd name="T31" fmla="*/ 2147483647 h 94"/>
                <a:gd name="T32" fmla="*/ 2147483647 w 154"/>
                <a:gd name="T33" fmla="*/ 2147483647 h 94"/>
                <a:gd name="T34" fmla="*/ 2147483647 w 154"/>
                <a:gd name="T35" fmla="*/ 2147483647 h 94"/>
                <a:gd name="T36" fmla="*/ 2147483647 w 154"/>
                <a:gd name="T37" fmla="*/ 2147483647 h 94"/>
                <a:gd name="T38" fmla="*/ 2147483647 w 154"/>
                <a:gd name="T39" fmla="*/ 2147483647 h 94"/>
                <a:gd name="T40" fmla="*/ 2147483647 w 154"/>
                <a:gd name="T41" fmla="*/ 2147483647 h 94"/>
                <a:gd name="T42" fmla="*/ 2147483647 w 154"/>
                <a:gd name="T43" fmla="*/ 2147483647 h 94"/>
                <a:gd name="T44" fmla="*/ 2147483647 w 154"/>
                <a:gd name="T45" fmla="*/ 2147483647 h 94"/>
                <a:gd name="T46" fmla="*/ 2147483647 w 154"/>
                <a:gd name="T47" fmla="*/ 2147483647 h 94"/>
                <a:gd name="T48" fmla="*/ 2147483647 w 154"/>
                <a:gd name="T49" fmla="*/ 0 h 94"/>
                <a:gd name="T50" fmla="*/ 2147483647 w 154"/>
                <a:gd name="T51" fmla="*/ 2147483647 h 94"/>
                <a:gd name="T52" fmla="*/ 2147483647 w 154"/>
                <a:gd name="T53" fmla="*/ 2147483647 h 94"/>
                <a:gd name="T54" fmla="*/ 2147483647 w 154"/>
                <a:gd name="T55" fmla="*/ 2147483647 h 94"/>
                <a:gd name="T56" fmla="*/ 2147483647 w 154"/>
                <a:gd name="T57" fmla="*/ 2147483647 h 94"/>
                <a:gd name="T58" fmla="*/ 2147483647 w 154"/>
                <a:gd name="T59" fmla="*/ 2147483647 h 94"/>
                <a:gd name="T60" fmla="*/ 2147483647 w 154"/>
                <a:gd name="T61" fmla="*/ 2147483647 h 94"/>
                <a:gd name="T62" fmla="*/ 2147483647 w 154"/>
                <a:gd name="T63" fmla="*/ 2147483647 h 94"/>
                <a:gd name="T64" fmla="*/ 2147483647 w 154"/>
                <a:gd name="T65" fmla="*/ 2147483647 h 94"/>
                <a:gd name="T66" fmla="*/ 2147483647 w 154"/>
                <a:gd name="T67" fmla="*/ 2147483647 h 94"/>
                <a:gd name="T68" fmla="*/ 2147483647 w 154"/>
                <a:gd name="T69" fmla="*/ 2147483647 h 94"/>
                <a:gd name="T70" fmla="*/ 2147483647 w 154"/>
                <a:gd name="T71" fmla="*/ 2147483647 h 94"/>
                <a:gd name="T72" fmla="*/ 2147483647 w 154"/>
                <a:gd name="T73" fmla="*/ 2147483647 h 94"/>
                <a:gd name="T74" fmla="*/ 2147483647 w 154"/>
                <a:gd name="T75" fmla="*/ 2147483647 h 94"/>
                <a:gd name="T76" fmla="*/ 2147483647 w 154"/>
                <a:gd name="T77" fmla="*/ 2147483647 h 94"/>
                <a:gd name="T78" fmla="*/ 2147483647 w 154"/>
                <a:gd name="T79" fmla="*/ 2147483647 h 94"/>
                <a:gd name="T80" fmla="*/ 2147483647 w 154"/>
                <a:gd name="T81" fmla="*/ 2147483647 h 94"/>
                <a:gd name="T82" fmla="*/ 2147483647 w 154"/>
                <a:gd name="T83" fmla="*/ 2147483647 h 94"/>
                <a:gd name="T84" fmla="*/ 2147483647 w 154"/>
                <a:gd name="T85" fmla="*/ 2147483647 h 94"/>
                <a:gd name="T86" fmla="*/ 2147483647 w 154"/>
                <a:gd name="T87" fmla="*/ 2147483647 h 94"/>
                <a:gd name="T88" fmla="*/ 2147483647 w 154"/>
                <a:gd name="T89" fmla="*/ 2147483647 h 94"/>
                <a:gd name="T90" fmla="*/ 2147483647 w 154"/>
                <a:gd name="T91" fmla="*/ 2147483647 h 94"/>
                <a:gd name="T92" fmla="*/ 0 w 154"/>
                <a:gd name="T93" fmla="*/ 2147483647 h 9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4"/>
                <a:gd name="T142" fmla="*/ 0 h 94"/>
                <a:gd name="T143" fmla="*/ 154 w 154"/>
                <a:gd name="T144" fmla="*/ 94 h 9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4" h="94">
                  <a:moveTo>
                    <a:pt x="0" y="84"/>
                  </a:moveTo>
                  <a:lnTo>
                    <a:pt x="10" y="94"/>
                  </a:lnTo>
                  <a:lnTo>
                    <a:pt x="22" y="94"/>
                  </a:lnTo>
                  <a:lnTo>
                    <a:pt x="30" y="92"/>
                  </a:lnTo>
                  <a:lnTo>
                    <a:pt x="44" y="86"/>
                  </a:lnTo>
                  <a:lnTo>
                    <a:pt x="52" y="84"/>
                  </a:lnTo>
                  <a:lnTo>
                    <a:pt x="60" y="92"/>
                  </a:lnTo>
                  <a:lnTo>
                    <a:pt x="72" y="86"/>
                  </a:lnTo>
                  <a:lnTo>
                    <a:pt x="84" y="74"/>
                  </a:lnTo>
                  <a:lnTo>
                    <a:pt x="94" y="56"/>
                  </a:lnTo>
                  <a:lnTo>
                    <a:pt x="96" y="44"/>
                  </a:lnTo>
                  <a:lnTo>
                    <a:pt x="102" y="40"/>
                  </a:lnTo>
                  <a:lnTo>
                    <a:pt x="118" y="38"/>
                  </a:lnTo>
                  <a:lnTo>
                    <a:pt x="126" y="44"/>
                  </a:lnTo>
                  <a:lnTo>
                    <a:pt x="138" y="44"/>
                  </a:lnTo>
                  <a:lnTo>
                    <a:pt x="142" y="40"/>
                  </a:lnTo>
                  <a:lnTo>
                    <a:pt x="134" y="34"/>
                  </a:lnTo>
                  <a:lnTo>
                    <a:pt x="140" y="30"/>
                  </a:lnTo>
                  <a:lnTo>
                    <a:pt x="148" y="30"/>
                  </a:lnTo>
                  <a:lnTo>
                    <a:pt x="154" y="28"/>
                  </a:lnTo>
                  <a:lnTo>
                    <a:pt x="140" y="20"/>
                  </a:lnTo>
                  <a:lnTo>
                    <a:pt x="132" y="16"/>
                  </a:lnTo>
                  <a:lnTo>
                    <a:pt x="124" y="8"/>
                  </a:lnTo>
                  <a:lnTo>
                    <a:pt x="120" y="2"/>
                  </a:lnTo>
                  <a:lnTo>
                    <a:pt x="110" y="0"/>
                  </a:lnTo>
                  <a:lnTo>
                    <a:pt x="102" y="10"/>
                  </a:lnTo>
                  <a:lnTo>
                    <a:pt x="96" y="18"/>
                  </a:lnTo>
                  <a:lnTo>
                    <a:pt x="92" y="22"/>
                  </a:lnTo>
                  <a:lnTo>
                    <a:pt x="88" y="28"/>
                  </a:lnTo>
                  <a:lnTo>
                    <a:pt x="98" y="36"/>
                  </a:lnTo>
                  <a:lnTo>
                    <a:pt x="94" y="40"/>
                  </a:lnTo>
                  <a:lnTo>
                    <a:pt x="88" y="36"/>
                  </a:lnTo>
                  <a:lnTo>
                    <a:pt x="84" y="38"/>
                  </a:lnTo>
                  <a:lnTo>
                    <a:pt x="82" y="46"/>
                  </a:lnTo>
                  <a:lnTo>
                    <a:pt x="76" y="46"/>
                  </a:lnTo>
                  <a:lnTo>
                    <a:pt x="68" y="40"/>
                  </a:lnTo>
                  <a:lnTo>
                    <a:pt x="60" y="54"/>
                  </a:lnTo>
                  <a:lnTo>
                    <a:pt x="52" y="64"/>
                  </a:lnTo>
                  <a:lnTo>
                    <a:pt x="40" y="62"/>
                  </a:lnTo>
                  <a:lnTo>
                    <a:pt x="28" y="66"/>
                  </a:lnTo>
                  <a:lnTo>
                    <a:pt x="22" y="78"/>
                  </a:lnTo>
                  <a:lnTo>
                    <a:pt x="26" y="84"/>
                  </a:lnTo>
                  <a:lnTo>
                    <a:pt x="28" y="88"/>
                  </a:lnTo>
                  <a:lnTo>
                    <a:pt x="20" y="92"/>
                  </a:lnTo>
                  <a:lnTo>
                    <a:pt x="14" y="84"/>
                  </a:lnTo>
                  <a:lnTo>
                    <a:pt x="10" y="8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27" name="Freeform 143"/>
            <p:cNvSpPr>
              <a:spLocks/>
            </p:cNvSpPr>
            <p:nvPr/>
          </p:nvSpPr>
          <p:spPr bwMode="gray">
            <a:xfrm>
              <a:off x="6483350" y="4137025"/>
              <a:ext cx="188913" cy="161925"/>
            </a:xfrm>
            <a:custGeom>
              <a:avLst/>
              <a:gdLst>
                <a:gd name="T0" fmla="*/ 2147483647 w 160"/>
                <a:gd name="T1" fmla="*/ 2147483647 h 134"/>
                <a:gd name="T2" fmla="*/ 2147483647 w 160"/>
                <a:gd name="T3" fmla="*/ 2147483647 h 134"/>
                <a:gd name="T4" fmla="*/ 2147483647 w 160"/>
                <a:gd name="T5" fmla="*/ 2147483647 h 134"/>
                <a:gd name="T6" fmla="*/ 2147483647 w 160"/>
                <a:gd name="T7" fmla="*/ 2147483647 h 134"/>
                <a:gd name="T8" fmla="*/ 2147483647 w 160"/>
                <a:gd name="T9" fmla="*/ 2147483647 h 134"/>
                <a:gd name="T10" fmla="*/ 2147483647 w 160"/>
                <a:gd name="T11" fmla="*/ 2147483647 h 134"/>
                <a:gd name="T12" fmla="*/ 2147483647 w 160"/>
                <a:gd name="T13" fmla="*/ 2147483647 h 134"/>
                <a:gd name="T14" fmla="*/ 2147483647 w 160"/>
                <a:gd name="T15" fmla="*/ 2147483647 h 134"/>
                <a:gd name="T16" fmla="*/ 2147483647 w 160"/>
                <a:gd name="T17" fmla="*/ 2147483647 h 134"/>
                <a:gd name="T18" fmla="*/ 2147483647 w 160"/>
                <a:gd name="T19" fmla="*/ 2147483647 h 134"/>
                <a:gd name="T20" fmla="*/ 2147483647 w 160"/>
                <a:gd name="T21" fmla="*/ 2147483647 h 134"/>
                <a:gd name="T22" fmla="*/ 2147483647 w 160"/>
                <a:gd name="T23" fmla="*/ 0 h 134"/>
                <a:gd name="T24" fmla="*/ 2147483647 w 160"/>
                <a:gd name="T25" fmla="*/ 2147483647 h 134"/>
                <a:gd name="T26" fmla="*/ 2147483647 w 160"/>
                <a:gd name="T27" fmla="*/ 2147483647 h 134"/>
                <a:gd name="T28" fmla="*/ 2147483647 w 160"/>
                <a:gd name="T29" fmla="*/ 2147483647 h 134"/>
                <a:gd name="T30" fmla="*/ 2147483647 w 160"/>
                <a:gd name="T31" fmla="*/ 2147483647 h 134"/>
                <a:gd name="T32" fmla="*/ 2147483647 w 160"/>
                <a:gd name="T33" fmla="*/ 2147483647 h 134"/>
                <a:gd name="T34" fmla="*/ 2147483647 w 160"/>
                <a:gd name="T35" fmla="*/ 2147483647 h 134"/>
                <a:gd name="T36" fmla="*/ 2147483647 w 160"/>
                <a:gd name="T37" fmla="*/ 2147483647 h 134"/>
                <a:gd name="T38" fmla="*/ 2147483647 w 160"/>
                <a:gd name="T39" fmla="*/ 2147483647 h 134"/>
                <a:gd name="T40" fmla="*/ 2147483647 w 160"/>
                <a:gd name="T41" fmla="*/ 2147483647 h 134"/>
                <a:gd name="T42" fmla="*/ 2147483647 w 160"/>
                <a:gd name="T43" fmla="*/ 2147483647 h 134"/>
                <a:gd name="T44" fmla="*/ 2147483647 w 160"/>
                <a:gd name="T45" fmla="*/ 2147483647 h 134"/>
                <a:gd name="T46" fmla="*/ 2147483647 w 160"/>
                <a:gd name="T47" fmla="*/ 2147483647 h 134"/>
                <a:gd name="T48" fmla="*/ 2147483647 w 160"/>
                <a:gd name="T49" fmla="*/ 2147483647 h 134"/>
                <a:gd name="T50" fmla="*/ 2147483647 w 160"/>
                <a:gd name="T51" fmla="*/ 2147483647 h 134"/>
                <a:gd name="T52" fmla="*/ 2147483647 w 160"/>
                <a:gd name="T53" fmla="*/ 2147483647 h 134"/>
                <a:gd name="T54" fmla="*/ 2147483647 w 160"/>
                <a:gd name="T55" fmla="*/ 2147483647 h 134"/>
                <a:gd name="T56" fmla="*/ 2147483647 w 160"/>
                <a:gd name="T57" fmla="*/ 2147483647 h 134"/>
                <a:gd name="T58" fmla="*/ 2147483647 w 160"/>
                <a:gd name="T59" fmla="*/ 2147483647 h 134"/>
                <a:gd name="T60" fmla="*/ 2147483647 w 160"/>
                <a:gd name="T61" fmla="*/ 2147483647 h 134"/>
                <a:gd name="T62" fmla="*/ 2147483647 w 160"/>
                <a:gd name="T63" fmla="*/ 2147483647 h 134"/>
                <a:gd name="T64" fmla="*/ 2147483647 w 160"/>
                <a:gd name="T65" fmla="*/ 2147483647 h 134"/>
                <a:gd name="T66" fmla="*/ 2147483647 w 160"/>
                <a:gd name="T67" fmla="*/ 2147483647 h 134"/>
                <a:gd name="T68" fmla="*/ 2147483647 w 160"/>
                <a:gd name="T69" fmla="*/ 2147483647 h 134"/>
                <a:gd name="T70" fmla="*/ 2147483647 w 160"/>
                <a:gd name="T71" fmla="*/ 2147483647 h 134"/>
                <a:gd name="T72" fmla="*/ 2147483647 w 160"/>
                <a:gd name="T73" fmla="*/ 2147483647 h 134"/>
                <a:gd name="T74" fmla="*/ 0 w 160"/>
                <a:gd name="T75" fmla="*/ 2147483647 h 134"/>
                <a:gd name="T76" fmla="*/ 2147483647 w 160"/>
                <a:gd name="T77" fmla="*/ 2147483647 h 134"/>
                <a:gd name="T78" fmla="*/ 2147483647 w 160"/>
                <a:gd name="T79" fmla="*/ 2147483647 h 134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60"/>
                <a:gd name="T121" fmla="*/ 0 h 134"/>
                <a:gd name="T122" fmla="*/ 160 w 160"/>
                <a:gd name="T123" fmla="*/ 134 h 134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60" h="134">
                  <a:moveTo>
                    <a:pt x="14" y="46"/>
                  </a:moveTo>
                  <a:lnTo>
                    <a:pt x="24" y="56"/>
                  </a:lnTo>
                  <a:lnTo>
                    <a:pt x="36" y="56"/>
                  </a:lnTo>
                  <a:lnTo>
                    <a:pt x="44" y="54"/>
                  </a:lnTo>
                  <a:lnTo>
                    <a:pt x="66" y="46"/>
                  </a:lnTo>
                  <a:lnTo>
                    <a:pt x="74" y="54"/>
                  </a:lnTo>
                  <a:lnTo>
                    <a:pt x="86" y="48"/>
                  </a:lnTo>
                  <a:lnTo>
                    <a:pt x="98" y="36"/>
                  </a:lnTo>
                  <a:lnTo>
                    <a:pt x="108" y="18"/>
                  </a:lnTo>
                  <a:lnTo>
                    <a:pt x="110" y="6"/>
                  </a:lnTo>
                  <a:lnTo>
                    <a:pt x="116" y="2"/>
                  </a:lnTo>
                  <a:lnTo>
                    <a:pt x="132" y="0"/>
                  </a:lnTo>
                  <a:lnTo>
                    <a:pt x="140" y="6"/>
                  </a:lnTo>
                  <a:lnTo>
                    <a:pt x="138" y="14"/>
                  </a:lnTo>
                  <a:lnTo>
                    <a:pt x="132" y="16"/>
                  </a:lnTo>
                  <a:lnTo>
                    <a:pt x="140" y="26"/>
                  </a:lnTo>
                  <a:lnTo>
                    <a:pt x="146" y="42"/>
                  </a:lnTo>
                  <a:lnTo>
                    <a:pt x="150" y="48"/>
                  </a:lnTo>
                  <a:lnTo>
                    <a:pt x="160" y="56"/>
                  </a:lnTo>
                  <a:lnTo>
                    <a:pt x="156" y="60"/>
                  </a:lnTo>
                  <a:lnTo>
                    <a:pt x="144" y="58"/>
                  </a:lnTo>
                  <a:lnTo>
                    <a:pt x="138" y="64"/>
                  </a:lnTo>
                  <a:lnTo>
                    <a:pt x="136" y="84"/>
                  </a:lnTo>
                  <a:lnTo>
                    <a:pt x="120" y="96"/>
                  </a:lnTo>
                  <a:lnTo>
                    <a:pt x="122" y="112"/>
                  </a:lnTo>
                  <a:lnTo>
                    <a:pt x="120" y="118"/>
                  </a:lnTo>
                  <a:lnTo>
                    <a:pt x="118" y="134"/>
                  </a:lnTo>
                  <a:lnTo>
                    <a:pt x="94" y="132"/>
                  </a:lnTo>
                  <a:lnTo>
                    <a:pt x="92" y="124"/>
                  </a:lnTo>
                  <a:lnTo>
                    <a:pt x="64" y="120"/>
                  </a:lnTo>
                  <a:lnTo>
                    <a:pt x="60" y="126"/>
                  </a:lnTo>
                  <a:lnTo>
                    <a:pt x="46" y="124"/>
                  </a:lnTo>
                  <a:lnTo>
                    <a:pt x="44" y="116"/>
                  </a:lnTo>
                  <a:lnTo>
                    <a:pt x="24" y="116"/>
                  </a:lnTo>
                  <a:lnTo>
                    <a:pt x="20" y="96"/>
                  </a:lnTo>
                  <a:lnTo>
                    <a:pt x="12" y="86"/>
                  </a:lnTo>
                  <a:lnTo>
                    <a:pt x="2" y="66"/>
                  </a:lnTo>
                  <a:lnTo>
                    <a:pt x="0" y="54"/>
                  </a:lnTo>
                  <a:lnTo>
                    <a:pt x="6" y="46"/>
                  </a:lnTo>
                  <a:lnTo>
                    <a:pt x="14" y="4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28" name="Freeform 144"/>
            <p:cNvSpPr>
              <a:spLocks/>
            </p:cNvSpPr>
            <p:nvPr/>
          </p:nvSpPr>
          <p:spPr bwMode="gray">
            <a:xfrm>
              <a:off x="6224588" y="4119563"/>
              <a:ext cx="204787" cy="214312"/>
            </a:xfrm>
            <a:custGeom>
              <a:avLst/>
              <a:gdLst>
                <a:gd name="T0" fmla="*/ 0 w 172"/>
                <a:gd name="T1" fmla="*/ 0 h 176"/>
                <a:gd name="T2" fmla="*/ 2147483647 w 172"/>
                <a:gd name="T3" fmla="*/ 2147483647 h 176"/>
                <a:gd name="T4" fmla="*/ 2147483647 w 172"/>
                <a:gd name="T5" fmla="*/ 2147483647 h 176"/>
                <a:gd name="T6" fmla="*/ 2147483647 w 172"/>
                <a:gd name="T7" fmla="*/ 2147483647 h 176"/>
                <a:gd name="T8" fmla="*/ 2147483647 w 172"/>
                <a:gd name="T9" fmla="*/ 2147483647 h 176"/>
                <a:gd name="T10" fmla="*/ 2147483647 w 172"/>
                <a:gd name="T11" fmla="*/ 2147483647 h 176"/>
                <a:gd name="T12" fmla="*/ 2147483647 w 172"/>
                <a:gd name="T13" fmla="*/ 2147483647 h 176"/>
                <a:gd name="T14" fmla="*/ 2147483647 w 172"/>
                <a:gd name="T15" fmla="*/ 2147483647 h 176"/>
                <a:gd name="T16" fmla="*/ 2147483647 w 172"/>
                <a:gd name="T17" fmla="*/ 2147483647 h 176"/>
                <a:gd name="T18" fmla="*/ 2147483647 w 172"/>
                <a:gd name="T19" fmla="*/ 2147483647 h 176"/>
                <a:gd name="T20" fmla="*/ 2147483647 w 172"/>
                <a:gd name="T21" fmla="*/ 2147483647 h 176"/>
                <a:gd name="T22" fmla="*/ 2147483647 w 172"/>
                <a:gd name="T23" fmla="*/ 2147483647 h 176"/>
                <a:gd name="T24" fmla="*/ 2147483647 w 172"/>
                <a:gd name="T25" fmla="*/ 2147483647 h 176"/>
                <a:gd name="T26" fmla="*/ 2147483647 w 172"/>
                <a:gd name="T27" fmla="*/ 2147483647 h 176"/>
                <a:gd name="T28" fmla="*/ 2147483647 w 172"/>
                <a:gd name="T29" fmla="*/ 2147483647 h 176"/>
                <a:gd name="T30" fmla="*/ 2147483647 w 172"/>
                <a:gd name="T31" fmla="*/ 2147483647 h 176"/>
                <a:gd name="T32" fmla="*/ 2147483647 w 172"/>
                <a:gd name="T33" fmla="*/ 2147483647 h 176"/>
                <a:gd name="T34" fmla="*/ 2147483647 w 172"/>
                <a:gd name="T35" fmla="*/ 2147483647 h 176"/>
                <a:gd name="T36" fmla="*/ 2147483647 w 172"/>
                <a:gd name="T37" fmla="*/ 2147483647 h 176"/>
                <a:gd name="T38" fmla="*/ 2147483647 w 172"/>
                <a:gd name="T39" fmla="*/ 2147483647 h 176"/>
                <a:gd name="T40" fmla="*/ 2147483647 w 172"/>
                <a:gd name="T41" fmla="*/ 2147483647 h 176"/>
                <a:gd name="T42" fmla="*/ 2147483647 w 172"/>
                <a:gd name="T43" fmla="*/ 2147483647 h 176"/>
                <a:gd name="T44" fmla="*/ 2147483647 w 172"/>
                <a:gd name="T45" fmla="*/ 2147483647 h 176"/>
                <a:gd name="T46" fmla="*/ 2147483647 w 172"/>
                <a:gd name="T47" fmla="*/ 2147483647 h 176"/>
                <a:gd name="T48" fmla="*/ 2147483647 w 172"/>
                <a:gd name="T49" fmla="*/ 2147483647 h 176"/>
                <a:gd name="T50" fmla="*/ 2147483647 w 172"/>
                <a:gd name="T51" fmla="*/ 2147483647 h 176"/>
                <a:gd name="T52" fmla="*/ 2147483647 w 172"/>
                <a:gd name="T53" fmla="*/ 2147483647 h 176"/>
                <a:gd name="T54" fmla="*/ 2147483647 w 172"/>
                <a:gd name="T55" fmla="*/ 2147483647 h 176"/>
                <a:gd name="T56" fmla="*/ 2147483647 w 172"/>
                <a:gd name="T57" fmla="*/ 2147483647 h 176"/>
                <a:gd name="T58" fmla="*/ 2147483647 w 172"/>
                <a:gd name="T59" fmla="*/ 2147483647 h 176"/>
                <a:gd name="T60" fmla="*/ 2147483647 w 172"/>
                <a:gd name="T61" fmla="*/ 2147483647 h 176"/>
                <a:gd name="T62" fmla="*/ 2147483647 w 172"/>
                <a:gd name="T63" fmla="*/ 2147483647 h 176"/>
                <a:gd name="T64" fmla="*/ 2147483647 w 172"/>
                <a:gd name="T65" fmla="*/ 2147483647 h 176"/>
                <a:gd name="T66" fmla="*/ 2147483647 w 172"/>
                <a:gd name="T67" fmla="*/ 2147483647 h 176"/>
                <a:gd name="T68" fmla="*/ 2147483647 w 172"/>
                <a:gd name="T69" fmla="*/ 2147483647 h 176"/>
                <a:gd name="T70" fmla="*/ 0 w 172"/>
                <a:gd name="T71" fmla="*/ 0 h 17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72"/>
                <a:gd name="T109" fmla="*/ 0 h 176"/>
                <a:gd name="T110" fmla="*/ 172 w 172"/>
                <a:gd name="T111" fmla="*/ 176 h 17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72" h="176">
                  <a:moveTo>
                    <a:pt x="0" y="0"/>
                  </a:moveTo>
                  <a:lnTo>
                    <a:pt x="20" y="2"/>
                  </a:lnTo>
                  <a:lnTo>
                    <a:pt x="38" y="4"/>
                  </a:lnTo>
                  <a:lnTo>
                    <a:pt x="48" y="18"/>
                  </a:lnTo>
                  <a:lnTo>
                    <a:pt x="60" y="28"/>
                  </a:lnTo>
                  <a:lnTo>
                    <a:pt x="72" y="36"/>
                  </a:lnTo>
                  <a:lnTo>
                    <a:pt x="84" y="50"/>
                  </a:lnTo>
                  <a:lnTo>
                    <a:pt x="96" y="54"/>
                  </a:lnTo>
                  <a:lnTo>
                    <a:pt x="108" y="64"/>
                  </a:lnTo>
                  <a:lnTo>
                    <a:pt x="122" y="78"/>
                  </a:lnTo>
                  <a:lnTo>
                    <a:pt x="134" y="84"/>
                  </a:lnTo>
                  <a:lnTo>
                    <a:pt x="134" y="96"/>
                  </a:lnTo>
                  <a:lnTo>
                    <a:pt x="136" y="102"/>
                  </a:lnTo>
                  <a:lnTo>
                    <a:pt x="144" y="104"/>
                  </a:lnTo>
                  <a:lnTo>
                    <a:pt x="152" y="116"/>
                  </a:lnTo>
                  <a:lnTo>
                    <a:pt x="152" y="124"/>
                  </a:lnTo>
                  <a:lnTo>
                    <a:pt x="150" y="130"/>
                  </a:lnTo>
                  <a:lnTo>
                    <a:pt x="160" y="124"/>
                  </a:lnTo>
                  <a:lnTo>
                    <a:pt x="172" y="130"/>
                  </a:lnTo>
                  <a:lnTo>
                    <a:pt x="172" y="156"/>
                  </a:lnTo>
                  <a:lnTo>
                    <a:pt x="170" y="176"/>
                  </a:lnTo>
                  <a:lnTo>
                    <a:pt x="160" y="174"/>
                  </a:lnTo>
                  <a:lnTo>
                    <a:pt x="152" y="176"/>
                  </a:lnTo>
                  <a:lnTo>
                    <a:pt x="142" y="174"/>
                  </a:lnTo>
                  <a:lnTo>
                    <a:pt x="96" y="128"/>
                  </a:lnTo>
                  <a:lnTo>
                    <a:pt x="90" y="120"/>
                  </a:lnTo>
                  <a:lnTo>
                    <a:pt x="86" y="106"/>
                  </a:lnTo>
                  <a:lnTo>
                    <a:pt x="64" y="80"/>
                  </a:lnTo>
                  <a:lnTo>
                    <a:pt x="60" y="70"/>
                  </a:lnTo>
                  <a:lnTo>
                    <a:pt x="60" y="62"/>
                  </a:lnTo>
                  <a:lnTo>
                    <a:pt x="46" y="50"/>
                  </a:lnTo>
                  <a:lnTo>
                    <a:pt x="38" y="50"/>
                  </a:lnTo>
                  <a:lnTo>
                    <a:pt x="38" y="42"/>
                  </a:lnTo>
                  <a:lnTo>
                    <a:pt x="20" y="22"/>
                  </a:lnTo>
                  <a:lnTo>
                    <a:pt x="4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29" name="Freeform 145"/>
            <p:cNvSpPr>
              <a:spLocks/>
            </p:cNvSpPr>
            <p:nvPr/>
          </p:nvSpPr>
          <p:spPr bwMode="gray">
            <a:xfrm>
              <a:off x="6457950" y="4273550"/>
              <a:ext cx="19050" cy="15875"/>
            </a:xfrm>
            <a:custGeom>
              <a:avLst/>
              <a:gdLst>
                <a:gd name="T0" fmla="*/ 0 w 16"/>
                <a:gd name="T1" fmla="*/ 2147483647 h 14"/>
                <a:gd name="T2" fmla="*/ 2147483647 w 16"/>
                <a:gd name="T3" fmla="*/ 0 h 14"/>
                <a:gd name="T4" fmla="*/ 2147483647 w 16"/>
                <a:gd name="T5" fmla="*/ 2147483647 h 14"/>
                <a:gd name="T6" fmla="*/ 2147483647 w 16"/>
                <a:gd name="T7" fmla="*/ 2147483647 h 14"/>
                <a:gd name="T8" fmla="*/ 2147483647 w 16"/>
                <a:gd name="T9" fmla="*/ 2147483647 h 14"/>
                <a:gd name="T10" fmla="*/ 0 w 16"/>
                <a:gd name="T11" fmla="*/ 2147483647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14"/>
                <a:gd name="T20" fmla="*/ 16 w 16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14">
                  <a:moveTo>
                    <a:pt x="0" y="6"/>
                  </a:moveTo>
                  <a:lnTo>
                    <a:pt x="6" y="0"/>
                  </a:lnTo>
                  <a:lnTo>
                    <a:pt x="16" y="4"/>
                  </a:lnTo>
                  <a:lnTo>
                    <a:pt x="14" y="12"/>
                  </a:lnTo>
                  <a:lnTo>
                    <a:pt x="6" y="14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30" name="Freeform 146"/>
            <p:cNvSpPr>
              <a:spLocks/>
            </p:cNvSpPr>
            <p:nvPr/>
          </p:nvSpPr>
          <p:spPr bwMode="gray">
            <a:xfrm>
              <a:off x="6416675" y="4252913"/>
              <a:ext cx="31750" cy="34925"/>
            </a:xfrm>
            <a:custGeom>
              <a:avLst/>
              <a:gdLst>
                <a:gd name="T0" fmla="*/ 0 w 26"/>
                <a:gd name="T1" fmla="*/ 0 h 28"/>
                <a:gd name="T2" fmla="*/ 2147483647 w 26"/>
                <a:gd name="T3" fmla="*/ 0 h 28"/>
                <a:gd name="T4" fmla="*/ 2147483647 w 26"/>
                <a:gd name="T5" fmla="*/ 2147483647 h 28"/>
                <a:gd name="T6" fmla="*/ 2147483647 w 26"/>
                <a:gd name="T7" fmla="*/ 2147483647 h 28"/>
                <a:gd name="T8" fmla="*/ 2147483647 w 26"/>
                <a:gd name="T9" fmla="*/ 2147483647 h 28"/>
                <a:gd name="T10" fmla="*/ 2147483647 w 26"/>
                <a:gd name="T11" fmla="*/ 2147483647 h 28"/>
                <a:gd name="T12" fmla="*/ 2147483647 w 26"/>
                <a:gd name="T13" fmla="*/ 2147483647 h 28"/>
                <a:gd name="T14" fmla="*/ 2147483647 w 26"/>
                <a:gd name="T15" fmla="*/ 2147483647 h 28"/>
                <a:gd name="T16" fmla="*/ 2147483647 w 26"/>
                <a:gd name="T17" fmla="*/ 2147483647 h 28"/>
                <a:gd name="T18" fmla="*/ 2147483647 w 26"/>
                <a:gd name="T19" fmla="*/ 2147483647 h 28"/>
                <a:gd name="T20" fmla="*/ 0 w 26"/>
                <a:gd name="T21" fmla="*/ 2147483647 h 28"/>
                <a:gd name="T22" fmla="*/ 0 w 26"/>
                <a:gd name="T23" fmla="*/ 0 h 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6"/>
                <a:gd name="T37" fmla="*/ 0 h 28"/>
                <a:gd name="T38" fmla="*/ 26 w 26"/>
                <a:gd name="T39" fmla="*/ 28 h 2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6" h="28">
                  <a:moveTo>
                    <a:pt x="0" y="0"/>
                  </a:moveTo>
                  <a:lnTo>
                    <a:pt x="12" y="0"/>
                  </a:lnTo>
                  <a:lnTo>
                    <a:pt x="14" y="10"/>
                  </a:lnTo>
                  <a:lnTo>
                    <a:pt x="18" y="16"/>
                  </a:lnTo>
                  <a:lnTo>
                    <a:pt x="24" y="18"/>
                  </a:lnTo>
                  <a:lnTo>
                    <a:pt x="26" y="26"/>
                  </a:lnTo>
                  <a:lnTo>
                    <a:pt x="20" y="28"/>
                  </a:lnTo>
                  <a:lnTo>
                    <a:pt x="14" y="24"/>
                  </a:lnTo>
                  <a:lnTo>
                    <a:pt x="12" y="16"/>
                  </a:lnTo>
                  <a:lnTo>
                    <a:pt x="6" y="10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31" name="Freeform 147"/>
            <p:cNvSpPr>
              <a:spLocks/>
            </p:cNvSpPr>
            <p:nvPr/>
          </p:nvSpPr>
          <p:spPr bwMode="gray">
            <a:xfrm>
              <a:off x="6423025" y="4340225"/>
              <a:ext cx="185738" cy="53975"/>
            </a:xfrm>
            <a:custGeom>
              <a:avLst/>
              <a:gdLst>
                <a:gd name="T0" fmla="*/ 2147483647 w 158"/>
                <a:gd name="T1" fmla="*/ 2147483647 h 44"/>
                <a:gd name="T2" fmla="*/ 2147483647 w 158"/>
                <a:gd name="T3" fmla="*/ 0 h 44"/>
                <a:gd name="T4" fmla="*/ 2147483647 w 158"/>
                <a:gd name="T5" fmla="*/ 2147483647 h 44"/>
                <a:gd name="T6" fmla="*/ 2147483647 w 158"/>
                <a:gd name="T7" fmla="*/ 2147483647 h 44"/>
                <a:gd name="T8" fmla="*/ 2147483647 w 158"/>
                <a:gd name="T9" fmla="*/ 2147483647 h 44"/>
                <a:gd name="T10" fmla="*/ 2147483647 w 158"/>
                <a:gd name="T11" fmla="*/ 2147483647 h 44"/>
                <a:gd name="T12" fmla="*/ 2147483647 w 158"/>
                <a:gd name="T13" fmla="*/ 2147483647 h 44"/>
                <a:gd name="T14" fmla="*/ 2147483647 w 158"/>
                <a:gd name="T15" fmla="*/ 2147483647 h 44"/>
                <a:gd name="T16" fmla="*/ 2147483647 w 158"/>
                <a:gd name="T17" fmla="*/ 2147483647 h 44"/>
                <a:gd name="T18" fmla="*/ 2147483647 w 158"/>
                <a:gd name="T19" fmla="*/ 2147483647 h 44"/>
                <a:gd name="T20" fmla="*/ 2147483647 w 158"/>
                <a:gd name="T21" fmla="*/ 2147483647 h 44"/>
                <a:gd name="T22" fmla="*/ 2147483647 w 158"/>
                <a:gd name="T23" fmla="*/ 2147483647 h 44"/>
                <a:gd name="T24" fmla="*/ 2147483647 w 158"/>
                <a:gd name="T25" fmla="*/ 2147483647 h 44"/>
                <a:gd name="T26" fmla="*/ 2147483647 w 158"/>
                <a:gd name="T27" fmla="*/ 2147483647 h 44"/>
                <a:gd name="T28" fmla="*/ 2147483647 w 158"/>
                <a:gd name="T29" fmla="*/ 2147483647 h 44"/>
                <a:gd name="T30" fmla="*/ 2147483647 w 158"/>
                <a:gd name="T31" fmla="*/ 2147483647 h 44"/>
                <a:gd name="T32" fmla="*/ 2147483647 w 158"/>
                <a:gd name="T33" fmla="*/ 2147483647 h 44"/>
                <a:gd name="T34" fmla="*/ 2147483647 w 158"/>
                <a:gd name="T35" fmla="*/ 2147483647 h 44"/>
                <a:gd name="T36" fmla="*/ 2147483647 w 158"/>
                <a:gd name="T37" fmla="*/ 2147483647 h 44"/>
                <a:gd name="T38" fmla="*/ 2147483647 w 158"/>
                <a:gd name="T39" fmla="*/ 2147483647 h 44"/>
                <a:gd name="T40" fmla="*/ 2147483647 w 158"/>
                <a:gd name="T41" fmla="*/ 2147483647 h 44"/>
                <a:gd name="T42" fmla="*/ 2147483647 w 158"/>
                <a:gd name="T43" fmla="*/ 2147483647 h 44"/>
                <a:gd name="T44" fmla="*/ 2147483647 w 158"/>
                <a:gd name="T45" fmla="*/ 2147483647 h 44"/>
                <a:gd name="T46" fmla="*/ 2147483647 w 158"/>
                <a:gd name="T47" fmla="*/ 2147483647 h 44"/>
                <a:gd name="T48" fmla="*/ 0 w 158"/>
                <a:gd name="T49" fmla="*/ 2147483647 h 44"/>
                <a:gd name="T50" fmla="*/ 2147483647 w 158"/>
                <a:gd name="T51" fmla="*/ 2147483647 h 4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58"/>
                <a:gd name="T79" fmla="*/ 0 h 44"/>
                <a:gd name="T80" fmla="*/ 158 w 158"/>
                <a:gd name="T81" fmla="*/ 44 h 4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58" h="44">
                  <a:moveTo>
                    <a:pt x="8" y="2"/>
                  </a:moveTo>
                  <a:lnTo>
                    <a:pt x="28" y="0"/>
                  </a:lnTo>
                  <a:lnTo>
                    <a:pt x="46" y="10"/>
                  </a:lnTo>
                  <a:lnTo>
                    <a:pt x="56" y="14"/>
                  </a:lnTo>
                  <a:lnTo>
                    <a:pt x="74" y="14"/>
                  </a:lnTo>
                  <a:lnTo>
                    <a:pt x="84" y="10"/>
                  </a:lnTo>
                  <a:lnTo>
                    <a:pt x="100" y="10"/>
                  </a:lnTo>
                  <a:lnTo>
                    <a:pt x="112" y="18"/>
                  </a:lnTo>
                  <a:lnTo>
                    <a:pt x="114" y="24"/>
                  </a:lnTo>
                  <a:lnTo>
                    <a:pt x="134" y="26"/>
                  </a:lnTo>
                  <a:lnTo>
                    <a:pt x="142" y="26"/>
                  </a:lnTo>
                  <a:lnTo>
                    <a:pt x="144" y="32"/>
                  </a:lnTo>
                  <a:lnTo>
                    <a:pt x="154" y="36"/>
                  </a:lnTo>
                  <a:lnTo>
                    <a:pt x="158" y="42"/>
                  </a:lnTo>
                  <a:lnTo>
                    <a:pt x="144" y="44"/>
                  </a:lnTo>
                  <a:lnTo>
                    <a:pt x="126" y="40"/>
                  </a:lnTo>
                  <a:lnTo>
                    <a:pt x="116" y="38"/>
                  </a:lnTo>
                  <a:lnTo>
                    <a:pt x="108" y="38"/>
                  </a:lnTo>
                  <a:lnTo>
                    <a:pt x="78" y="36"/>
                  </a:lnTo>
                  <a:lnTo>
                    <a:pt x="68" y="28"/>
                  </a:lnTo>
                  <a:lnTo>
                    <a:pt x="36" y="28"/>
                  </a:lnTo>
                  <a:lnTo>
                    <a:pt x="26" y="24"/>
                  </a:lnTo>
                  <a:lnTo>
                    <a:pt x="14" y="20"/>
                  </a:lnTo>
                  <a:lnTo>
                    <a:pt x="10" y="16"/>
                  </a:lnTo>
                  <a:lnTo>
                    <a:pt x="0" y="1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32" name="Freeform 148"/>
            <p:cNvSpPr>
              <a:spLocks/>
            </p:cNvSpPr>
            <p:nvPr/>
          </p:nvSpPr>
          <p:spPr bwMode="gray">
            <a:xfrm>
              <a:off x="6762750" y="4381500"/>
              <a:ext cx="68263" cy="44450"/>
            </a:xfrm>
            <a:custGeom>
              <a:avLst/>
              <a:gdLst>
                <a:gd name="T0" fmla="*/ 0 w 56"/>
                <a:gd name="T1" fmla="*/ 2147483647 h 36"/>
                <a:gd name="T2" fmla="*/ 2147483647 w 56"/>
                <a:gd name="T3" fmla="*/ 2147483647 h 36"/>
                <a:gd name="T4" fmla="*/ 2147483647 w 56"/>
                <a:gd name="T5" fmla="*/ 2147483647 h 36"/>
                <a:gd name="T6" fmla="*/ 2147483647 w 56"/>
                <a:gd name="T7" fmla="*/ 2147483647 h 36"/>
                <a:gd name="T8" fmla="*/ 2147483647 w 56"/>
                <a:gd name="T9" fmla="*/ 2147483647 h 36"/>
                <a:gd name="T10" fmla="*/ 2147483647 w 56"/>
                <a:gd name="T11" fmla="*/ 0 h 36"/>
                <a:gd name="T12" fmla="*/ 2147483647 w 56"/>
                <a:gd name="T13" fmla="*/ 2147483647 h 36"/>
                <a:gd name="T14" fmla="*/ 2147483647 w 56"/>
                <a:gd name="T15" fmla="*/ 2147483647 h 36"/>
                <a:gd name="T16" fmla="*/ 2147483647 w 56"/>
                <a:gd name="T17" fmla="*/ 2147483647 h 36"/>
                <a:gd name="T18" fmla="*/ 2147483647 w 56"/>
                <a:gd name="T19" fmla="*/ 2147483647 h 36"/>
                <a:gd name="T20" fmla="*/ 0 w 56"/>
                <a:gd name="T21" fmla="*/ 2147483647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6"/>
                <a:gd name="T34" fmla="*/ 0 h 36"/>
                <a:gd name="T35" fmla="*/ 56 w 56"/>
                <a:gd name="T36" fmla="*/ 36 h 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6" h="36">
                  <a:moveTo>
                    <a:pt x="0" y="36"/>
                  </a:moveTo>
                  <a:lnTo>
                    <a:pt x="18" y="28"/>
                  </a:lnTo>
                  <a:lnTo>
                    <a:pt x="30" y="18"/>
                  </a:lnTo>
                  <a:lnTo>
                    <a:pt x="54" y="8"/>
                  </a:lnTo>
                  <a:lnTo>
                    <a:pt x="56" y="2"/>
                  </a:lnTo>
                  <a:lnTo>
                    <a:pt x="38" y="0"/>
                  </a:lnTo>
                  <a:lnTo>
                    <a:pt x="24" y="8"/>
                  </a:lnTo>
                  <a:lnTo>
                    <a:pt x="14" y="16"/>
                  </a:lnTo>
                  <a:lnTo>
                    <a:pt x="8" y="18"/>
                  </a:lnTo>
                  <a:lnTo>
                    <a:pt x="2" y="22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33" name="Freeform 149"/>
            <p:cNvSpPr>
              <a:spLocks/>
            </p:cNvSpPr>
            <p:nvPr/>
          </p:nvSpPr>
          <p:spPr bwMode="gray">
            <a:xfrm>
              <a:off x="6677025" y="4403725"/>
              <a:ext cx="34925" cy="19050"/>
            </a:xfrm>
            <a:custGeom>
              <a:avLst/>
              <a:gdLst>
                <a:gd name="T0" fmla="*/ 2147483647 w 30"/>
                <a:gd name="T1" fmla="*/ 0 h 16"/>
                <a:gd name="T2" fmla="*/ 2147483647 w 30"/>
                <a:gd name="T3" fmla="*/ 0 h 16"/>
                <a:gd name="T4" fmla="*/ 2147483647 w 30"/>
                <a:gd name="T5" fmla="*/ 2147483647 h 16"/>
                <a:gd name="T6" fmla="*/ 2147483647 w 30"/>
                <a:gd name="T7" fmla="*/ 2147483647 h 16"/>
                <a:gd name="T8" fmla="*/ 2147483647 w 30"/>
                <a:gd name="T9" fmla="*/ 2147483647 h 16"/>
                <a:gd name="T10" fmla="*/ 2147483647 w 30"/>
                <a:gd name="T11" fmla="*/ 2147483647 h 16"/>
                <a:gd name="T12" fmla="*/ 2147483647 w 30"/>
                <a:gd name="T13" fmla="*/ 2147483647 h 16"/>
                <a:gd name="T14" fmla="*/ 0 w 30"/>
                <a:gd name="T15" fmla="*/ 2147483647 h 16"/>
                <a:gd name="T16" fmla="*/ 2147483647 w 30"/>
                <a:gd name="T17" fmla="*/ 0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0"/>
                <a:gd name="T28" fmla="*/ 0 h 16"/>
                <a:gd name="T29" fmla="*/ 30 w 30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0" h="16">
                  <a:moveTo>
                    <a:pt x="2" y="0"/>
                  </a:moveTo>
                  <a:lnTo>
                    <a:pt x="14" y="0"/>
                  </a:lnTo>
                  <a:lnTo>
                    <a:pt x="24" y="6"/>
                  </a:lnTo>
                  <a:lnTo>
                    <a:pt x="30" y="12"/>
                  </a:lnTo>
                  <a:lnTo>
                    <a:pt x="26" y="16"/>
                  </a:lnTo>
                  <a:lnTo>
                    <a:pt x="14" y="14"/>
                  </a:lnTo>
                  <a:lnTo>
                    <a:pt x="4" y="8"/>
                  </a:lnTo>
                  <a:lnTo>
                    <a:pt x="0" y="4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34" name="Freeform 150"/>
            <p:cNvSpPr>
              <a:spLocks/>
            </p:cNvSpPr>
            <p:nvPr/>
          </p:nvSpPr>
          <p:spPr bwMode="gray">
            <a:xfrm>
              <a:off x="6691313" y="4381500"/>
              <a:ext cx="46037" cy="12700"/>
            </a:xfrm>
            <a:custGeom>
              <a:avLst/>
              <a:gdLst>
                <a:gd name="T0" fmla="*/ 0 w 38"/>
                <a:gd name="T1" fmla="*/ 2147483647 h 10"/>
                <a:gd name="T2" fmla="*/ 2147483647 w 38"/>
                <a:gd name="T3" fmla="*/ 2147483647 h 10"/>
                <a:gd name="T4" fmla="*/ 2147483647 w 38"/>
                <a:gd name="T5" fmla="*/ 2147483647 h 10"/>
                <a:gd name="T6" fmla="*/ 2147483647 w 38"/>
                <a:gd name="T7" fmla="*/ 2147483647 h 10"/>
                <a:gd name="T8" fmla="*/ 2147483647 w 38"/>
                <a:gd name="T9" fmla="*/ 2147483647 h 10"/>
                <a:gd name="T10" fmla="*/ 2147483647 w 38"/>
                <a:gd name="T11" fmla="*/ 2147483647 h 10"/>
                <a:gd name="T12" fmla="*/ 2147483647 w 38"/>
                <a:gd name="T13" fmla="*/ 0 h 10"/>
                <a:gd name="T14" fmla="*/ 2147483647 w 38"/>
                <a:gd name="T15" fmla="*/ 2147483647 h 10"/>
                <a:gd name="T16" fmla="*/ 0 w 38"/>
                <a:gd name="T17" fmla="*/ 2147483647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8"/>
                <a:gd name="T28" fmla="*/ 0 h 10"/>
                <a:gd name="T29" fmla="*/ 38 w 38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8" h="10">
                  <a:moveTo>
                    <a:pt x="0" y="10"/>
                  </a:moveTo>
                  <a:lnTo>
                    <a:pt x="18" y="10"/>
                  </a:lnTo>
                  <a:lnTo>
                    <a:pt x="38" y="10"/>
                  </a:lnTo>
                  <a:lnTo>
                    <a:pt x="38" y="4"/>
                  </a:lnTo>
                  <a:lnTo>
                    <a:pt x="24" y="4"/>
                  </a:lnTo>
                  <a:lnTo>
                    <a:pt x="18" y="2"/>
                  </a:lnTo>
                  <a:lnTo>
                    <a:pt x="8" y="0"/>
                  </a:lnTo>
                  <a:lnTo>
                    <a:pt x="4" y="2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35" name="Freeform 151"/>
            <p:cNvSpPr>
              <a:spLocks/>
            </p:cNvSpPr>
            <p:nvPr/>
          </p:nvSpPr>
          <p:spPr bwMode="gray">
            <a:xfrm>
              <a:off x="6657975" y="4381500"/>
              <a:ext cx="22225" cy="12700"/>
            </a:xfrm>
            <a:custGeom>
              <a:avLst/>
              <a:gdLst>
                <a:gd name="T0" fmla="*/ 0 w 20"/>
                <a:gd name="T1" fmla="*/ 2147483647 h 10"/>
                <a:gd name="T2" fmla="*/ 0 w 20"/>
                <a:gd name="T3" fmla="*/ 2147483647 h 10"/>
                <a:gd name="T4" fmla="*/ 2147483647 w 20"/>
                <a:gd name="T5" fmla="*/ 2147483647 h 10"/>
                <a:gd name="T6" fmla="*/ 2147483647 w 20"/>
                <a:gd name="T7" fmla="*/ 2147483647 h 10"/>
                <a:gd name="T8" fmla="*/ 2147483647 w 20"/>
                <a:gd name="T9" fmla="*/ 0 h 10"/>
                <a:gd name="T10" fmla="*/ 0 w 20"/>
                <a:gd name="T11" fmla="*/ 2147483647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10"/>
                <a:gd name="T20" fmla="*/ 20 w 20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10">
                  <a:moveTo>
                    <a:pt x="0" y="2"/>
                  </a:moveTo>
                  <a:lnTo>
                    <a:pt x="0" y="10"/>
                  </a:lnTo>
                  <a:lnTo>
                    <a:pt x="20" y="10"/>
                  </a:lnTo>
                  <a:lnTo>
                    <a:pt x="18" y="2"/>
                  </a:lnTo>
                  <a:lnTo>
                    <a:pt x="8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36" name="Freeform 152"/>
            <p:cNvSpPr>
              <a:spLocks/>
            </p:cNvSpPr>
            <p:nvPr/>
          </p:nvSpPr>
          <p:spPr bwMode="gray">
            <a:xfrm>
              <a:off x="6619875" y="4381500"/>
              <a:ext cx="30163" cy="22225"/>
            </a:xfrm>
            <a:custGeom>
              <a:avLst/>
              <a:gdLst>
                <a:gd name="T0" fmla="*/ 2147483647 w 26"/>
                <a:gd name="T1" fmla="*/ 0 h 18"/>
                <a:gd name="T2" fmla="*/ 2147483647 w 26"/>
                <a:gd name="T3" fmla="*/ 2147483647 h 18"/>
                <a:gd name="T4" fmla="*/ 2147483647 w 26"/>
                <a:gd name="T5" fmla="*/ 2147483647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2147483647 w 26"/>
                <a:gd name="T11" fmla="*/ 2147483647 h 18"/>
                <a:gd name="T12" fmla="*/ 0 w 26"/>
                <a:gd name="T13" fmla="*/ 2147483647 h 18"/>
                <a:gd name="T14" fmla="*/ 2147483647 w 26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18"/>
                <a:gd name="T26" fmla="*/ 26 w 26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18">
                  <a:moveTo>
                    <a:pt x="2" y="0"/>
                  </a:moveTo>
                  <a:lnTo>
                    <a:pt x="14" y="2"/>
                  </a:lnTo>
                  <a:lnTo>
                    <a:pt x="26" y="4"/>
                  </a:lnTo>
                  <a:lnTo>
                    <a:pt x="26" y="10"/>
                  </a:lnTo>
                  <a:lnTo>
                    <a:pt x="24" y="18"/>
                  </a:lnTo>
                  <a:lnTo>
                    <a:pt x="12" y="14"/>
                  </a:lnTo>
                  <a:lnTo>
                    <a:pt x="0" y="1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37" name="Freeform 153"/>
            <p:cNvSpPr>
              <a:spLocks/>
            </p:cNvSpPr>
            <p:nvPr/>
          </p:nvSpPr>
          <p:spPr bwMode="gray">
            <a:xfrm>
              <a:off x="6672263" y="4189413"/>
              <a:ext cx="117475" cy="144462"/>
            </a:xfrm>
            <a:custGeom>
              <a:avLst/>
              <a:gdLst>
                <a:gd name="T0" fmla="*/ 2147483647 w 98"/>
                <a:gd name="T1" fmla="*/ 2147483647 h 118"/>
                <a:gd name="T2" fmla="*/ 2147483647 w 98"/>
                <a:gd name="T3" fmla="*/ 2147483647 h 118"/>
                <a:gd name="T4" fmla="*/ 2147483647 w 98"/>
                <a:gd name="T5" fmla="*/ 2147483647 h 118"/>
                <a:gd name="T6" fmla="*/ 2147483647 w 98"/>
                <a:gd name="T7" fmla="*/ 2147483647 h 118"/>
                <a:gd name="T8" fmla="*/ 2147483647 w 98"/>
                <a:gd name="T9" fmla="*/ 2147483647 h 118"/>
                <a:gd name="T10" fmla="*/ 2147483647 w 98"/>
                <a:gd name="T11" fmla="*/ 2147483647 h 118"/>
                <a:gd name="T12" fmla="*/ 2147483647 w 98"/>
                <a:gd name="T13" fmla="*/ 2147483647 h 118"/>
                <a:gd name="T14" fmla="*/ 2147483647 w 98"/>
                <a:gd name="T15" fmla="*/ 2147483647 h 118"/>
                <a:gd name="T16" fmla="*/ 2147483647 w 98"/>
                <a:gd name="T17" fmla="*/ 2147483647 h 118"/>
                <a:gd name="T18" fmla="*/ 2147483647 w 98"/>
                <a:gd name="T19" fmla="*/ 0 h 118"/>
                <a:gd name="T20" fmla="*/ 2147483647 w 98"/>
                <a:gd name="T21" fmla="*/ 2147483647 h 118"/>
                <a:gd name="T22" fmla="*/ 2147483647 w 98"/>
                <a:gd name="T23" fmla="*/ 2147483647 h 118"/>
                <a:gd name="T24" fmla="*/ 2147483647 w 98"/>
                <a:gd name="T25" fmla="*/ 2147483647 h 118"/>
                <a:gd name="T26" fmla="*/ 2147483647 w 98"/>
                <a:gd name="T27" fmla="*/ 2147483647 h 118"/>
                <a:gd name="T28" fmla="*/ 2147483647 w 98"/>
                <a:gd name="T29" fmla="*/ 2147483647 h 118"/>
                <a:gd name="T30" fmla="*/ 2147483647 w 98"/>
                <a:gd name="T31" fmla="*/ 2147483647 h 118"/>
                <a:gd name="T32" fmla="*/ 2147483647 w 98"/>
                <a:gd name="T33" fmla="*/ 2147483647 h 118"/>
                <a:gd name="T34" fmla="*/ 2147483647 w 98"/>
                <a:gd name="T35" fmla="*/ 2147483647 h 118"/>
                <a:gd name="T36" fmla="*/ 2147483647 w 98"/>
                <a:gd name="T37" fmla="*/ 2147483647 h 118"/>
                <a:gd name="T38" fmla="*/ 2147483647 w 98"/>
                <a:gd name="T39" fmla="*/ 2147483647 h 118"/>
                <a:gd name="T40" fmla="*/ 2147483647 w 98"/>
                <a:gd name="T41" fmla="*/ 2147483647 h 118"/>
                <a:gd name="T42" fmla="*/ 2147483647 w 98"/>
                <a:gd name="T43" fmla="*/ 2147483647 h 118"/>
                <a:gd name="T44" fmla="*/ 2147483647 w 98"/>
                <a:gd name="T45" fmla="*/ 2147483647 h 118"/>
                <a:gd name="T46" fmla="*/ 2147483647 w 98"/>
                <a:gd name="T47" fmla="*/ 2147483647 h 118"/>
                <a:gd name="T48" fmla="*/ 2147483647 w 98"/>
                <a:gd name="T49" fmla="*/ 2147483647 h 118"/>
                <a:gd name="T50" fmla="*/ 2147483647 w 98"/>
                <a:gd name="T51" fmla="*/ 2147483647 h 118"/>
                <a:gd name="T52" fmla="*/ 2147483647 w 98"/>
                <a:gd name="T53" fmla="*/ 2147483647 h 118"/>
                <a:gd name="T54" fmla="*/ 2147483647 w 98"/>
                <a:gd name="T55" fmla="*/ 2147483647 h 118"/>
                <a:gd name="T56" fmla="*/ 2147483647 w 98"/>
                <a:gd name="T57" fmla="*/ 2147483647 h 118"/>
                <a:gd name="T58" fmla="*/ 2147483647 w 98"/>
                <a:gd name="T59" fmla="*/ 2147483647 h 118"/>
                <a:gd name="T60" fmla="*/ 2147483647 w 98"/>
                <a:gd name="T61" fmla="*/ 2147483647 h 118"/>
                <a:gd name="T62" fmla="*/ 2147483647 w 98"/>
                <a:gd name="T63" fmla="*/ 2147483647 h 118"/>
                <a:gd name="T64" fmla="*/ 2147483647 w 98"/>
                <a:gd name="T65" fmla="*/ 2147483647 h 118"/>
                <a:gd name="T66" fmla="*/ 2147483647 w 98"/>
                <a:gd name="T67" fmla="*/ 2147483647 h 118"/>
                <a:gd name="T68" fmla="*/ 2147483647 w 98"/>
                <a:gd name="T69" fmla="*/ 2147483647 h 118"/>
                <a:gd name="T70" fmla="*/ 2147483647 w 98"/>
                <a:gd name="T71" fmla="*/ 2147483647 h 118"/>
                <a:gd name="T72" fmla="*/ 2147483647 w 98"/>
                <a:gd name="T73" fmla="*/ 2147483647 h 118"/>
                <a:gd name="T74" fmla="*/ 2147483647 w 98"/>
                <a:gd name="T75" fmla="*/ 2147483647 h 118"/>
                <a:gd name="T76" fmla="*/ 2147483647 w 98"/>
                <a:gd name="T77" fmla="*/ 2147483647 h 118"/>
                <a:gd name="T78" fmla="*/ 2147483647 w 98"/>
                <a:gd name="T79" fmla="*/ 2147483647 h 118"/>
                <a:gd name="T80" fmla="*/ 2147483647 w 98"/>
                <a:gd name="T81" fmla="*/ 2147483647 h 118"/>
                <a:gd name="T82" fmla="*/ 2147483647 w 98"/>
                <a:gd name="T83" fmla="*/ 2147483647 h 118"/>
                <a:gd name="T84" fmla="*/ 2147483647 w 98"/>
                <a:gd name="T85" fmla="*/ 2147483647 h 118"/>
                <a:gd name="T86" fmla="*/ 2147483647 w 98"/>
                <a:gd name="T87" fmla="*/ 2147483647 h 118"/>
                <a:gd name="T88" fmla="*/ 2147483647 w 98"/>
                <a:gd name="T89" fmla="*/ 2147483647 h 118"/>
                <a:gd name="T90" fmla="*/ 2147483647 w 98"/>
                <a:gd name="T91" fmla="*/ 2147483647 h 118"/>
                <a:gd name="T92" fmla="*/ 2147483647 w 98"/>
                <a:gd name="T93" fmla="*/ 2147483647 h 118"/>
                <a:gd name="T94" fmla="*/ 2147483647 w 98"/>
                <a:gd name="T95" fmla="*/ 2147483647 h 118"/>
                <a:gd name="T96" fmla="*/ 2147483647 w 98"/>
                <a:gd name="T97" fmla="*/ 2147483647 h 118"/>
                <a:gd name="T98" fmla="*/ 2147483647 w 98"/>
                <a:gd name="T99" fmla="*/ 2147483647 h 118"/>
                <a:gd name="T100" fmla="*/ 2147483647 w 98"/>
                <a:gd name="T101" fmla="*/ 2147483647 h 118"/>
                <a:gd name="T102" fmla="*/ 2147483647 w 98"/>
                <a:gd name="T103" fmla="*/ 2147483647 h 118"/>
                <a:gd name="T104" fmla="*/ 2147483647 w 98"/>
                <a:gd name="T105" fmla="*/ 2147483647 h 118"/>
                <a:gd name="T106" fmla="*/ 2147483647 w 98"/>
                <a:gd name="T107" fmla="*/ 2147483647 h 118"/>
                <a:gd name="T108" fmla="*/ 0 w 98"/>
                <a:gd name="T109" fmla="*/ 2147483647 h 118"/>
                <a:gd name="T110" fmla="*/ 0 w 98"/>
                <a:gd name="T111" fmla="*/ 2147483647 h 118"/>
                <a:gd name="T112" fmla="*/ 2147483647 w 98"/>
                <a:gd name="T113" fmla="*/ 2147483647 h 118"/>
                <a:gd name="T114" fmla="*/ 2147483647 w 98"/>
                <a:gd name="T115" fmla="*/ 2147483647 h 118"/>
                <a:gd name="T116" fmla="*/ 2147483647 w 98"/>
                <a:gd name="T117" fmla="*/ 2147483647 h 11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8"/>
                <a:gd name="T178" fmla="*/ 0 h 118"/>
                <a:gd name="T179" fmla="*/ 98 w 98"/>
                <a:gd name="T180" fmla="*/ 118 h 11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8" h="118">
                  <a:moveTo>
                    <a:pt x="12" y="36"/>
                  </a:moveTo>
                  <a:lnTo>
                    <a:pt x="12" y="26"/>
                  </a:lnTo>
                  <a:lnTo>
                    <a:pt x="20" y="14"/>
                  </a:lnTo>
                  <a:lnTo>
                    <a:pt x="32" y="8"/>
                  </a:lnTo>
                  <a:lnTo>
                    <a:pt x="48" y="10"/>
                  </a:lnTo>
                  <a:lnTo>
                    <a:pt x="58" y="14"/>
                  </a:lnTo>
                  <a:lnTo>
                    <a:pt x="74" y="14"/>
                  </a:lnTo>
                  <a:lnTo>
                    <a:pt x="84" y="12"/>
                  </a:lnTo>
                  <a:lnTo>
                    <a:pt x="90" y="8"/>
                  </a:lnTo>
                  <a:lnTo>
                    <a:pt x="98" y="0"/>
                  </a:lnTo>
                  <a:lnTo>
                    <a:pt x="98" y="8"/>
                  </a:lnTo>
                  <a:lnTo>
                    <a:pt x="88" y="20"/>
                  </a:lnTo>
                  <a:lnTo>
                    <a:pt x="80" y="26"/>
                  </a:lnTo>
                  <a:lnTo>
                    <a:pt x="56" y="22"/>
                  </a:lnTo>
                  <a:lnTo>
                    <a:pt x="42" y="20"/>
                  </a:lnTo>
                  <a:lnTo>
                    <a:pt x="30" y="20"/>
                  </a:lnTo>
                  <a:lnTo>
                    <a:pt x="24" y="20"/>
                  </a:lnTo>
                  <a:lnTo>
                    <a:pt x="18" y="26"/>
                  </a:lnTo>
                  <a:lnTo>
                    <a:pt x="18" y="36"/>
                  </a:lnTo>
                  <a:lnTo>
                    <a:pt x="22" y="42"/>
                  </a:lnTo>
                  <a:lnTo>
                    <a:pt x="26" y="46"/>
                  </a:lnTo>
                  <a:lnTo>
                    <a:pt x="28" y="50"/>
                  </a:lnTo>
                  <a:lnTo>
                    <a:pt x="32" y="52"/>
                  </a:lnTo>
                  <a:lnTo>
                    <a:pt x="38" y="44"/>
                  </a:lnTo>
                  <a:lnTo>
                    <a:pt x="42" y="42"/>
                  </a:lnTo>
                  <a:lnTo>
                    <a:pt x="52" y="44"/>
                  </a:lnTo>
                  <a:lnTo>
                    <a:pt x="60" y="40"/>
                  </a:lnTo>
                  <a:lnTo>
                    <a:pt x="70" y="40"/>
                  </a:lnTo>
                  <a:lnTo>
                    <a:pt x="68" y="46"/>
                  </a:lnTo>
                  <a:lnTo>
                    <a:pt x="56" y="48"/>
                  </a:lnTo>
                  <a:lnTo>
                    <a:pt x="50" y="54"/>
                  </a:lnTo>
                  <a:lnTo>
                    <a:pt x="44" y="60"/>
                  </a:lnTo>
                  <a:lnTo>
                    <a:pt x="44" y="62"/>
                  </a:lnTo>
                  <a:lnTo>
                    <a:pt x="48" y="68"/>
                  </a:lnTo>
                  <a:lnTo>
                    <a:pt x="54" y="80"/>
                  </a:lnTo>
                  <a:lnTo>
                    <a:pt x="54" y="84"/>
                  </a:lnTo>
                  <a:lnTo>
                    <a:pt x="56" y="92"/>
                  </a:lnTo>
                  <a:lnTo>
                    <a:pt x="62" y="96"/>
                  </a:lnTo>
                  <a:lnTo>
                    <a:pt x="54" y="100"/>
                  </a:lnTo>
                  <a:lnTo>
                    <a:pt x="46" y="98"/>
                  </a:lnTo>
                  <a:lnTo>
                    <a:pt x="44" y="104"/>
                  </a:lnTo>
                  <a:lnTo>
                    <a:pt x="38" y="94"/>
                  </a:lnTo>
                  <a:lnTo>
                    <a:pt x="34" y="84"/>
                  </a:lnTo>
                  <a:lnTo>
                    <a:pt x="32" y="70"/>
                  </a:lnTo>
                  <a:lnTo>
                    <a:pt x="24" y="70"/>
                  </a:lnTo>
                  <a:lnTo>
                    <a:pt x="22" y="76"/>
                  </a:lnTo>
                  <a:lnTo>
                    <a:pt x="24" y="92"/>
                  </a:lnTo>
                  <a:lnTo>
                    <a:pt x="24" y="98"/>
                  </a:lnTo>
                  <a:lnTo>
                    <a:pt x="24" y="112"/>
                  </a:lnTo>
                  <a:lnTo>
                    <a:pt x="22" y="118"/>
                  </a:lnTo>
                  <a:lnTo>
                    <a:pt x="10" y="116"/>
                  </a:lnTo>
                  <a:lnTo>
                    <a:pt x="10" y="102"/>
                  </a:lnTo>
                  <a:lnTo>
                    <a:pt x="12" y="90"/>
                  </a:lnTo>
                  <a:lnTo>
                    <a:pt x="10" y="84"/>
                  </a:lnTo>
                  <a:lnTo>
                    <a:pt x="0" y="80"/>
                  </a:lnTo>
                  <a:lnTo>
                    <a:pt x="0" y="68"/>
                  </a:lnTo>
                  <a:lnTo>
                    <a:pt x="4" y="58"/>
                  </a:lnTo>
                  <a:lnTo>
                    <a:pt x="8" y="42"/>
                  </a:lnTo>
                  <a:lnTo>
                    <a:pt x="12" y="3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38" name="Freeform 154"/>
            <p:cNvSpPr>
              <a:spLocks/>
            </p:cNvSpPr>
            <p:nvPr/>
          </p:nvSpPr>
          <p:spPr bwMode="gray">
            <a:xfrm>
              <a:off x="6896100" y="4233863"/>
              <a:ext cx="192088" cy="165100"/>
            </a:xfrm>
            <a:custGeom>
              <a:avLst/>
              <a:gdLst>
                <a:gd name="T0" fmla="*/ 2147483647 w 162"/>
                <a:gd name="T1" fmla="*/ 2147483647 h 136"/>
                <a:gd name="T2" fmla="*/ 2147483647 w 162"/>
                <a:gd name="T3" fmla="*/ 2147483647 h 136"/>
                <a:gd name="T4" fmla="*/ 2147483647 w 162"/>
                <a:gd name="T5" fmla="*/ 0 h 136"/>
                <a:gd name="T6" fmla="*/ 2147483647 w 162"/>
                <a:gd name="T7" fmla="*/ 2147483647 h 136"/>
                <a:gd name="T8" fmla="*/ 2147483647 w 162"/>
                <a:gd name="T9" fmla="*/ 2147483647 h 136"/>
                <a:gd name="T10" fmla="*/ 2147483647 w 162"/>
                <a:gd name="T11" fmla="*/ 2147483647 h 136"/>
                <a:gd name="T12" fmla="*/ 2147483647 w 162"/>
                <a:gd name="T13" fmla="*/ 2147483647 h 136"/>
                <a:gd name="T14" fmla="*/ 2147483647 w 162"/>
                <a:gd name="T15" fmla="*/ 2147483647 h 136"/>
                <a:gd name="T16" fmla="*/ 2147483647 w 162"/>
                <a:gd name="T17" fmla="*/ 2147483647 h 136"/>
                <a:gd name="T18" fmla="*/ 2147483647 w 162"/>
                <a:gd name="T19" fmla="*/ 2147483647 h 136"/>
                <a:gd name="T20" fmla="*/ 2147483647 w 162"/>
                <a:gd name="T21" fmla="*/ 2147483647 h 136"/>
                <a:gd name="T22" fmla="*/ 2147483647 w 162"/>
                <a:gd name="T23" fmla="*/ 2147483647 h 136"/>
                <a:gd name="T24" fmla="*/ 2147483647 w 162"/>
                <a:gd name="T25" fmla="*/ 2147483647 h 136"/>
                <a:gd name="T26" fmla="*/ 2147483647 w 162"/>
                <a:gd name="T27" fmla="*/ 2147483647 h 136"/>
                <a:gd name="T28" fmla="*/ 2147483647 w 162"/>
                <a:gd name="T29" fmla="*/ 2147483647 h 136"/>
                <a:gd name="T30" fmla="*/ 2147483647 w 162"/>
                <a:gd name="T31" fmla="*/ 2147483647 h 136"/>
                <a:gd name="T32" fmla="*/ 2147483647 w 162"/>
                <a:gd name="T33" fmla="*/ 2147483647 h 136"/>
                <a:gd name="T34" fmla="*/ 2147483647 w 162"/>
                <a:gd name="T35" fmla="*/ 2147483647 h 136"/>
                <a:gd name="T36" fmla="*/ 2147483647 w 162"/>
                <a:gd name="T37" fmla="*/ 2147483647 h 136"/>
                <a:gd name="T38" fmla="*/ 2147483647 w 162"/>
                <a:gd name="T39" fmla="*/ 2147483647 h 136"/>
                <a:gd name="T40" fmla="*/ 2147483647 w 162"/>
                <a:gd name="T41" fmla="*/ 2147483647 h 136"/>
                <a:gd name="T42" fmla="*/ 2147483647 w 162"/>
                <a:gd name="T43" fmla="*/ 2147483647 h 136"/>
                <a:gd name="T44" fmla="*/ 2147483647 w 162"/>
                <a:gd name="T45" fmla="*/ 2147483647 h 136"/>
                <a:gd name="T46" fmla="*/ 2147483647 w 162"/>
                <a:gd name="T47" fmla="*/ 2147483647 h 136"/>
                <a:gd name="T48" fmla="*/ 2147483647 w 162"/>
                <a:gd name="T49" fmla="*/ 2147483647 h 136"/>
                <a:gd name="T50" fmla="*/ 2147483647 w 162"/>
                <a:gd name="T51" fmla="*/ 2147483647 h 136"/>
                <a:gd name="T52" fmla="*/ 2147483647 w 162"/>
                <a:gd name="T53" fmla="*/ 2147483647 h 136"/>
                <a:gd name="T54" fmla="*/ 2147483647 w 162"/>
                <a:gd name="T55" fmla="*/ 2147483647 h 136"/>
                <a:gd name="T56" fmla="*/ 2147483647 w 162"/>
                <a:gd name="T57" fmla="*/ 2147483647 h 136"/>
                <a:gd name="T58" fmla="*/ 2147483647 w 162"/>
                <a:gd name="T59" fmla="*/ 2147483647 h 136"/>
                <a:gd name="T60" fmla="*/ 2147483647 w 162"/>
                <a:gd name="T61" fmla="*/ 2147483647 h 136"/>
                <a:gd name="T62" fmla="*/ 2147483647 w 162"/>
                <a:gd name="T63" fmla="*/ 2147483647 h 136"/>
                <a:gd name="T64" fmla="*/ 2147483647 w 162"/>
                <a:gd name="T65" fmla="*/ 2147483647 h 136"/>
                <a:gd name="T66" fmla="*/ 2147483647 w 162"/>
                <a:gd name="T67" fmla="*/ 2147483647 h 136"/>
                <a:gd name="T68" fmla="*/ 2147483647 w 162"/>
                <a:gd name="T69" fmla="*/ 2147483647 h 136"/>
                <a:gd name="T70" fmla="*/ 2147483647 w 162"/>
                <a:gd name="T71" fmla="*/ 2147483647 h 136"/>
                <a:gd name="T72" fmla="*/ 2147483647 w 162"/>
                <a:gd name="T73" fmla="*/ 2147483647 h 136"/>
                <a:gd name="T74" fmla="*/ 2147483647 w 162"/>
                <a:gd name="T75" fmla="*/ 2147483647 h 136"/>
                <a:gd name="T76" fmla="*/ 2147483647 w 162"/>
                <a:gd name="T77" fmla="*/ 2147483647 h 136"/>
                <a:gd name="T78" fmla="*/ 2147483647 w 162"/>
                <a:gd name="T79" fmla="*/ 2147483647 h 136"/>
                <a:gd name="T80" fmla="*/ 2147483647 w 162"/>
                <a:gd name="T81" fmla="*/ 2147483647 h 136"/>
                <a:gd name="T82" fmla="*/ 2147483647 w 162"/>
                <a:gd name="T83" fmla="*/ 2147483647 h 136"/>
                <a:gd name="T84" fmla="*/ 2147483647 w 162"/>
                <a:gd name="T85" fmla="*/ 2147483647 h 136"/>
                <a:gd name="T86" fmla="*/ 2147483647 w 162"/>
                <a:gd name="T87" fmla="*/ 2147483647 h 136"/>
                <a:gd name="T88" fmla="*/ 2147483647 w 162"/>
                <a:gd name="T89" fmla="*/ 2147483647 h 136"/>
                <a:gd name="T90" fmla="*/ 2147483647 w 162"/>
                <a:gd name="T91" fmla="*/ 2147483647 h 136"/>
                <a:gd name="T92" fmla="*/ 2147483647 w 162"/>
                <a:gd name="T93" fmla="*/ 2147483647 h 136"/>
                <a:gd name="T94" fmla="*/ 2147483647 w 162"/>
                <a:gd name="T95" fmla="*/ 2147483647 h 136"/>
                <a:gd name="T96" fmla="*/ 2147483647 w 162"/>
                <a:gd name="T97" fmla="*/ 2147483647 h 136"/>
                <a:gd name="T98" fmla="*/ 2147483647 w 162"/>
                <a:gd name="T99" fmla="*/ 2147483647 h 136"/>
                <a:gd name="T100" fmla="*/ 2147483647 w 162"/>
                <a:gd name="T101" fmla="*/ 2147483647 h 136"/>
                <a:gd name="T102" fmla="*/ 2147483647 w 162"/>
                <a:gd name="T103" fmla="*/ 2147483647 h 136"/>
                <a:gd name="T104" fmla="*/ 0 w 162"/>
                <a:gd name="T105" fmla="*/ 2147483647 h 136"/>
                <a:gd name="T106" fmla="*/ 2147483647 w 162"/>
                <a:gd name="T107" fmla="*/ 2147483647 h 1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62"/>
                <a:gd name="T163" fmla="*/ 0 h 136"/>
                <a:gd name="T164" fmla="*/ 162 w 162"/>
                <a:gd name="T165" fmla="*/ 136 h 1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62" h="136">
                  <a:moveTo>
                    <a:pt x="2" y="8"/>
                  </a:moveTo>
                  <a:lnTo>
                    <a:pt x="20" y="2"/>
                  </a:lnTo>
                  <a:lnTo>
                    <a:pt x="30" y="0"/>
                  </a:lnTo>
                  <a:lnTo>
                    <a:pt x="48" y="2"/>
                  </a:lnTo>
                  <a:lnTo>
                    <a:pt x="56" y="10"/>
                  </a:lnTo>
                  <a:lnTo>
                    <a:pt x="54" y="22"/>
                  </a:lnTo>
                  <a:lnTo>
                    <a:pt x="54" y="30"/>
                  </a:lnTo>
                  <a:lnTo>
                    <a:pt x="60" y="34"/>
                  </a:lnTo>
                  <a:lnTo>
                    <a:pt x="62" y="42"/>
                  </a:lnTo>
                  <a:lnTo>
                    <a:pt x="70" y="44"/>
                  </a:lnTo>
                  <a:lnTo>
                    <a:pt x="80" y="42"/>
                  </a:lnTo>
                  <a:lnTo>
                    <a:pt x="86" y="32"/>
                  </a:lnTo>
                  <a:lnTo>
                    <a:pt x="94" y="26"/>
                  </a:lnTo>
                  <a:lnTo>
                    <a:pt x="104" y="22"/>
                  </a:lnTo>
                  <a:lnTo>
                    <a:pt x="110" y="16"/>
                  </a:lnTo>
                  <a:lnTo>
                    <a:pt x="128" y="22"/>
                  </a:lnTo>
                  <a:lnTo>
                    <a:pt x="142" y="26"/>
                  </a:lnTo>
                  <a:lnTo>
                    <a:pt x="158" y="32"/>
                  </a:lnTo>
                  <a:lnTo>
                    <a:pt x="162" y="34"/>
                  </a:lnTo>
                  <a:lnTo>
                    <a:pt x="162" y="136"/>
                  </a:lnTo>
                  <a:lnTo>
                    <a:pt x="148" y="124"/>
                  </a:lnTo>
                  <a:lnTo>
                    <a:pt x="138" y="120"/>
                  </a:lnTo>
                  <a:lnTo>
                    <a:pt x="130" y="120"/>
                  </a:lnTo>
                  <a:lnTo>
                    <a:pt x="124" y="124"/>
                  </a:lnTo>
                  <a:lnTo>
                    <a:pt x="110" y="126"/>
                  </a:lnTo>
                  <a:lnTo>
                    <a:pt x="108" y="118"/>
                  </a:lnTo>
                  <a:lnTo>
                    <a:pt x="110" y="114"/>
                  </a:lnTo>
                  <a:lnTo>
                    <a:pt x="116" y="112"/>
                  </a:lnTo>
                  <a:lnTo>
                    <a:pt x="124" y="110"/>
                  </a:lnTo>
                  <a:lnTo>
                    <a:pt x="126" y="98"/>
                  </a:lnTo>
                  <a:lnTo>
                    <a:pt x="122" y="90"/>
                  </a:lnTo>
                  <a:lnTo>
                    <a:pt x="112" y="80"/>
                  </a:lnTo>
                  <a:lnTo>
                    <a:pt x="90" y="68"/>
                  </a:lnTo>
                  <a:lnTo>
                    <a:pt x="66" y="62"/>
                  </a:lnTo>
                  <a:lnTo>
                    <a:pt x="60" y="56"/>
                  </a:lnTo>
                  <a:lnTo>
                    <a:pt x="54" y="54"/>
                  </a:lnTo>
                  <a:lnTo>
                    <a:pt x="48" y="40"/>
                  </a:lnTo>
                  <a:lnTo>
                    <a:pt x="42" y="42"/>
                  </a:lnTo>
                  <a:lnTo>
                    <a:pt x="42" y="48"/>
                  </a:lnTo>
                  <a:lnTo>
                    <a:pt x="42" y="58"/>
                  </a:lnTo>
                  <a:lnTo>
                    <a:pt x="32" y="56"/>
                  </a:lnTo>
                  <a:lnTo>
                    <a:pt x="32" y="46"/>
                  </a:lnTo>
                  <a:lnTo>
                    <a:pt x="30" y="40"/>
                  </a:lnTo>
                  <a:lnTo>
                    <a:pt x="20" y="38"/>
                  </a:lnTo>
                  <a:lnTo>
                    <a:pt x="30" y="32"/>
                  </a:lnTo>
                  <a:lnTo>
                    <a:pt x="42" y="34"/>
                  </a:lnTo>
                  <a:lnTo>
                    <a:pt x="50" y="32"/>
                  </a:lnTo>
                  <a:lnTo>
                    <a:pt x="46" y="24"/>
                  </a:lnTo>
                  <a:lnTo>
                    <a:pt x="30" y="24"/>
                  </a:lnTo>
                  <a:lnTo>
                    <a:pt x="20" y="26"/>
                  </a:lnTo>
                  <a:lnTo>
                    <a:pt x="16" y="16"/>
                  </a:lnTo>
                  <a:lnTo>
                    <a:pt x="6" y="16"/>
                  </a:lnTo>
                  <a:lnTo>
                    <a:pt x="0" y="14"/>
                  </a:lnTo>
                  <a:lnTo>
                    <a:pt x="2" y="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39" name="Freeform 155"/>
            <p:cNvSpPr>
              <a:spLocks/>
            </p:cNvSpPr>
            <p:nvPr/>
          </p:nvSpPr>
          <p:spPr bwMode="gray">
            <a:xfrm>
              <a:off x="6843713" y="4278313"/>
              <a:ext cx="55562" cy="19050"/>
            </a:xfrm>
            <a:custGeom>
              <a:avLst/>
              <a:gdLst>
                <a:gd name="T0" fmla="*/ 2147483647 w 48"/>
                <a:gd name="T1" fmla="*/ 2147483647 h 16"/>
                <a:gd name="T2" fmla="*/ 2147483647 w 48"/>
                <a:gd name="T3" fmla="*/ 0 h 16"/>
                <a:gd name="T4" fmla="*/ 2147483647 w 48"/>
                <a:gd name="T5" fmla="*/ 2147483647 h 16"/>
                <a:gd name="T6" fmla="*/ 2147483647 w 48"/>
                <a:gd name="T7" fmla="*/ 2147483647 h 16"/>
                <a:gd name="T8" fmla="*/ 2147483647 w 48"/>
                <a:gd name="T9" fmla="*/ 2147483647 h 16"/>
                <a:gd name="T10" fmla="*/ 2147483647 w 48"/>
                <a:gd name="T11" fmla="*/ 2147483647 h 16"/>
                <a:gd name="T12" fmla="*/ 2147483647 w 48"/>
                <a:gd name="T13" fmla="*/ 2147483647 h 16"/>
                <a:gd name="T14" fmla="*/ 2147483647 w 48"/>
                <a:gd name="T15" fmla="*/ 2147483647 h 16"/>
                <a:gd name="T16" fmla="*/ 2147483647 w 48"/>
                <a:gd name="T17" fmla="*/ 2147483647 h 16"/>
                <a:gd name="T18" fmla="*/ 2147483647 w 48"/>
                <a:gd name="T19" fmla="*/ 2147483647 h 16"/>
                <a:gd name="T20" fmla="*/ 0 w 48"/>
                <a:gd name="T21" fmla="*/ 2147483647 h 16"/>
                <a:gd name="T22" fmla="*/ 2147483647 w 48"/>
                <a:gd name="T23" fmla="*/ 2147483647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8"/>
                <a:gd name="T37" fmla="*/ 0 h 16"/>
                <a:gd name="T38" fmla="*/ 48 w 48"/>
                <a:gd name="T39" fmla="*/ 16 h 1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8" h="16">
                  <a:moveTo>
                    <a:pt x="4" y="2"/>
                  </a:moveTo>
                  <a:lnTo>
                    <a:pt x="20" y="0"/>
                  </a:lnTo>
                  <a:lnTo>
                    <a:pt x="38" y="2"/>
                  </a:lnTo>
                  <a:lnTo>
                    <a:pt x="48" y="10"/>
                  </a:lnTo>
                  <a:lnTo>
                    <a:pt x="46" y="16"/>
                  </a:lnTo>
                  <a:lnTo>
                    <a:pt x="34" y="12"/>
                  </a:lnTo>
                  <a:lnTo>
                    <a:pt x="24" y="10"/>
                  </a:lnTo>
                  <a:lnTo>
                    <a:pt x="12" y="10"/>
                  </a:lnTo>
                  <a:lnTo>
                    <a:pt x="8" y="14"/>
                  </a:lnTo>
                  <a:lnTo>
                    <a:pt x="2" y="14"/>
                  </a:lnTo>
                  <a:lnTo>
                    <a:pt x="0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40" name="Freeform 156"/>
            <p:cNvSpPr>
              <a:spLocks/>
            </p:cNvSpPr>
            <p:nvPr/>
          </p:nvSpPr>
          <p:spPr bwMode="gray">
            <a:xfrm>
              <a:off x="6810375" y="4284663"/>
              <a:ext cx="22225" cy="12700"/>
            </a:xfrm>
            <a:custGeom>
              <a:avLst/>
              <a:gdLst>
                <a:gd name="T0" fmla="*/ 2147483647 w 18"/>
                <a:gd name="T1" fmla="*/ 0 h 10"/>
                <a:gd name="T2" fmla="*/ 2147483647 w 18"/>
                <a:gd name="T3" fmla="*/ 0 h 10"/>
                <a:gd name="T4" fmla="*/ 2147483647 w 18"/>
                <a:gd name="T5" fmla="*/ 2147483647 h 10"/>
                <a:gd name="T6" fmla="*/ 2147483647 w 18"/>
                <a:gd name="T7" fmla="*/ 2147483647 h 10"/>
                <a:gd name="T8" fmla="*/ 2147483647 w 18"/>
                <a:gd name="T9" fmla="*/ 2147483647 h 10"/>
                <a:gd name="T10" fmla="*/ 0 w 18"/>
                <a:gd name="T11" fmla="*/ 2147483647 h 10"/>
                <a:gd name="T12" fmla="*/ 2147483647 w 18"/>
                <a:gd name="T13" fmla="*/ 0 h 1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10"/>
                <a:gd name="T23" fmla="*/ 18 w 18"/>
                <a:gd name="T24" fmla="*/ 10 h 1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10">
                  <a:moveTo>
                    <a:pt x="2" y="0"/>
                  </a:moveTo>
                  <a:lnTo>
                    <a:pt x="12" y="0"/>
                  </a:lnTo>
                  <a:lnTo>
                    <a:pt x="18" y="4"/>
                  </a:lnTo>
                  <a:lnTo>
                    <a:pt x="14" y="10"/>
                  </a:lnTo>
                  <a:lnTo>
                    <a:pt x="4" y="10"/>
                  </a:lnTo>
                  <a:lnTo>
                    <a:pt x="0" y="6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41" name="Freeform 157"/>
            <p:cNvSpPr>
              <a:spLocks/>
            </p:cNvSpPr>
            <p:nvPr/>
          </p:nvSpPr>
          <p:spPr bwMode="gray">
            <a:xfrm>
              <a:off x="6834188" y="4186238"/>
              <a:ext cx="26987" cy="60325"/>
            </a:xfrm>
            <a:custGeom>
              <a:avLst/>
              <a:gdLst>
                <a:gd name="T0" fmla="*/ 0 w 22"/>
                <a:gd name="T1" fmla="*/ 0 h 50"/>
                <a:gd name="T2" fmla="*/ 2147483647 w 22"/>
                <a:gd name="T3" fmla="*/ 2147483647 h 50"/>
                <a:gd name="T4" fmla="*/ 2147483647 w 22"/>
                <a:gd name="T5" fmla="*/ 2147483647 h 50"/>
                <a:gd name="T6" fmla="*/ 2147483647 w 22"/>
                <a:gd name="T7" fmla="*/ 2147483647 h 50"/>
                <a:gd name="T8" fmla="*/ 2147483647 w 22"/>
                <a:gd name="T9" fmla="*/ 2147483647 h 50"/>
                <a:gd name="T10" fmla="*/ 2147483647 w 22"/>
                <a:gd name="T11" fmla="*/ 2147483647 h 50"/>
                <a:gd name="T12" fmla="*/ 2147483647 w 22"/>
                <a:gd name="T13" fmla="*/ 2147483647 h 50"/>
                <a:gd name="T14" fmla="*/ 2147483647 w 22"/>
                <a:gd name="T15" fmla="*/ 2147483647 h 50"/>
                <a:gd name="T16" fmla="*/ 2147483647 w 22"/>
                <a:gd name="T17" fmla="*/ 2147483647 h 50"/>
                <a:gd name="T18" fmla="*/ 2147483647 w 22"/>
                <a:gd name="T19" fmla="*/ 2147483647 h 50"/>
                <a:gd name="T20" fmla="*/ 2147483647 w 22"/>
                <a:gd name="T21" fmla="*/ 2147483647 h 50"/>
                <a:gd name="T22" fmla="*/ 2147483647 w 22"/>
                <a:gd name="T23" fmla="*/ 2147483647 h 50"/>
                <a:gd name="T24" fmla="*/ 2147483647 w 22"/>
                <a:gd name="T25" fmla="*/ 2147483647 h 50"/>
                <a:gd name="T26" fmla="*/ 2147483647 w 22"/>
                <a:gd name="T27" fmla="*/ 2147483647 h 50"/>
                <a:gd name="T28" fmla="*/ 2147483647 w 22"/>
                <a:gd name="T29" fmla="*/ 2147483647 h 50"/>
                <a:gd name="T30" fmla="*/ 2147483647 w 22"/>
                <a:gd name="T31" fmla="*/ 2147483647 h 50"/>
                <a:gd name="T32" fmla="*/ 2147483647 w 22"/>
                <a:gd name="T33" fmla="*/ 2147483647 h 50"/>
                <a:gd name="T34" fmla="*/ 2147483647 w 22"/>
                <a:gd name="T35" fmla="*/ 2147483647 h 50"/>
                <a:gd name="T36" fmla="*/ 2147483647 w 22"/>
                <a:gd name="T37" fmla="*/ 2147483647 h 50"/>
                <a:gd name="T38" fmla="*/ 2147483647 w 22"/>
                <a:gd name="T39" fmla="*/ 2147483647 h 50"/>
                <a:gd name="T40" fmla="*/ 2147483647 w 22"/>
                <a:gd name="T41" fmla="*/ 2147483647 h 50"/>
                <a:gd name="T42" fmla="*/ 2147483647 w 22"/>
                <a:gd name="T43" fmla="*/ 2147483647 h 50"/>
                <a:gd name="T44" fmla="*/ 0 w 22"/>
                <a:gd name="T45" fmla="*/ 2147483647 h 50"/>
                <a:gd name="T46" fmla="*/ 2147483647 w 22"/>
                <a:gd name="T47" fmla="*/ 2147483647 h 50"/>
                <a:gd name="T48" fmla="*/ 0 w 22"/>
                <a:gd name="T49" fmla="*/ 0 h 5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2"/>
                <a:gd name="T76" fmla="*/ 0 h 50"/>
                <a:gd name="T77" fmla="*/ 22 w 22"/>
                <a:gd name="T78" fmla="*/ 50 h 5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2" h="50">
                  <a:moveTo>
                    <a:pt x="0" y="0"/>
                  </a:moveTo>
                  <a:lnTo>
                    <a:pt x="6" y="2"/>
                  </a:lnTo>
                  <a:lnTo>
                    <a:pt x="8" y="10"/>
                  </a:lnTo>
                  <a:lnTo>
                    <a:pt x="8" y="14"/>
                  </a:lnTo>
                  <a:lnTo>
                    <a:pt x="14" y="6"/>
                  </a:lnTo>
                  <a:lnTo>
                    <a:pt x="20" y="4"/>
                  </a:lnTo>
                  <a:lnTo>
                    <a:pt x="22" y="14"/>
                  </a:lnTo>
                  <a:lnTo>
                    <a:pt x="16" y="16"/>
                  </a:lnTo>
                  <a:lnTo>
                    <a:pt x="14" y="20"/>
                  </a:lnTo>
                  <a:lnTo>
                    <a:pt x="18" y="22"/>
                  </a:lnTo>
                  <a:lnTo>
                    <a:pt x="20" y="26"/>
                  </a:lnTo>
                  <a:lnTo>
                    <a:pt x="8" y="26"/>
                  </a:lnTo>
                  <a:lnTo>
                    <a:pt x="8" y="30"/>
                  </a:lnTo>
                  <a:lnTo>
                    <a:pt x="10" y="38"/>
                  </a:lnTo>
                  <a:lnTo>
                    <a:pt x="16" y="44"/>
                  </a:lnTo>
                  <a:lnTo>
                    <a:pt x="18" y="46"/>
                  </a:lnTo>
                  <a:lnTo>
                    <a:pt x="18" y="48"/>
                  </a:lnTo>
                  <a:lnTo>
                    <a:pt x="16" y="50"/>
                  </a:lnTo>
                  <a:lnTo>
                    <a:pt x="12" y="50"/>
                  </a:lnTo>
                  <a:lnTo>
                    <a:pt x="8" y="48"/>
                  </a:lnTo>
                  <a:lnTo>
                    <a:pt x="6" y="46"/>
                  </a:lnTo>
                  <a:lnTo>
                    <a:pt x="2" y="32"/>
                  </a:lnTo>
                  <a:lnTo>
                    <a:pt x="0" y="22"/>
                  </a:lnTo>
                  <a:lnTo>
                    <a:pt x="2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42" name="Freeform 158"/>
            <p:cNvSpPr>
              <a:spLocks/>
            </p:cNvSpPr>
            <p:nvPr/>
          </p:nvSpPr>
          <p:spPr bwMode="gray">
            <a:xfrm>
              <a:off x="7088188" y="4275138"/>
              <a:ext cx="184150" cy="157162"/>
            </a:xfrm>
            <a:custGeom>
              <a:avLst/>
              <a:gdLst>
                <a:gd name="T0" fmla="*/ 0 w 154"/>
                <a:gd name="T1" fmla="*/ 0 h 130"/>
                <a:gd name="T2" fmla="*/ 2147483647 w 154"/>
                <a:gd name="T3" fmla="*/ 2147483647 h 130"/>
                <a:gd name="T4" fmla="*/ 2147483647 w 154"/>
                <a:gd name="T5" fmla="*/ 2147483647 h 130"/>
                <a:gd name="T6" fmla="*/ 2147483647 w 154"/>
                <a:gd name="T7" fmla="*/ 2147483647 h 130"/>
                <a:gd name="T8" fmla="*/ 2147483647 w 154"/>
                <a:gd name="T9" fmla="*/ 2147483647 h 130"/>
                <a:gd name="T10" fmla="*/ 2147483647 w 154"/>
                <a:gd name="T11" fmla="*/ 2147483647 h 130"/>
                <a:gd name="T12" fmla="*/ 2147483647 w 154"/>
                <a:gd name="T13" fmla="*/ 2147483647 h 130"/>
                <a:gd name="T14" fmla="*/ 2147483647 w 154"/>
                <a:gd name="T15" fmla="*/ 2147483647 h 130"/>
                <a:gd name="T16" fmla="*/ 2147483647 w 154"/>
                <a:gd name="T17" fmla="*/ 2147483647 h 130"/>
                <a:gd name="T18" fmla="*/ 2147483647 w 154"/>
                <a:gd name="T19" fmla="*/ 2147483647 h 130"/>
                <a:gd name="T20" fmla="*/ 2147483647 w 154"/>
                <a:gd name="T21" fmla="*/ 2147483647 h 130"/>
                <a:gd name="T22" fmla="*/ 2147483647 w 154"/>
                <a:gd name="T23" fmla="*/ 2147483647 h 130"/>
                <a:gd name="T24" fmla="*/ 2147483647 w 154"/>
                <a:gd name="T25" fmla="*/ 2147483647 h 130"/>
                <a:gd name="T26" fmla="*/ 2147483647 w 154"/>
                <a:gd name="T27" fmla="*/ 2147483647 h 130"/>
                <a:gd name="T28" fmla="*/ 2147483647 w 154"/>
                <a:gd name="T29" fmla="*/ 2147483647 h 130"/>
                <a:gd name="T30" fmla="*/ 2147483647 w 154"/>
                <a:gd name="T31" fmla="*/ 2147483647 h 130"/>
                <a:gd name="T32" fmla="*/ 2147483647 w 154"/>
                <a:gd name="T33" fmla="*/ 2147483647 h 130"/>
                <a:gd name="T34" fmla="*/ 2147483647 w 154"/>
                <a:gd name="T35" fmla="*/ 2147483647 h 130"/>
                <a:gd name="T36" fmla="*/ 2147483647 w 154"/>
                <a:gd name="T37" fmla="*/ 2147483647 h 130"/>
                <a:gd name="T38" fmla="*/ 2147483647 w 154"/>
                <a:gd name="T39" fmla="*/ 2147483647 h 130"/>
                <a:gd name="T40" fmla="*/ 2147483647 w 154"/>
                <a:gd name="T41" fmla="*/ 2147483647 h 130"/>
                <a:gd name="T42" fmla="*/ 2147483647 w 154"/>
                <a:gd name="T43" fmla="*/ 2147483647 h 130"/>
                <a:gd name="T44" fmla="*/ 2147483647 w 154"/>
                <a:gd name="T45" fmla="*/ 2147483647 h 130"/>
                <a:gd name="T46" fmla="*/ 2147483647 w 154"/>
                <a:gd name="T47" fmla="*/ 2147483647 h 130"/>
                <a:gd name="T48" fmla="*/ 2147483647 w 154"/>
                <a:gd name="T49" fmla="*/ 2147483647 h 130"/>
                <a:gd name="T50" fmla="*/ 2147483647 w 154"/>
                <a:gd name="T51" fmla="*/ 2147483647 h 130"/>
                <a:gd name="T52" fmla="*/ 2147483647 w 154"/>
                <a:gd name="T53" fmla="*/ 2147483647 h 130"/>
                <a:gd name="T54" fmla="*/ 2147483647 w 154"/>
                <a:gd name="T55" fmla="*/ 2147483647 h 130"/>
                <a:gd name="T56" fmla="*/ 2147483647 w 154"/>
                <a:gd name="T57" fmla="*/ 2147483647 h 130"/>
                <a:gd name="T58" fmla="*/ 2147483647 w 154"/>
                <a:gd name="T59" fmla="*/ 2147483647 h 130"/>
                <a:gd name="T60" fmla="*/ 2147483647 w 154"/>
                <a:gd name="T61" fmla="*/ 2147483647 h 130"/>
                <a:gd name="T62" fmla="*/ 2147483647 w 154"/>
                <a:gd name="T63" fmla="*/ 2147483647 h 130"/>
                <a:gd name="T64" fmla="*/ 2147483647 w 154"/>
                <a:gd name="T65" fmla="*/ 2147483647 h 130"/>
                <a:gd name="T66" fmla="*/ 2147483647 w 154"/>
                <a:gd name="T67" fmla="*/ 2147483647 h 130"/>
                <a:gd name="T68" fmla="*/ 2147483647 w 154"/>
                <a:gd name="T69" fmla="*/ 2147483647 h 130"/>
                <a:gd name="T70" fmla="*/ 2147483647 w 154"/>
                <a:gd name="T71" fmla="*/ 2147483647 h 130"/>
                <a:gd name="T72" fmla="*/ 0 w 154"/>
                <a:gd name="T73" fmla="*/ 2147483647 h 130"/>
                <a:gd name="T74" fmla="*/ 0 w 154"/>
                <a:gd name="T75" fmla="*/ 0 h 13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54"/>
                <a:gd name="T115" fmla="*/ 0 h 130"/>
                <a:gd name="T116" fmla="*/ 154 w 154"/>
                <a:gd name="T117" fmla="*/ 130 h 13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54" h="130">
                  <a:moveTo>
                    <a:pt x="0" y="0"/>
                  </a:moveTo>
                  <a:lnTo>
                    <a:pt x="14" y="4"/>
                  </a:lnTo>
                  <a:lnTo>
                    <a:pt x="32" y="10"/>
                  </a:lnTo>
                  <a:lnTo>
                    <a:pt x="50" y="18"/>
                  </a:lnTo>
                  <a:lnTo>
                    <a:pt x="66" y="28"/>
                  </a:lnTo>
                  <a:lnTo>
                    <a:pt x="74" y="38"/>
                  </a:lnTo>
                  <a:lnTo>
                    <a:pt x="84" y="44"/>
                  </a:lnTo>
                  <a:lnTo>
                    <a:pt x="100" y="52"/>
                  </a:lnTo>
                  <a:lnTo>
                    <a:pt x="108" y="58"/>
                  </a:lnTo>
                  <a:lnTo>
                    <a:pt x="108" y="62"/>
                  </a:lnTo>
                  <a:lnTo>
                    <a:pt x="110" y="64"/>
                  </a:lnTo>
                  <a:lnTo>
                    <a:pt x="108" y="66"/>
                  </a:lnTo>
                  <a:lnTo>
                    <a:pt x="94" y="66"/>
                  </a:lnTo>
                  <a:lnTo>
                    <a:pt x="100" y="72"/>
                  </a:lnTo>
                  <a:lnTo>
                    <a:pt x="110" y="86"/>
                  </a:lnTo>
                  <a:lnTo>
                    <a:pt x="124" y="102"/>
                  </a:lnTo>
                  <a:lnTo>
                    <a:pt x="130" y="106"/>
                  </a:lnTo>
                  <a:lnTo>
                    <a:pt x="138" y="114"/>
                  </a:lnTo>
                  <a:lnTo>
                    <a:pt x="154" y="124"/>
                  </a:lnTo>
                  <a:lnTo>
                    <a:pt x="152" y="130"/>
                  </a:lnTo>
                  <a:lnTo>
                    <a:pt x="136" y="122"/>
                  </a:lnTo>
                  <a:lnTo>
                    <a:pt x="124" y="120"/>
                  </a:lnTo>
                  <a:lnTo>
                    <a:pt x="104" y="118"/>
                  </a:lnTo>
                  <a:lnTo>
                    <a:pt x="94" y="106"/>
                  </a:lnTo>
                  <a:lnTo>
                    <a:pt x="84" y="92"/>
                  </a:lnTo>
                  <a:lnTo>
                    <a:pt x="72" y="84"/>
                  </a:lnTo>
                  <a:lnTo>
                    <a:pt x="60" y="76"/>
                  </a:lnTo>
                  <a:lnTo>
                    <a:pt x="46" y="70"/>
                  </a:lnTo>
                  <a:lnTo>
                    <a:pt x="46" y="80"/>
                  </a:lnTo>
                  <a:lnTo>
                    <a:pt x="42" y="86"/>
                  </a:lnTo>
                  <a:lnTo>
                    <a:pt x="28" y="88"/>
                  </a:lnTo>
                  <a:lnTo>
                    <a:pt x="30" y="96"/>
                  </a:lnTo>
                  <a:lnTo>
                    <a:pt x="38" y="100"/>
                  </a:lnTo>
                  <a:lnTo>
                    <a:pt x="32" y="106"/>
                  </a:lnTo>
                  <a:lnTo>
                    <a:pt x="18" y="102"/>
                  </a:lnTo>
                  <a:lnTo>
                    <a:pt x="8" y="102"/>
                  </a:lnTo>
                  <a:lnTo>
                    <a:pt x="0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43" name="Freeform 159"/>
            <p:cNvSpPr>
              <a:spLocks/>
            </p:cNvSpPr>
            <p:nvPr/>
          </p:nvSpPr>
          <p:spPr bwMode="gray">
            <a:xfrm>
              <a:off x="7237413" y="4303713"/>
              <a:ext cx="68262" cy="44450"/>
            </a:xfrm>
            <a:custGeom>
              <a:avLst/>
              <a:gdLst>
                <a:gd name="T0" fmla="*/ 0 w 58"/>
                <a:gd name="T1" fmla="*/ 2147483647 h 36"/>
                <a:gd name="T2" fmla="*/ 2147483647 w 58"/>
                <a:gd name="T3" fmla="*/ 2147483647 h 36"/>
                <a:gd name="T4" fmla="*/ 2147483647 w 58"/>
                <a:gd name="T5" fmla="*/ 2147483647 h 36"/>
                <a:gd name="T6" fmla="*/ 2147483647 w 58"/>
                <a:gd name="T7" fmla="*/ 2147483647 h 36"/>
                <a:gd name="T8" fmla="*/ 2147483647 w 58"/>
                <a:gd name="T9" fmla="*/ 2147483647 h 36"/>
                <a:gd name="T10" fmla="*/ 2147483647 w 58"/>
                <a:gd name="T11" fmla="*/ 0 h 36"/>
                <a:gd name="T12" fmla="*/ 2147483647 w 58"/>
                <a:gd name="T13" fmla="*/ 2147483647 h 36"/>
                <a:gd name="T14" fmla="*/ 2147483647 w 58"/>
                <a:gd name="T15" fmla="*/ 2147483647 h 36"/>
                <a:gd name="T16" fmla="*/ 2147483647 w 58"/>
                <a:gd name="T17" fmla="*/ 2147483647 h 36"/>
                <a:gd name="T18" fmla="*/ 2147483647 w 58"/>
                <a:gd name="T19" fmla="*/ 2147483647 h 36"/>
                <a:gd name="T20" fmla="*/ 2147483647 w 58"/>
                <a:gd name="T21" fmla="*/ 2147483647 h 36"/>
                <a:gd name="T22" fmla="*/ 2147483647 w 58"/>
                <a:gd name="T23" fmla="*/ 2147483647 h 36"/>
                <a:gd name="T24" fmla="*/ 2147483647 w 58"/>
                <a:gd name="T25" fmla="*/ 2147483647 h 36"/>
                <a:gd name="T26" fmla="*/ 0 w 58"/>
                <a:gd name="T27" fmla="*/ 2147483647 h 36"/>
                <a:gd name="T28" fmla="*/ 0 w 58"/>
                <a:gd name="T29" fmla="*/ 2147483647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8"/>
                <a:gd name="T46" fmla="*/ 0 h 36"/>
                <a:gd name="T47" fmla="*/ 58 w 58"/>
                <a:gd name="T48" fmla="*/ 36 h 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8" h="36">
                  <a:moveTo>
                    <a:pt x="0" y="22"/>
                  </a:moveTo>
                  <a:lnTo>
                    <a:pt x="14" y="22"/>
                  </a:lnTo>
                  <a:lnTo>
                    <a:pt x="34" y="22"/>
                  </a:lnTo>
                  <a:lnTo>
                    <a:pt x="40" y="16"/>
                  </a:lnTo>
                  <a:lnTo>
                    <a:pt x="50" y="6"/>
                  </a:lnTo>
                  <a:lnTo>
                    <a:pt x="56" y="0"/>
                  </a:lnTo>
                  <a:lnTo>
                    <a:pt x="58" y="10"/>
                  </a:lnTo>
                  <a:lnTo>
                    <a:pt x="54" y="18"/>
                  </a:lnTo>
                  <a:lnTo>
                    <a:pt x="46" y="22"/>
                  </a:lnTo>
                  <a:lnTo>
                    <a:pt x="38" y="28"/>
                  </a:lnTo>
                  <a:lnTo>
                    <a:pt x="32" y="34"/>
                  </a:lnTo>
                  <a:lnTo>
                    <a:pt x="20" y="36"/>
                  </a:lnTo>
                  <a:lnTo>
                    <a:pt x="6" y="32"/>
                  </a:lnTo>
                  <a:lnTo>
                    <a:pt x="0" y="28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A7D37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44" name="Freeform 160"/>
            <p:cNvSpPr>
              <a:spLocks/>
            </p:cNvSpPr>
            <p:nvPr/>
          </p:nvSpPr>
          <p:spPr bwMode="gray">
            <a:xfrm>
              <a:off x="7345363" y="4325938"/>
              <a:ext cx="25400" cy="33337"/>
            </a:xfrm>
            <a:custGeom>
              <a:avLst/>
              <a:gdLst>
                <a:gd name="T0" fmla="*/ 0 w 22"/>
                <a:gd name="T1" fmla="*/ 0 h 28"/>
                <a:gd name="T2" fmla="*/ 2147483647 w 22"/>
                <a:gd name="T3" fmla="*/ 2147483647 h 28"/>
                <a:gd name="T4" fmla="*/ 2147483647 w 22"/>
                <a:gd name="T5" fmla="*/ 2147483647 h 28"/>
                <a:gd name="T6" fmla="*/ 2147483647 w 22"/>
                <a:gd name="T7" fmla="*/ 2147483647 h 28"/>
                <a:gd name="T8" fmla="*/ 2147483647 w 22"/>
                <a:gd name="T9" fmla="*/ 2147483647 h 28"/>
                <a:gd name="T10" fmla="*/ 2147483647 w 22"/>
                <a:gd name="T11" fmla="*/ 2147483647 h 28"/>
                <a:gd name="T12" fmla="*/ 2147483647 w 22"/>
                <a:gd name="T13" fmla="*/ 2147483647 h 28"/>
                <a:gd name="T14" fmla="*/ 0 w 22"/>
                <a:gd name="T15" fmla="*/ 0 h 2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28"/>
                <a:gd name="T26" fmla="*/ 22 w 22"/>
                <a:gd name="T27" fmla="*/ 28 h 2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28">
                  <a:moveTo>
                    <a:pt x="0" y="0"/>
                  </a:moveTo>
                  <a:lnTo>
                    <a:pt x="10" y="6"/>
                  </a:lnTo>
                  <a:lnTo>
                    <a:pt x="20" y="16"/>
                  </a:lnTo>
                  <a:lnTo>
                    <a:pt x="22" y="28"/>
                  </a:lnTo>
                  <a:lnTo>
                    <a:pt x="12" y="22"/>
                  </a:lnTo>
                  <a:lnTo>
                    <a:pt x="8" y="14"/>
                  </a:lnTo>
                  <a:lnTo>
                    <a:pt x="2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7D37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45" name="Freeform 161"/>
            <p:cNvSpPr>
              <a:spLocks/>
            </p:cNvSpPr>
            <p:nvPr/>
          </p:nvSpPr>
          <p:spPr bwMode="gray">
            <a:xfrm>
              <a:off x="7439025" y="4403725"/>
              <a:ext cx="22225" cy="15875"/>
            </a:xfrm>
            <a:custGeom>
              <a:avLst/>
              <a:gdLst>
                <a:gd name="T0" fmla="*/ 2147483647 w 20"/>
                <a:gd name="T1" fmla="*/ 0 h 12"/>
                <a:gd name="T2" fmla="*/ 2147483647 w 20"/>
                <a:gd name="T3" fmla="*/ 0 h 12"/>
                <a:gd name="T4" fmla="*/ 2147483647 w 20"/>
                <a:gd name="T5" fmla="*/ 2147483647 h 12"/>
                <a:gd name="T6" fmla="*/ 2147483647 w 20"/>
                <a:gd name="T7" fmla="*/ 2147483647 h 12"/>
                <a:gd name="T8" fmla="*/ 2147483647 w 20"/>
                <a:gd name="T9" fmla="*/ 2147483647 h 12"/>
                <a:gd name="T10" fmla="*/ 2147483647 w 20"/>
                <a:gd name="T11" fmla="*/ 2147483647 h 12"/>
                <a:gd name="T12" fmla="*/ 2147483647 w 20"/>
                <a:gd name="T13" fmla="*/ 2147483647 h 12"/>
                <a:gd name="T14" fmla="*/ 0 w 20"/>
                <a:gd name="T15" fmla="*/ 2147483647 h 12"/>
                <a:gd name="T16" fmla="*/ 2147483647 w 20"/>
                <a:gd name="T17" fmla="*/ 0 h 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0"/>
                <a:gd name="T28" fmla="*/ 0 h 12"/>
                <a:gd name="T29" fmla="*/ 20 w 20"/>
                <a:gd name="T30" fmla="*/ 12 h 1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0" h="12">
                  <a:moveTo>
                    <a:pt x="4" y="0"/>
                  </a:moveTo>
                  <a:lnTo>
                    <a:pt x="10" y="0"/>
                  </a:lnTo>
                  <a:lnTo>
                    <a:pt x="20" y="8"/>
                  </a:lnTo>
                  <a:lnTo>
                    <a:pt x="20" y="10"/>
                  </a:lnTo>
                  <a:lnTo>
                    <a:pt x="20" y="12"/>
                  </a:lnTo>
                  <a:lnTo>
                    <a:pt x="18" y="12"/>
                  </a:lnTo>
                  <a:lnTo>
                    <a:pt x="4" y="10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A7D37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46" name="Freeform 162"/>
            <p:cNvSpPr>
              <a:spLocks/>
            </p:cNvSpPr>
            <p:nvPr/>
          </p:nvSpPr>
          <p:spPr bwMode="gray">
            <a:xfrm>
              <a:off x="7456488" y="4384675"/>
              <a:ext cx="17462" cy="23813"/>
            </a:xfrm>
            <a:custGeom>
              <a:avLst/>
              <a:gdLst>
                <a:gd name="T0" fmla="*/ 0 w 16"/>
                <a:gd name="T1" fmla="*/ 0 h 20"/>
                <a:gd name="T2" fmla="*/ 2147483647 w 16"/>
                <a:gd name="T3" fmla="*/ 2147483647 h 20"/>
                <a:gd name="T4" fmla="*/ 2147483647 w 16"/>
                <a:gd name="T5" fmla="*/ 2147483647 h 20"/>
                <a:gd name="T6" fmla="*/ 2147483647 w 16"/>
                <a:gd name="T7" fmla="*/ 2147483647 h 20"/>
                <a:gd name="T8" fmla="*/ 2147483647 w 16"/>
                <a:gd name="T9" fmla="*/ 2147483647 h 20"/>
                <a:gd name="T10" fmla="*/ 2147483647 w 16"/>
                <a:gd name="T11" fmla="*/ 2147483647 h 20"/>
                <a:gd name="T12" fmla="*/ 0 w 16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6"/>
                <a:gd name="T22" fmla="*/ 0 h 20"/>
                <a:gd name="T23" fmla="*/ 16 w 16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6" h="20">
                  <a:moveTo>
                    <a:pt x="0" y="0"/>
                  </a:moveTo>
                  <a:lnTo>
                    <a:pt x="2" y="8"/>
                  </a:lnTo>
                  <a:lnTo>
                    <a:pt x="6" y="18"/>
                  </a:lnTo>
                  <a:lnTo>
                    <a:pt x="16" y="20"/>
                  </a:lnTo>
                  <a:lnTo>
                    <a:pt x="14" y="8"/>
                  </a:lnTo>
                  <a:lnTo>
                    <a:pt x="8" y="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7D37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47" name="Freeform 163"/>
            <p:cNvSpPr>
              <a:spLocks/>
            </p:cNvSpPr>
            <p:nvPr/>
          </p:nvSpPr>
          <p:spPr bwMode="gray">
            <a:xfrm>
              <a:off x="7473950" y="4422775"/>
              <a:ext cx="17463" cy="12700"/>
            </a:xfrm>
            <a:custGeom>
              <a:avLst/>
              <a:gdLst>
                <a:gd name="T0" fmla="*/ 0 w 14"/>
                <a:gd name="T1" fmla="*/ 2147483647 h 10"/>
                <a:gd name="T2" fmla="*/ 2147483647 w 14"/>
                <a:gd name="T3" fmla="*/ 0 h 10"/>
                <a:gd name="T4" fmla="*/ 2147483647 w 14"/>
                <a:gd name="T5" fmla="*/ 2147483647 h 10"/>
                <a:gd name="T6" fmla="*/ 2147483647 w 14"/>
                <a:gd name="T7" fmla="*/ 2147483647 h 10"/>
                <a:gd name="T8" fmla="*/ 2147483647 w 14"/>
                <a:gd name="T9" fmla="*/ 2147483647 h 10"/>
                <a:gd name="T10" fmla="*/ 0 w 14"/>
                <a:gd name="T11" fmla="*/ 2147483647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4"/>
                <a:gd name="T19" fmla="*/ 0 h 10"/>
                <a:gd name="T20" fmla="*/ 14 w 14"/>
                <a:gd name="T21" fmla="*/ 10 h 1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4" h="10">
                  <a:moveTo>
                    <a:pt x="0" y="2"/>
                  </a:moveTo>
                  <a:lnTo>
                    <a:pt x="6" y="0"/>
                  </a:lnTo>
                  <a:lnTo>
                    <a:pt x="14" y="4"/>
                  </a:lnTo>
                  <a:lnTo>
                    <a:pt x="14" y="10"/>
                  </a:lnTo>
                  <a:lnTo>
                    <a:pt x="6" y="8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7D37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48" name="Freeform 164"/>
            <p:cNvSpPr>
              <a:spLocks/>
            </p:cNvSpPr>
            <p:nvPr/>
          </p:nvSpPr>
          <p:spPr bwMode="gray">
            <a:xfrm>
              <a:off x="7526338" y="4619625"/>
              <a:ext cx="52387" cy="42863"/>
            </a:xfrm>
            <a:custGeom>
              <a:avLst/>
              <a:gdLst>
                <a:gd name="T0" fmla="*/ 0 w 44"/>
                <a:gd name="T1" fmla="*/ 0 h 36"/>
                <a:gd name="T2" fmla="*/ 2147483647 w 44"/>
                <a:gd name="T3" fmla="*/ 2147483647 h 36"/>
                <a:gd name="T4" fmla="*/ 2147483647 w 44"/>
                <a:gd name="T5" fmla="*/ 2147483647 h 36"/>
                <a:gd name="T6" fmla="*/ 2147483647 w 44"/>
                <a:gd name="T7" fmla="*/ 2147483647 h 36"/>
                <a:gd name="T8" fmla="*/ 2147483647 w 44"/>
                <a:gd name="T9" fmla="*/ 2147483647 h 36"/>
                <a:gd name="T10" fmla="*/ 2147483647 w 44"/>
                <a:gd name="T11" fmla="*/ 2147483647 h 36"/>
                <a:gd name="T12" fmla="*/ 2147483647 w 44"/>
                <a:gd name="T13" fmla="*/ 2147483647 h 36"/>
                <a:gd name="T14" fmla="*/ 2147483647 w 44"/>
                <a:gd name="T15" fmla="*/ 2147483647 h 36"/>
                <a:gd name="T16" fmla="*/ 2147483647 w 44"/>
                <a:gd name="T17" fmla="*/ 2147483647 h 36"/>
                <a:gd name="T18" fmla="*/ 2147483647 w 44"/>
                <a:gd name="T19" fmla="*/ 2147483647 h 36"/>
                <a:gd name="T20" fmla="*/ 0 w 44"/>
                <a:gd name="T21" fmla="*/ 0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4"/>
                <a:gd name="T34" fmla="*/ 0 h 36"/>
                <a:gd name="T35" fmla="*/ 44 w 44"/>
                <a:gd name="T36" fmla="*/ 36 h 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4" h="36">
                  <a:moveTo>
                    <a:pt x="0" y="0"/>
                  </a:moveTo>
                  <a:lnTo>
                    <a:pt x="14" y="6"/>
                  </a:lnTo>
                  <a:lnTo>
                    <a:pt x="24" y="18"/>
                  </a:lnTo>
                  <a:lnTo>
                    <a:pt x="34" y="24"/>
                  </a:lnTo>
                  <a:lnTo>
                    <a:pt x="44" y="32"/>
                  </a:lnTo>
                  <a:lnTo>
                    <a:pt x="42" y="36"/>
                  </a:lnTo>
                  <a:lnTo>
                    <a:pt x="30" y="28"/>
                  </a:lnTo>
                  <a:lnTo>
                    <a:pt x="20" y="20"/>
                  </a:lnTo>
                  <a:lnTo>
                    <a:pt x="10" y="12"/>
                  </a:lnTo>
                  <a:lnTo>
                    <a:pt x="2" y="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DC4DE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49" name="Freeform 165"/>
            <p:cNvSpPr>
              <a:spLocks/>
            </p:cNvSpPr>
            <p:nvPr/>
          </p:nvSpPr>
          <p:spPr bwMode="gray">
            <a:xfrm>
              <a:off x="7689850" y="4910138"/>
              <a:ext cx="104775" cy="165100"/>
            </a:xfrm>
            <a:custGeom>
              <a:avLst/>
              <a:gdLst>
                <a:gd name="T0" fmla="*/ 2147483647 w 88"/>
                <a:gd name="T1" fmla="*/ 2147483647 h 136"/>
                <a:gd name="T2" fmla="*/ 2147483647 w 88"/>
                <a:gd name="T3" fmla="*/ 2147483647 h 136"/>
                <a:gd name="T4" fmla="*/ 2147483647 w 88"/>
                <a:gd name="T5" fmla="*/ 2147483647 h 136"/>
                <a:gd name="T6" fmla="*/ 2147483647 w 88"/>
                <a:gd name="T7" fmla="*/ 2147483647 h 136"/>
                <a:gd name="T8" fmla="*/ 2147483647 w 88"/>
                <a:gd name="T9" fmla="*/ 2147483647 h 136"/>
                <a:gd name="T10" fmla="*/ 2147483647 w 88"/>
                <a:gd name="T11" fmla="*/ 2147483647 h 136"/>
                <a:gd name="T12" fmla="*/ 2147483647 w 88"/>
                <a:gd name="T13" fmla="*/ 2147483647 h 136"/>
                <a:gd name="T14" fmla="*/ 2147483647 w 88"/>
                <a:gd name="T15" fmla="*/ 2147483647 h 136"/>
                <a:gd name="T16" fmla="*/ 2147483647 w 88"/>
                <a:gd name="T17" fmla="*/ 2147483647 h 136"/>
                <a:gd name="T18" fmla="*/ 0 w 88"/>
                <a:gd name="T19" fmla="*/ 0 h 136"/>
                <a:gd name="T20" fmla="*/ 2147483647 w 88"/>
                <a:gd name="T21" fmla="*/ 2147483647 h 136"/>
                <a:gd name="T22" fmla="*/ 2147483647 w 88"/>
                <a:gd name="T23" fmla="*/ 2147483647 h 136"/>
                <a:gd name="T24" fmla="*/ 2147483647 w 88"/>
                <a:gd name="T25" fmla="*/ 2147483647 h 136"/>
                <a:gd name="T26" fmla="*/ 2147483647 w 88"/>
                <a:gd name="T27" fmla="*/ 2147483647 h 136"/>
                <a:gd name="T28" fmla="*/ 2147483647 w 88"/>
                <a:gd name="T29" fmla="*/ 2147483647 h 136"/>
                <a:gd name="T30" fmla="*/ 2147483647 w 88"/>
                <a:gd name="T31" fmla="*/ 2147483647 h 136"/>
                <a:gd name="T32" fmla="*/ 2147483647 w 88"/>
                <a:gd name="T33" fmla="*/ 2147483647 h 136"/>
                <a:gd name="T34" fmla="*/ 2147483647 w 88"/>
                <a:gd name="T35" fmla="*/ 2147483647 h 136"/>
                <a:gd name="T36" fmla="*/ 2147483647 w 88"/>
                <a:gd name="T37" fmla="*/ 2147483647 h 136"/>
                <a:gd name="T38" fmla="*/ 2147483647 w 88"/>
                <a:gd name="T39" fmla="*/ 2147483647 h 136"/>
                <a:gd name="T40" fmla="*/ 2147483647 w 88"/>
                <a:gd name="T41" fmla="*/ 2147483647 h 136"/>
                <a:gd name="T42" fmla="*/ 2147483647 w 88"/>
                <a:gd name="T43" fmla="*/ 2147483647 h 136"/>
                <a:gd name="T44" fmla="*/ 2147483647 w 88"/>
                <a:gd name="T45" fmla="*/ 2147483647 h 136"/>
                <a:gd name="T46" fmla="*/ 2147483647 w 88"/>
                <a:gd name="T47" fmla="*/ 2147483647 h 136"/>
                <a:gd name="T48" fmla="*/ 2147483647 w 88"/>
                <a:gd name="T49" fmla="*/ 2147483647 h 136"/>
                <a:gd name="T50" fmla="*/ 2147483647 w 88"/>
                <a:gd name="T51" fmla="*/ 2147483647 h 136"/>
                <a:gd name="T52" fmla="*/ 2147483647 w 88"/>
                <a:gd name="T53" fmla="*/ 2147483647 h 136"/>
                <a:gd name="T54" fmla="*/ 2147483647 w 88"/>
                <a:gd name="T55" fmla="*/ 2147483647 h 136"/>
                <a:gd name="T56" fmla="*/ 2147483647 w 88"/>
                <a:gd name="T57" fmla="*/ 2147483647 h 136"/>
                <a:gd name="T58" fmla="*/ 2147483647 w 88"/>
                <a:gd name="T59" fmla="*/ 2147483647 h 136"/>
                <a:gd name="T60" fmla="*/ 2147483647 w 88"/>
                <a:gd name="T61" fmla="*/ 2147483647 h 136"/>
                <a:gd name="T62" fmla="*/ 2147483647 w 88"/>
                <a:gd name="T63" fmla="*/ 2147483647 h 136"/>
                <a:gd name="T64" fmla="*/ 2147483647 w 88"/>
                <a:gd name="T65" fmla="*/ 2147483647 h 136"/>
                <a:gd name="T66" fmla="*/ 2147483647 w 88"/>
                <a:gd name="T67" fmla="*/ 2147483647 h 136"/>
                <a:gd name="T68" fmla="*/ 2147483647 w 88"/>
                <a:gd name="T69" fmla="*/ 2147483647 h 136"/>
                <a:gd name="T70" fmla="*/ 2147483647 w 88"/>
                <a:gd name="T71" fmla="*/ 2147483647 h 136"/>
                <a:gd name="T72" fmla="*/ 2147483647 w 88"/>
                <a:gd name="T73" fmla="*/ 2147483647 h 136"/>
                <a:gd name="T74" fmla="*/ 2147483647 w 88"/>
                <a:gd name="T75" fmla="*/ 2147483647 h 1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8"/>
                <a:gd name="T115" fmla="*/ 0 h 136"/>
                <a:gd name="T116" fmla="*/ 88 w 88"/>
                <a:gd name="T117" fmla="*/ 136 h 1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8" h="136">
                  <a:moveTo>
                    <a:pt x="20" y="98"/>
                  </a:moveTo>
                  <a:lnTo>
                    <a:pt x="14" y="90"/>
                  </a:lnTo>
                  <a:lnTo>
                    <a:pt x="22" y="84"/>
                  </a:lnTo>
                  <a:lnTo>
                    <a:pt x="28" y="80"/>
                  </a:lnTo>
                  <a:lnTo>
                    <a:pt x="28" y="62"/>
                  </a:lnTo>
                  <a:lnTo>
                    <a:pt x="30" y="46"/>
                  </a:lnTo>
                  <a:lnTo>
                    <a:pt x="20" y="34"/>
                  </a:lnTo>
                  <a:lnTo>
                    <a:pt x="8" y="26"/>
                  </a:lnTo>
                  <a:lnTo>
                    <a:pt x="2" y="10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22" y="18"/>
                  </a:lnTo>
                  <a:lnTo>
                    <a:pt x="30" y="26"/>
                  </a:lnTo>
                  <a:lnTo>
                    <a:pt x="28" y="34"/>
                  </a:lnTo>
                  <a:lnTo>
                    <a:pt x="34" y="44"/>
                  </a:lnTo>
                  <a:lnTo>
                    <a:pt x="38" y="52"/>
                  </a:lnTo>
                  <a:lnTo>
                    <a:pt x="44" y="46"/>
                  </a:lnTo>
                  <a:lnTo>
                    <a:pt x="46" y="52"/>
                  </a:lnTo>
                  <a:lnTo>
                    <a:pt x="52" y="60"/>
                  </a:lnTo>
                  <a:lnTo>
                    <a:pt x="64" y="68"/>
                  </a:lnTo>
                  <a:lnTo>
                    <a:pt x="76" y="66"/>
                  </a:lnTo>
                  <a:lnTo>
                    <a:pt x="82" y="60"/>
                  </a:lnTo>
                  <a:lnTo>
                    <a:pt x="88" y="62"/>
                  </a:lnTo>
                  <a:lnTo>
                    <a:pt x="88" y="74"/>
                  </a:lnTo>
                  <a:lnTo>
                    <a:pt x="80" y="80"/>
                  </a:lnTo>
                  <a:lnTo>
                    <a:pt x="80" y="88"/>
                  </a:lnTo>
                  <a:lnTo>
                    <a:pt x="64" y="90"/>
                  </a:lnTo>
                  <a:lnTo>
                    <a:pt x="64" y="98"/>
                  </a:lnTo>
                  <a:lnTo>
                    <a:pt x="64" y="106"/>
                  </a:lnTo>
                  <a:lnTo>
                    <a:pt x="58" y="114"/>
                  </a:lnTo>
                  <a:lnTo>
                    <a:pt x="50" y="126"/>
                  </a:lnTo>
                  <a:lnTo>
                    <a:pt x="40" y="136"/>
                  </a:lnTo>
                  <a:lnTo>
                    <a:pt x="32" y="134"/>
                  </a:lnTo>
                  <a:lnTo>
                    <a:pt x="30" y="122"/>
                  </a:lnTo>
                  <a:lnTo>
                    <a:pt x="36" y="116"/>
                  </a:lnTo>
                  <a:lnTo>
                    <a:pt x="36" y="108"/>
                  </a:lnTo>
                  <a:lnTo>
                    <a:pt x="30" y="100"/>
                  </a:lnTo>
                  <a:lnTo>
                    <a:pt x="20" y="9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50" name="Freeform 166"/>
            <p:cNvSpPr>
              <a:spLocks/>
            </p:cNvSpPr>
            <p:nvPr/>
          </p:nvSpPr>
          <p:spPr bwMode="gray">
            <a:xfrm>
              <a:off x="7570788" y="5051425"/>
              <a:ext cx="144462" cy="139700"/>
            </a:xfrm>
            <a:custGeom>
              <a:avLst/>
              <a:gdLst>
                <a:gd name="T0" fmla="*/ 2147483647 w 122"/>
                <a:gd name="T1" fmla="*/ 0 h 116"/>
                <a:gd name="T2" fmla="*/ 2147483647 w 122"/>
                <a:gd name="T3" fmla="*/ 2147483647 h 116"/>
                <a:gd name="T4" fmla="*/ 2147483647 w 122"/>
                <a:gd name="T5" fmla="*/ 2147483647 h 116"/>
                <a:gd name="T6" fmla="*/ 2147483647 w 122"/>
                <a:gd name="T7" fmla="*/ 2147483647 h 116"/>
                <a:gd name="T8" fmla="*/ 2147483647 w 122"/>
                <a:gd name="T9" fmla="*/ 2147483647 h 116"/>
                <a:gd name="T10" fmla="*/ 2147483647 w 122"/>
                <a:gd name="T11" fmla="*/ 2147483647 h 116"/>
                <a:gd name="T12" fmla="*/ 2147483647 w 122"/>
                <a:gd name="T13" fmla="*/ 2147483647 h 116"/>
                <a:gd name="T14" fmla="*/ 2147483647 w 122"/>
                <a:gd name="T15" fmla="*/ 2147483647 h 116"/>
                <a:gd name="T16" fmla="*/ 2147483647 w 122"/>
                <a:gd name="T17" fmla="*/ 2147483647 h 116"/>
                <a:gd name="T18" fmla="*/ 2147483647 w 122"/>
                <a:gd name="T19" fmla="*/ 2147483647 h 116"/>
                <a:gd name="T20" fmla="*/ 2147483647 w 122"/>
                <a:gd name="T21" fmla="*/ 2147483647 h 116"/>
                <a:gd name="T22" fmla="*/ 2147483647 w 122"/>
                <a:gd name="T23" fmla="*/ 2147483647 h 116"/>
                <a:gd name="T24" fmla="*/ 2147483647 w 122"/>
                <a:gd name="T25" fmla="*/ 2147483647 h 116"/>
                <a:gd name="T26" fmla="*/ 2147483647 w 122"/>
                <a:gd name="T27" fmla="*/ 2147483647 h 116"/>
                <a:gd name="T28" fmla="*/ 2147483647 w 122"/>
                <a:gd name="T29" fmla="*/ 2147483647 h 116"/>
                <a:gd name="T30" fmla="*/ 2147483647 w 122"/>
                <a:gd name="T31" fmla="*/ 2147483647 h 116"/>
                <a:gd name="T32" fmla="*/ 2147483647 w 122"/>
                <a:gd name="T33" fmla="*/ 2147483647 h 116"/>
                <a:gd name="T34" fmla="*/ 2147483647 w 122"/>
                <a:gd name="T35" fmla="*/ 2147483647 h 116"/>
                <a:gd name="T36" fmla="*/ 2147483647 w 122"/>
                <a:gd name="T37" fmla="*/ 2147483647 h 116"/>
                <a:gd name="T38" fmla="*/ 0 w 122"/>
                <a:gd name="T39" fmla="*/ 2147483647 h 116"/>
                <a:gd name="T40" fmla="*/ 2147483647 w 122"/>
                <a:gd name="T41" fmla="*/ 2147483647 h 116"/>
                <a:gd name="T42" fmla="*/ 2147483647 w 122"/>
                <a:gd name="T43" fmla="*/ 2147483647 h 116"/>
                <a:gd name="T44" fmla="*/ 2147483647 w 122"/>
                <a:gd name="T45" fmla="*/ 2147483647 h 116"/>
                <a:gd name="T46" fmla="*/ 2147483647 w 122"/>
                <a:gd name="T47" fmla="*/ 2147483647 h 116"/>
                <a:gd name="T48" fmla="*/ 2147483647 w 122"/>
                <a:gd name="T49" fmla="*/ 2147483647 h 116"/>
                <a:gd name="T50" fmla="*/ 2147483647 w 122"/>
                <a:gd name="T51" fmla="*/ 2147483647 h 116"/>
                <a:gd name="T52" fmla="*/ 2147483647 w 122"/>
                <a:gd name="T53" fmla="*/ 2147483647 h 116"/>
                <a:gd name="T54" fmla="*/ 2147483647 w 122"/>
                <a:gd name="T55" fmla="*/ 2147483647 h 116"/>
                <a:gd name="T56" fmla="*/ 2147483647 w 122"/>
                <a:gd name="T57" fmla="*/ 2147483647 h 116"/>
                <a:gd name="T58" fmla="*/ 2147483647 w 122"/>
                <a:gd name="T59" fmla="*/ 2147483647 h 116"/>
                <a:gd name="T60" fmla="*/ 2147483647 w 122"/>
                <a:gd name="T61" fmla="*/ 0 h 11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22"/>
                <a:gd name="T94" fmla="*/ 0 h 116"/>
                <a:gd name="T95" fmla="*/ 122 w 122"/>
                <a:gd name="T96" fmla="*/ 116 h 11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22" h="116">
                  <a:moveTo>
                    <a:pt x="92" y="0"/>
                  </a:moveTo>
                  <a:lnTo>
                    <a:pt x="100" y="2"/>
                  </a:lnTo>
                  <a:lnTo>
                    <a:pt x="106" y="10"/>
                  </a:lnTo>
                  <a:lnTo>
                    <a:pt x="116" y="10"/>
                  </a:lnTo>
                  <a:lnTo>
                    <a:pt x="122" y="10"/>
                  </a:lnTo>
                  <a:lnTo>
                    <a:pt x="122" y="20"/>
                  </a:lnTo>
                  <a:lnTo>
                    <a:pt x="116" y="30"/>
                  </a:lnTo>
                  <a:lnTo>
                    <a:pt x="110" y="38"/>
                  </a:lnTo>
                  <a:lnTo>
                    <a:pt x="100" y="46"/>
                  </a:lnTo>
                  <a:lnTo>
                    <a:pt x="100" y="60"/>
                  </a:lnTo>
                  <a:lnTo>
                    <a:pt x="90" y="62"/>
                  </a:lnTo>
                  <a:lnTo>
                    <a:pt x="80" y="66"/>
                  </a:lnTo>
                  <a:lnTo>
                    <a:pt x="74" y="74"/>
                  </a:lnTo>
                  <a:lnTo>
                    <a:pt x="70" y="90"/>
                  </a:lnTo>
                  <a:lnTo>
                    <a:pt x="58" y="104"/>
                  </a:lnTo>
                  <a:lnTo>
                    <a:pt x="48" y="114"/>
                  </a:lnTo>
                  <a:lnTo>
                    <a:pt x="30" y="116"/>
                  </a:lnTo>
                  <a:lnTo>
                    <a:pt x="22" y="110"/>
                  </a:lnTo>
                  <a:lnTo>
                    <a:pt x="16" y="108"/>
                  </a:lnTo>
                  <a:lnTo>
                    <a:pt x="0" y="106"/>
                  </a:lnTo>
                  <a:lnTo>
                    <a:pt x="4" y="92"/>
                  </a:lnTo>
                  <a:lnTo>
                    <a:pt x="14" y="80"/>
                  </a:lnTo>
                  <a:lnTo>
                    <a:pt x="30" y="64"/>
                  </a:lnTo>
                  <a:lnTo>
                    <a:pt x="38" y="64"/>
                  </a:lnTo>
                  <a:lnTo>
                    <a:pt x="48" y="52"/>
                  </a:lnTo>
                  <a:lnTo>
                    <a:pt x="60" y="52"/>
                  </a:lnTo>
                  <a:lnTo>
                    <a:pt x="72" y="36"/>
                  </a:lnTo>
                  <a:lnTo>
                    <a:pt x="78" y="26"/>
                  </a:lnTo>
                  <a:lnTo>
                    <a:pt x="88" y="20"/>
                  </a:lnTo>
                  <a:lnTo>
                    <a:pt x="88" y="10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51" name="Freeform 167"/>
            <p:cNvSpPr>
              <a:spLocks/>
            </p:cNvSpPr>
            <p:nvPr/>
          </p:nvSpPr>
          <p:spPr bwMode="gray">
            <a:xfrm>
              <a:off x="7158038" y="5051425"/>
              <a:ext cx="69850" cy="69850"/>
            </a:xfrm>
            <a:custGeom>
              <a:avLst/>
              <a:gdLst>
                <a:gd name="T0" fmla="*/ 2147483647 w 58"/>
                <a:gd name="T1" fmla="*/ 0 h 58"/>
                <a:gd name="T2" fmla="*/ 2147483647 w 58"/>
                <a:gd name="T3" fmla="*/ 2147483647 h 58"/>
                <a:gd name="T4" fmla="*/ 2147483647 w 58"/>
                <a:gd name="T5" fmla="*/ 2147483647 h 58"/>
                <a:gd name="T6" fmla="*/ 2147483647 w 58"/>
                <a:gd name="T7" fmla="*/ 2147483647 h 58"/>
                <a:gd name="T8" fmla="*/ 2147483647 w 58"/>
                <a:gd name="T9" fmla="*/ 2147483647 h 58"/>
                <a:gd name="T10" fmla="*/ 2147483647 w 58"/>
                <a:gd name="T11" fmla="*/ 2147483647 h 58"/>
                <a:gd name="T12" fmla="*/ 2147483647 w 58"/>
                <a:gd name="T13" fmla="*/ 2147483647 h 58"/>
                <a:gd name="T14" fmla="*/ 2147483647 w 58"/>
                <a:gd name="T15" fmla="*/ 2147483647 h 58"/>
                <a:gd name="T16" fmla="*/ 2147483647 w 58"/>
                <a:gd name="T17" fmla="*/ 2147483647 h 58"/>
                <a:gd name="T18" fmla="*/ 2147483647 w 58"/>
                <a:gd name="T19" fmla="*/ 2147483647 h 58"/>
                <a:gd name="T20" fmla="*/ 2147483647 w 58"/>
                <a:gd name="T21" fmla="*/ 2147483647 h 58"/>
                <a:gd name="T22" fmla="*/ 2147483647 w 58"/>
                <a:gd name="T23" fmla="*/ 2147483647 h 58"/>
                <a:gd name="T24" fmla="*/ 2147483647 w 58"/>
                <a:gd name="T25" fmla="*/ 2147483647 h 58"/>
                <a:gd name="T26" fmla="*/ 2147483647 w 58"/>
                <a:gd name="T27" fmla="*/ 2147483647 h 58"/>
                <a:gd name="T28" fmla="*/ 2147483647 w 58"/>
                <a:gd name="T29" fmla="*/ 2147483647 h 58"/>
                <a:gd name="T30" fmla="*/ 2147483647 w 58"/>
                <a:gd name="T31" fmla="*/ 2147483647 h 58"/>
                <a:gd name="T32" fmla="*/ 2147483647 w 58"/>
                <a:gd name="T33" fmla="*/ 2147483647 h 58"/>
                <a:gd name="T34" fmla="*/ 2147483647 w 58"/>
                <a:gd name="T35" fmla="*/ 2147483647 h 58"/>
                <a:gd name="T36" fmla="*/ 0 w 58"/>
                <a:gd name="T37" fmla="*/ 2147483647 h 58"/>
                <a:gd name="T38" fmla="*/ 2147483647 w 58"/>
                <a:gd name="T39" fmla="*/ 0 h 5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8"/>
                <a:gd name="T61" fmla="*/ 0 h 58"/>
                <a:gd name="T62" fmla="*/ 58 w 58"/>
                <a:gd name="T63" fmla="*/ 58 h 58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8" h="58">
                  <a:moveTo>
                    <a:pt x="2" y="0"/>
                  </a:moveTo>
                  <a:lnTo>
                    <a:pt x="12" y="6"/>
                  </a:lnTo>
                  <a:lnTo>
                    <a:pt x="26" y="12"/>
                  </a:lnTo>
                  <a:lnTo>
                    <a:pt x="40" y="10"/>
                  </a:lnTo>
                  <a:lnTo>
                    <a:pt x="52" y="8"/>
                  </a:lnTo>
                  <a:lnTo>
                    <a:pt x="58" y="10"/>
                  </a:lnTo>
                  <a:lnTo>
                    <a:pt x="58" y="26"/>
                  </a:lnTo>
                  <a:lnTo>
                    <a:pt x="54" y="34"/>
                  </a:lnTo>
                  <a:lnTo>
                    <a:pt x="52" y="42"/>
                  </a:lnTo>
                  <a:lnTo>
                    <a:pt x="48" y="46"/>
                  </a:lnTo>
                  <a:lnTo>
                    <a:pt x="42" y="46"/>
                  </a:lnTo>
                  <a:lnTo>
                    <a:pt x="40" y="50"/>
                  </a:lnTo>
                  <a:lnTo>
                    <a:pt x="32" y="58"/>
                  </a:lnTo>
                  <a:lnTo>
                    <a:pt x="24" y="56"/>
                  </a:lnTo>
                  <a:lnTo>
                    <a:pt x="16" y="48"/>
                  </a:lnTo>
                  <a:lnTo>
                    <a:pt x="10" y="40"/>
                  </a:lnTo>
                  <a:lnTo>
                    <a:pt x="12" y="26"/>
                  </a:lnTo>
                  <a:lnTo>
                    <a:pt x="8" y="18"/>
                  </a:lnTo>
                  <a:lnTo>
                    <a:pt x="0" y="1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B6C5E5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hangingPunct="0"/>
              <a:endParaRPr lang="de-DE"/>
            </a:p>
          </p:txBody>
        </p:sp>
        <p:sp>
          <p:nvSpPr>
            <p:cNvPr id="32952" name="Freeform 168"/>
            <p:cNvSpPr>
              <a:spLocks/>
            </p:cNvSpPr>
            <p:nvPr/>
          </p:nvSpPr>
          <p:spPr bwMode="gray">
            <a:xfrm>
              <a:off x="6691313" y="3865563"/>
              <a:ext cx="82550" cy="117475"/>
            </a:xfrm>
            <a:custGeom>
              <a:avLst/>
              <a:gdLst>
                <a:gd name="T0" fmla="*/ 2147483647 w 70"/>
                <a:gd name="T1" fmla="*/ 2147483647 h 96"/>
                <a:gd name="T2" fmla="*/ 2147483647 w 70"/>
                <a:gd name="T3" fmla="*/ 2147483647 h 96"/>
                <a:gd name="T4" fmla="*/ 2147483647 w 70"/>
                <a:gd name="T5" fmla="*/ 2147483647 h 96"/>
                <a:gd name="T6" fmla="*/ 2147483647 w 70"/>
                <a:gd name="T7" fmla="*/ 2147483647 h 96"/>
                <a:gd name="T8" fmla="*/ 2147483647 w 70"/>
                <a:gd name="T9" fmla="*/ 2147483647 h 96"/>
                <a:gd name="T10" fmla="*/ 2147483647 w 70"/>
                <a:gd name="T11" fmla="*/ 2147483647 h 96"/>
                <a:gd name="T12" fmla="*/ 2147483647 w 70"/>
                <a:gd name="T13" fmla="*/ 2147483647 h 96"/>
                <a:gd name="T14" fmla="*/ 2147483647 w 70"/>
                <a:gd name="T15" fmla="*/ 2147483647 h 96"/>
                <a:gd name="T16" fmla="*/ 2147483647 w 70"/>
                <a:gd name="T17" fmla="*/ 2147483647 h 96"/>
                <a:gd name="T18" fmla="*/ 2147483647 w 70"/>
                <a:gd name="T19" fmla="*/ 2147483647 h 96"/>
                <a:gd name="T20" fmla="*/ 2147483647 w 70"/>
                <a:gd name="T21" fmla="*/ 2147483647 h 96"/>
                <a:gd name="T22" fmla="*/ 2147483647 w 70"/>
                <a:gd name="T23" fmla="*/ 2147483647 h 96"/>
                <a:gd name="T24" fmla="*/ 2147483647 w 70"/>
                <a:gd name="T25" fmla="*/ 2147483647 h 96"/>
                <a:gd name="T26" fmla="*/ 2147483647 w 70"/>
                <a:gd name="T27" fmla="*/ 2147483647 h 96"/>
                <a:gd name="T28" fmla="*/ 2147483647 w 70"/>
                <a:gd name="T29" fmla="*/ 2147483647 h 96"/>
                <a:gd name="T30" fmla="*/ 2147483647 w 70"/>
                <a:gd name="T31" fmla="*/ 2147483647 h 96"/>
                <a:gd name="T32" fmla="*/ 2147483647 w 70"/>
                <a:gd name="T33" fmla="*/ 2147483647 h 96"/>
                <a:gd name="T34" fmla="*/ 2147483647 w 70"/>
                <a:gd name="T35" fmla="*/ 2147483647 h 96"/>
                <a:gd name="T36" fmla="*/ 2147483647 w 70"/>
                <a:gd name="T37" fmla="*/ 2147483647 h 96"/>
                <a:gd name="T38" fmla="*/ 2147483647 w 70"/>
                <a:gd name="T39" fmla="*/ 2147483647 h 96"/>
                <a:gd name="T40" fmla="*/ 2147483647 w 70"/>
                <a:gd name="T41" fmla="*/ 2147483647 h 96"/>
                <a:gd name="T42" fmla="*/ 2147483647 w 70"/>
                <a:gd name="T43" fmla="*/ 2147483647 h 96"/>
                <a:gd name="T44" fmla="*/ 2147483647 w 70"/>
                <a:gd name="T45" fmla="*/ 2147483647 h 96"/>
                <a:gd name="T46" fmla="*/ 2147483647 w 70"/>
                <a:gd name="T47" fmla="*/ 2147483647 h 96"/>
                <a:gd name="T48" fmla="*/ 2147483647 w 70"/>
                <a:gd name="T49" fmla="*/ 2147483647 h 96"/>
                <a:gd name="T50" fmla="*/ 2147483647 w 70"/>
                <a:gd name="T51" fmla="*/ 2147483647 h 96"/>
                <a:gd name="T52" fmla="*/ 2147483647 w 70"/>
                <a:gd name="T53" fmla="*/ 2147483647 h 96"/>
                <a:gd name="T54" fmla="*/ 2147483647 w 70"/>
                <a:gd name="T55" fmla="*/ 0 h 96"/>
                <a:gd name="T56" fmla="*/ 2147483647 w 70"/>
                <a:gd name="T57" fmla="*/ 2147483647 h 96"/>
                <a:gd name="T58" fmla="*/ 2147483647 w 70"/>
                <a:gd name="T59" fmla="*/ 2147483647 h 96"/>
                <a:gd name="T60" fmla="*/ 2147483647 w 70"/>
                <a:gd name="T61" fmla="*/ 2147483647 h 96"/>
                <a:gd name="T62" fmla="*/ 0 w 70"/>
                <a:gd name="T63" fmla="*/ 2147483647 h 96"/>
                <a:gd name="T64" fmla="*/ 2147483647 w 70"/>
                <a:gd name="T65" fmla="*/ 2147483647 h 96"/>
                <a:gd name="T66" fmla="*/ 2147483647 w 70"/>
                <a:gd name="T67" fmla="*/ 2147483647 h 96"/>
                <a:gd name="T68" fmla="*/ 2147483647 w 70"/>
                <a:gd name="T69" fmla="*/ 2147483647 h 9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70"/>
                <a:gd name="T106" fmla="*/ 0 h 96"/>
                <a:gd name="T107" fmla="*/ 70 w 70"/>
                <a:gd name="T108" fmla="*/ 96 h 9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70" h="96">
                  <a:moveTo>
                    <a:pt x="4" y="58"/>
                  </a:moveTo>
                  <a:lnTo>
                    <a:pt x="14" y="64"/>
                  </a:lnTo>
                  <a:lnTo>
                    <a:pt x="16" y="76"/>
                  </a:lnTo>
                  <a:lnTo>
                    <a:pt x="24" y="78"/>
                  </a:lnTo>
                  <a:lnTo>
                    <a:pt x="30" y="72"/>
                  </a:lnTo>
                  <a:lnTo>
                    <a:pt x="38" y="74"/>
                  </a:lnTo>
                  <a:lnTo>
                    <a:pt x="40" y="82"/>
                  </a:lnTo>
                  <a:lnTo>
                    <a:pt x="48" y="80"/>
                  </a:lnTo>
                  <a:lnTo>
                    <a:pt x="52" y="84"/>
                  </a:lnTo>
                  <a:lnTo>
                    <a:pt x="62" y="90"/>
                  </a:lnTo>
                  <a:lnTo>
                    <a:pt x="66" y="96"/>
                  </a:lnTo>
                  <a:lnTo>
                    <a:pt x="70" y="90"/>
                  </a:lnTo>
                  <a:lnTo>
                    <a:pt x="62" y="84"/>
                  </a:lnTo>
                  <a:lnTo>
                    <a:pt x="62" y="78"/>
                  </a:lnTo>
                  <a:lnTo>
                    <a:pt x="58" y="72"/>
                  </a:lnTo>
                  <a:lnTo>
                    <a:pt x="50" y="72"/>
                  </a:lnTo>
                  <a:lnTo>
                    <a:pt x="46" y="68"/>
                  </a:lnTo>
                  <a:lnTo>
                    <a:pt x="40" y="70"/>
                  </a:lnTo>
                  <a:lnTo>
                    <a:pt x="32" y="66"/>
                  </a:lnTo>
                  <a:lnTo>
                    <a:pt x="28" y="62"/>
                  </a:lnTo>
                  <a:lnTo>
                    <a:pt x="26" y="54"/>
                  </a:lnTo>
                  <a:lnTo>
                    <a:pt x="28" y="42"/>
                  </a:lnTo>
                  <a:lnTo>
                    <a:pt x="34" y="40"/>
                  </a:lnTo>
                  <a:lnTo>
                    <a:pt x="40" y="26"/>
                  </a:lnTo>
                  <a:lnTo>
                    <a:pt x="38" y="14"/>
                  </a:lnTo>
                  <a:lnTo>
                    <a:pt x="38" y="4"/>
                  </a:lnTo>
                  <a:lnTo>
                    <a:pt x="28" y="2"/>
                  </a:lnTo>
                  <a:lnTo>
                    <a:pt x="12" y="0"/>
                  </a:lnTo>
                  <a:lnTo>
                    <a:pt x="10" y="16"/>
                  </a:lnTo>
                  <a:lnTo>
                    <a:pt x="10" y="28"/>
                  </a:lnTo>
                  <a:lnTo>
                    <a:pt x="12" y="36"/>
                  </a:lnTo>
                  <a:lnTo>
                    <a:pt x="0" y="38"/>
                  </a:lnTo>
                  <a:lnTo>
                    <a:pt x="2" y="44"/>
                  </a:lnTo>
                  <a:lnTo>
                    <a:pt x="4" y="48"/>
                  </a:lnTo>
                  <a:lnTo>
                    <a:pt x="4" y="5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53" name="Freeform 169"/>
            <p:cNvSpPr>
              <a:spLocks/>
            </p:cNvSpPr>
            <p:nvPr/>
          </p:nvSpPr>
          <p:spPr bwMode="gray">
            <a:xfrm>
              <a:off x="6640513" y="4008438"/>
              <a:ext cx="50800" cy="57150"/>
            </a:xfrm>
            <a:custGeom>
              <a:avLst/>
              <a:gdLst>
                <a:gd name="T0" fmla="*/ 0 w 42"/>
                <a:gd name="T1" fmla="*/ 2147483647 h 46"/>
                <a:gd name="T2" fmla="*/ 2147483647 w 42"/>
                <a:gd name="T3" fmla="*/ 2147483647 h 46"/>
                <a:gd name="T4" fmla="*/ 2147483647 w 42"/>
                <a:gd name="T5" fmla="*/ 2147483647 h 46"/>
                <a:gd name="T6" fmla="*/ 2147483647 w 42"/>
                <a:gd name="T7" fmla="*/ 2147483647 h 46"/>
                <a:gd name="T8" fmla="*/ 2147483647 w 42"/>
                <a:gd name="T9" fmla="*/ 0 h 46"/>
                <a:gd name="T10" fmla="*/ 2147483647 w 42"/>
                <a:gd name="T11" fmla="*/ 2147483647 h 46"/>
                <a:gd name="T12" fmla="*/ 2147483647 w 42"/>
                <a:gd name="T13" fmla="*/ 2147483647 h 46"/>
                <a:gd name="T14" fmla="*/ 2147483647 w 42"/>
                <a:gd name="T15" fmla="*/ 2147483647 h 46"/>
                <a:gd name="T16" fmla="*/ 2147483647 w 42"/>
                <a:gd name="T17" fmla="*/ 2147483647 h 46"/>
                <a:gd name="T18" fmla="*/ 2147483647 w 42"/>
                <a:gd name="T19" fmla="*/ 2147483647 h 46"/>
                <a:gd name="T20" fmla="*/ 0 w 42"/>
                <a:gd name="T21" fmla="*/ 2147483647 h 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2"/>
                <a:gd name="T34" fmla="*/ 0 h 46"/>
                <a:gd name="T35" fmla="*/ 42 w 42"/>
                <a:gd name="T36" fmla="*/ 46 h 4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2" h="46">
                  <a:moveTo>
                    <a:pt x="0" y="46"/>
                  </a:moveTo>
                  <a:lnTo>
                    <a:pt x="8" y="34"/>
                  </a:lnTo>
                  <a:lnTo>
                    <a:pt x="20" y="20"/>
                  </a:lnTo>
                  <a:lnTo>
                    <a:pt x="32" y="10"/>
                  </a:lnTo>
                  <a:lnTo>
                    <a:pt x="36" y="0"/>
                  </a:lnTo>
                  <a:lnTo>
                    <a:pt x="38" y="6"/>
                  </a:lnTo>
                  <a:lnTo>
                    <a:pt x="42" y="12"/>
                  </a:lnTo>
                  <a:lnTo>
                    <a:pt x="32" y="16"/>
                  </a:lnTo>
                  <a:lnTo>
                    <a:pt x="20" y="30"/>
                  </a:lnTo>
                  <a:lnTo>
                    <a:pt x="14" y="38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54" name="Freeform 170"/>
            <p:cNvSpPr>
              <a:spLocks/>
            </p:cNvSpPr>
            <p:nvPr/>
          </p:nvSpPr>
          <p:spPr bwMode="gray">
            <a:xfrm>
              <a:off x="6729413" y="4037013"/>
              <a:ext cx="85725" cy="73025"/>
            </a:xfrm>
            <a:custGeom>
              <a:avLst/>
              <a:gdLst>
                <a:gd name="T0" fmla="*/ 2147483647 w 74"/>
                <a:gd name="T1" fmla="*/ 2147483647 h 60"/>
                <a:gd name="T2" fmla="*/ 2147483647 w 74"/>
                <a:gd name="T3" fmla="*/ 2147483647 h 60"/>
                <a:gd name="T4" fmla="*/ 2147483647 w 74"/>
                <a:gd name="T5" fmla="*/ 2147483647 h 60"/>
                <a:gd name="T6" fmla="*/ 2147483647 w 74"/>
                <a:gd name="T7" fmla="*/ 2147483647 h 60"/>
                <a:gd name="T8" fmla="*/ 2147483647 w 74"/>
                <a:gd name="T9" fmla="*/ 2147483647 h 60"/>
                <a:gd name="T10" fmla="*/ 2147483647 w 74"/>
                <a:gd name="T11" fmla="*/ 2147483647 h 60"/>
                <a:gd name="T12" fmla="*/ 2147483647 w 74"/>
                <a:gd name="T13" fmla="*/ 2147483647 h 60"/>
                <a:gd name="T14" fmla="*/ 2147483647 w 74"/>
                <a:gd name="T15" fmla="*/ 2147483647 h 60"/>
                <a:gd name="T16" fmla="*/ 2147483647 w 74"/>
                <a:gd name="T17" fmla="*/ 2147483647 h 60"/>
                <a:gd name="T18" fmla="*/ 2147483647 w 74"/>
                <a:gd name="T19" fmla="*/ 2147483647 h 60"/>
                <a:gd name="T20" fmla="*/ 2147483647 w 74"/>
                <a:gd name="T21" fmla="*/ 2147483647 h 60"/>
                <a:gd name="T22" fmla="*/ 0 w 74"/>
                <a:gd name="T23" fmla="*/ 2147483647 h 60"/>
                <a:gd name="T24" fmla="*/ 2147483647 w 74"/>
                <a:gd name="T25" fmla="*/ 2147483647 h 60"/>
                <a:gd name="T26" fmla="*/ 2147483647 w 74"/>
                <a:gd name="T27" fmla="*/ 2147483647 h 60"/>
                <a:gd name="T28" fmla="*/ 2147483647 w 74"/>
                <a:gd name="T29" fmla="*/ 2147483647 h 60"/>
                <a:gd name="T30" fmla="*/ 2147483647 w 74"/>
                <a:gd name="T31" fmla="*/ 2147483647 h 60"/>
                <a:gd name="T32" fmla="*/ 2147483647 w 74"/>
                <a:gd name="T33" fmla="*/ 2147483647 h 60"/>
                <a:gd name="T34" fmla="*/ 2147483647 w 74"/>
                <a:gd name="T35" fmla="*/ 2147483647 h 60"/>
                <a:gd name="T36" fmla="*/ 2147483647 w 74"/>
                <a:gd name="T37" fmla="*/ 2147483647 h 60"/>
                <a:gd name="T38" fmla="*/ 2147483647 w 74"/>
                <a:gd name="T39" fmla="*/ 2147483647 h 60"/>
                <a:gd name="T40" fmla="*/ 2147483647 w 74"/>
                <a:gd name="T41" fmla="*/ 2147483647 h 60"/>
                <a:gd name="T42" fmla="*/ 2147483647 w 74"/>
                <a:gd name="T43" fmla="*/ 2147483647 h 60"/>
                <a:gd name="T44" fmla="*/ 2147483647 w 74"/>
                <a:gd name="T45" fmla="*/ 2147483647 h 60"/>
                <a:gd name="T46" fmla="*/ 2147483647 w 74"/>
                <a:gd name="T47" fmla="*/ 0 h 60"/>
                <a:gd name="T48" fmla="*/ 2147483647 w 74"/>
                <a:gd name="T49" fmla="*/ 2147483647 h 60"/>
                <a:gd name="T50" fmla="*/ 2147483647 w 74"/>
                <a:gd name="T51" fmla="*/ 2147483647 h 60"/>
                <a:gd name="T52" fmla="*/ 2147483647 w 74"/>
                <a:gd name="T53" fmla="*/ 2147483647 h 60"/>
                <a:gd name="T54" fmla="*/ 2147483647 w 74"/>
                <a:gd name="T55" fmla="*/ 2147483647 h 60"/>
                <a:gd name="T56" fmla="*/ 2147483647 w 74"/>
                <a:gd name="T57" fmla="*/ 2147483647 h 60"/>
                <a:gd name="T58" fmla="*/ 2147483647 w 74"/>
                <a:gd name="T59" fmla="*/ 2147483647 h 60"/>
                <a:gd name="T60" fmla="*/ 2147483647 w 74"/>
                <a:gd name="T61" fmla="*/ 2147483647 h 60"/>
                <a:gd name="T62" fmla="*/ 2147483647 w 74"/>
                <a:gd name="T63" fmla="*/ 2147483647 h 60"/>
                <a:gd name="T64" fmla="*/ 2147483647 w 74"/>
                <a:gd name="T65" fmla="*/ 2147483647 h 6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74"/>
                <a:gd name="T100" fmla="*/ 0 h 60"/>
                <a:gd name="T101" fmla="*/ 74 w 74"/>
                <a:gd name="T102" fmla="*/ 60 h 60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74" h="60">
                  <a:moveTo>
                    <a:pt x="58" y="58"/>
                  </a:moveTo>
                  <a:lnTo>
                    <a:pt x="40" y="60"/>
                  </a:lnTo>
                  <a:lnTo>
                    <a:pt x="34" y="48"/>
                  </a:lnTo>
                  <a:lnTo>
                    <a:pt x="34" y="38"/>
                  </a:lnTo>
                  <a:lnTo>
                    <a:pt x="40" y="36"/>
                  </a:lnTo>
                  <a:lnTo>
                    <a:pt x="32" y="30"/>
                  </a:lnTo>
                  <a:lnTo>
                    <a:pt x="24" y="32"/>
                  </a:lnTo>
                  <a:lnTo>
                    <a:pt x="18" y="34"/>
                  </a:lnTo>
                  <a:lnTo>
                    <a:pt x="12" y="36"/>
                  </a:lnTo>
                  <a:lnTo>
                    <a:pt x="8" y="44"/>
                  </a:lnTo>
                  <a:lnTo>
                    <a:pt x="4" y="50"/>
                  </a:lnTo>
                  <a:lnTo>
                    <a:pt x="0" y="38"/>
                  </a:lnTo>
                  <a:lnTo>
                    <a:pt x="4" y="28"/>
                  </a:lnTo>
                  <a:lnTo>
                    <a:pt x="14" y="24"/>
                  </a:lnTo>
                  <a:lnTo>
                    <a:pt x="22" y="20"/>
                  </a:lnTo>
                  <a:lnTo>
                    <a:pt x="26" y="14"/>
                  </a:lnTo>
                  <a:lnTo>
                    <a:pt x="32" y="22"/>
                  </a:lnTo>
                  <a:lnTo>
                    <a:pt x="36" y="24"/>
                  </a:lnTo>
                  <a:lnTo>
                    <a:pt x="42" y="18"/>
                  </a:lnTo>
                  <a:lnTo>
                    <a:pt x="50" y="8"/>
                  </a:lnTo>
                  <a:lnTo>
                    <a:pt x="54" y="10"/>
                  </a:lnTo>
                  <a:lnTo>
                    <a:pt x="58" y="10"/>
                  </a:lnTo>
                  <a:lnTo>
                    <a:pt x="58" y="4"/>
                  </a:lnTo>
                  <a:lnTo>
                    <a:pt x="62" y="0"/>
                  </a:lnTo>
                  <a:lnTo>
                    <a:pt x="68" y="6"/>
                  </a:lnTo>
                  <a:lnTo>
                    <a:pt x="72" y="14"/>
                  </a:lnTo>
                  <a:lnTo>
                    <a:pt x="74" y="28"/>
                  </a:lnTo>
                  <a:lnTo>
                    <a:pt x="74" y="42"/>
                  </a:lnTo>
                  <a:lnTo>
                    <a:pt x="66" y="44"/>
                  </a:lnTo>
                  <a:lnTo>
                    <a:pt x="64" y="36"/>
                  </a:lnTo>
                  <a:lnTo>
                    <a:pt x="58" y="42"/>
                  </a:lnTo>
                  <a:lnTo>
                    <a:pt x="54" y="46"/>
                  </a:lnTo>
                  <a:lnTo>
                    <a:pt x="58" y="5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55" name="Freeform 171"/>
            <p:cNvSpPr>
              <a:spLocks/>
            </p:cNvSpPr>
            <p:nvPr/>
          </p:nvSpPr>
          <p:spPr bwMode="gray">
            <a:xfrm>
              <a:off x="6775450" y="3983038"/>
              <a:ext cx="22225" cy="25400"/>
            </a:xfrm>
            <a:custGeom>
              <a:avLst/>
              <a:gdLst>
                <a:gd name="T0" fmla="*/ 0 w 18"/>
                <a:gd name="T1" fmla="*/ 2147483647 h 22"/>
                <a:gd name="T2" fmla="*/ 2147483647 w 18"/>
                <a:gd name="T3" fmla="*/ 0 h 22"/>
                <a:gd name="T4" fmla="*/ 2147483647 w 18"/>
                <a:gd name="T5" fmla="*/ 2147483647 h 22"/>
                <a:gd name="T6" fmla="*/ 2147483647 w 18"/>
                <a:gd name="T7" fmla="*/ 2147483647 h 22"/>
                <a:gd name="T8" fmla="*/ 2147483647 w 18"/>
                <a:gd name="T9" fmla="*/ 2147483647 h 22"/>
                <a:gd name="T10" fmla="*/ 2147483647 w 18"/>
                <a:gd name="T11" fmla="*/ 2147483647 h 22"/>
                <a:gd name="T12" fmla="*/ 2147483647 w 18"/>
                <a:gd name="T13" fmla="*/ 2147483647 h 22"/>
                <a:gd name="T14" fmla="*/ 0 w 18"/>
                <a:gd name="T15" fmla="*/ 2147483647 h 2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8"/>
                <a:gd name="T25" fmla="*/ 0 h 22"/>
                <a:gd name="T26" fmla="*/ 18 w 18"/>
                <a:gd name="T27" fmla="*/ 22 h 2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8" h="22">
                  <a:moveTo>
                    <a:pt x="0" y="4"/>
                  </a:moveTo>
                  <a:lnTo>
                    <a:pt x="12" y="0"/>
                  </a:lnTo>
                  <a:lnTo>
                    <a:pt x="18" y="2"/>
                  </a:lnTo>
                  <a:lnTo>
                    <a:pt x="18" y="16"/>
                  </a:lnTo>
                  <a:lnTo>
                    <a:pt x="18" y="22"/>
                  </a:lnTo>
                  <a:lnTo>
                    <a:pt x="10" y="18"/>
                  </a:lnTo>
                  <a:lnTo>
                    <a:pt x="4" y="12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56" name="Freeform 172"/>
            <p:cNvSpPr>
              <a:spLocks/>
            </p:cNvSpPr>
            <p:nvPr/>
          </p:nvSpPr>
          <p:spPr bwMode="gray">
            <a:xfrm>
              <a:off x="6700838" y="3962400"/>
              <a:ext cx="22225" cy="30163"/>
            </a:xfrm>
            <a:custGeom>
              <a:avLst/>
              <a:gdLst>
                <a:gd name="T0" fmla="*/ 0 w 20"/>
                <a:gd name="T1" fmla="*/ 0 h 24"/>
                <a:gd name="T2" fmla="*/ 2147483647 w 20"/>
                <a:gd name="T3" fmla="*/ 2147483647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0 w 20"/>
                <a:gd name="T15" fmla="*/ 0 h 2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24"/>
                <a:gd name="T26" fmla="*/ 20 w 20"/>
                <a:gd name="T27" fmla="*/ 24 h 2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24">
                  <a:moveTo>
                    <a:pt x="0" y="0"/>
                  </a:moveTo>
                  <a:lnTo>
                    <a:pt x="10" y="2"/>
                  </a:lnTo>
                  <a:lnTo>
                    <a:pt x="20" y="10"/>
                  </a:lnTo>
                  <a:lnTo>
                    <a:pt x="18" y="22"/>
                  </a:lnTo>
                  <a:lnTo>
                    <a:pt x="12" y="24"/>
                  </a:lnTo>
                  <a:lnTo>
                    <a:pt x="6" y="10"/>
                  </a:lnTo>
                  <a:lnTo>
                    <a:pt x="2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57" name="Freeform 173"/>
            <p:cNvSpPr>
              <a:spLocks/>
            </p:cNvSpPr>
            <p:nvPr/>
          </p:nvSpPr>
          <p:spPr bwMode="gray">
            <a:xfrm>
              <a:off x="6731000" y="3998913"/>
              <a:ext cx="25400" cy="25400"/>
            </a:xfrm>
            <a:custGeom>
              <a:avLst/>
              <a:gdLst>
                <a:gd name="T0" fmla="*/ 0 w 22"/>
                <a:gd name="T1" fmla="*/ 0 h 20"/>
                <a:gd name="T2" fmla="*/ 0 w 22"/>
                <a:gd name="T3" fmla="*/ 2147483647 h 20"/>
                <a:gd name="T4" fmla="*/ 0 w 22"/>
                <a:gd name="T5" fmla="*/ 2147483647 h 20"/>
                <a:gd name="T6" fmla="*/ 2147483647 w 22"/>
                <a:gd name="T7" fmla="*/ 2147483647 h 20"/>
                <a:gd name="T8" fmla="*/ 2147483647 w 22"/>
                <a:gd name="T9" fmla="*/ 2147483647 h 20"/>
                <a:gd name="T10" fmla="*/ 2147483647 w 22"/>
                <a:gd name="T11" fmla="*/ 2147483647 h 20"/>
                <a:gd name="T12" fmla="*/ 2147483647 w 22"/>
                <a:gd name="T13" fmla="*/ 0 h 20"/>
                <a:gd name="T14" fmla="*/ 2147483647 w 22"/>
                <a:gd name="T15" fmla="*/ 2147483647 h 20"/>
                <a:gd name="T16" fmla="*/ 0 w 22"/>
                <a:gd name="T17" fmla="*/ 0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2"/>
                <a:gd name="T28" fmla="*/ 0 h 20"/>
                <a:gd name="T29" fmla="*/ 22 w 22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2" h="20">
                  <a:moveTo>
                    <a:pt x="0" y="0"/>
                  </a:moveTo>
                  <a:lnTo>
                    <a:pt x="0" y="10"/>
                  </a:lnTo>
                  <a:lnTo>
                    <a:pt x="0" y="20"/>
                  </a:lnTo>
                  <a:lnTo>
                    <a:pt x="6" y="16"/>
                  </a:lnTo>
                  <a:lnTo>
                    <a:pt x="18" y="8"/>
                  </a:lnTo>
                  <a:lnTo>
                    <a:pt x="22" y="2"/>
                  </a:lnTo>
                  <a:lnTo>
                    <a:pt x="14" y="0"/>
                  </a:lnTo>
                  <a:lnTo>
                    <a:pt x="8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58" name="Freeform 174"/>
            <p:cNvSpPr>
              <a:spLocks/>
            </p:cNvSpPr>
            <p:nvPr/>
          </p:nvSpPr>
          <p:spPr bwMode="gray">
            <a:xfrm>
              <a:off x="6737350" y="4014788"/>
              <a:ext cx="26988" cy="31750"/>
            </a:xfrm>
            <a:custGeom>
              <a:avLst/>
              <a:gdLst>
                <a:gd name="T0" fmla="*/ 0 w 24"/>
                <a:gd name="T1" fmla="*/ 2147483647 h 28"/>
                <a:gd name="T2" fmla="*/ 2147483647 w 24"/>
                <a:gd name="T3" fmla="*/ 2147483647 h 28"/>
                <a:gd name="T4" fmla="*/ 2147483647 w 24"/>
                <a:gd name="T5" fmla="*/ 2147483647 h 28"/>
                <a:gd name="T6" fmla="*/ 2147483647 w 24"/>
                <a:gd name="T7" fmla="*/ 2147483647 h 28"/>
                <a:gd name="T8" fmla="*/ 2147483647 w 24"/>
                <a:gd name="T9" fmla="*/ 2147483647 h 28"/>
                <a:gd name="T10" fmla="*/ 2147483647 w 24"/>
                <a:gd name="T11" fmla="*/ 2147483647 h 28"/>
                <a:gd name="T12" fmla="*/ 2147483647 w 24"/>
                <a:gd name="T13" fmla="*/ 2147483647 h 28"/>
                <a:gd name="T14" fmla="*/ 2147483647 w 24"/>
                <a:gd name="T15" fmla="*/ 0 h 28"/>
                <a:gd name="T16" fmla="*/ 2147483647 w 24"/>
                <a:gd name="T17" fmla="*/ 2147483647 h 28"/>
                <a:gd name="T18" fmla="*/ 2147483647 w 24"/>
                <a:gd name="T19" fmla="*/ 2147483647 h 28"/>
                <a:gd name="T20" fmla="*/ 2147483647 w 24"/>
                <a:gd name="T21" fmla="*/ 2147483647 h 28"/>
                <a:gd name="T22" fmla="*/ 0 w 24"/>
                <a:gd name="T23" fmla="*/ 2147483647 h 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4"/>
                <a:gd name="T37" fmla="*/ 0 h 28"/>
                <a:gd name="T38" fmla="*/ 24 w 24"/>
                <a:gd name="T39" fmla="*/ 28 h 2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4" h="28">
                  <a:moveTo>
                    <a:pt x="0" y="18"/>
                  </a:moveTo>
                  <a:lnTo>
                    <a:pt x="6" y="26"/>
                  </a:lnTo>
                  <a:lnTo>
                    <a:pt x="14" y="28"/>
                  </a:lnTo>
                  <a:lnTo>
                    <a:pt x="14" y="16"/>
                  </a:lnTo>
                  <a:lnTo>
                    <a:pt x="18" y="12"/>
                  </a:lnTo>
                  <a:lnTo>
                    <a:pt x="24" y="8"/>
                  </a:lnTo>
                  <a:lnTo>
                    <a:pt x="22" y="4"/>
                  </a:lnTo>
                  <a:lnTo>
                    <a:pt x="16" y="0"/>
                  </a:lnTo>
                  <a:lnTo>
                    <a:pt x="10" y="2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59" name="Freeform 175"/>
            <p:cNvSpPr>
              <a:spLocks/>
            </p:cNvSpPr>
            <p:nvPr/>
          </p:nvSpPr>
          <p:spPr bwMode="gray">
            <a:xfrm>
              <a:off x="6694488" y="3730625"/>
              <a:ext cx="36512" cy="65088"/>
            </a:xfrm>
            <a:custGeom>
              <a:avLst/>
              <a:gdLst>
                <a:gd name="T0" fmla="*/ 2147483647 w 30"/>
                <a:gd name="T1" fmla="*/ 2147483647 h 54"/>
                <a:gd name="T2" fmla="*/ 2147483647 w 30"/>
                <a:gd name="T3" fmla="*/ 2147483647 h 54"/>
                <a:gd name="T4" fmla="*/ 2147483647 w 30"/>
                <a:gd name="T5" fmla="*/ 2147483647 h 54"/>
                <a:gd name="T6" fmla="*/ 2147483647 w 30"/>
                <a:gd name="T7" fmla="*/ 2147483647 h 54"/>
                <a:gd name="T8" fmla="*/ 2147483647 w 30"/>
                <a:gd name="T9" fmla="*/ 2147483647 h 54"/>
                <a:gd name="T10" fmla="*/ 2147483647 w 30"/>
                <a:gd name="T11" fmla="*/ 2147483647 h 54"/>
                <a:gd name="T12" fmla="*/ 2147483647 w 30"/>
                <a:gd name="T13" fmla="*/ 2147483647 h 54"/>
                <a:gd name="T14" fmla="*/ 0 w 30"/>
                <a:gd name="T15" fmla="*/ 2147483647 h 54"/>
                <a:gd name="T16" fmla="*/ 2147483647 w 30"/>
                <a:gd name="T17" fmla="*/ 2147483647 h 54"/>
                <a:gd name="T18" fmla="*/ 2147483647 w 30"/>
                <a:gd name="T19" fmla="*/ 2147483647 h 54"/>
                <a:gd name="T20" fmla="*/ 2147483647 w 30"/>
                <a:gd name="T21" fmla="*/ 0 h 54"/>
                <a:gd name="T22" fmla="*/ 2147483647 w 30"/>
                <a:gd name="T23" fmla="*/ 2147483647 h 5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0"/>
                <a:gd name="T37" fmla="*/ 0 h 54"/>
                <a:gd name="T38" fmla="*/ 30 w 30"/>
                <a:gd name="T39" fmla="*/ 54 h 5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0" h="54">
                  <a:moveTo>
                    <a:pt x="30" y="4"/>
                  </a:moveTo>
                  <a:lnTo>
                    <a:pt x="26" y="18"/>
                  </a:lnTo>
                  <a:lnTo>
                    <a:pt x="22" y="28"/>
                  </a:lnTo>
                  <a:lnTo>
                    <a:pt x="20" y="36"/>
                  </a:lnTo>
                  <a:lnTo>
                    <a:pt x="16" y="48"/>
                  </a:lnTo>
                  <a:lnTo>
                    <a:pt x="10" y="54"/>
                  </a:lnTo>
                  <a:lnTo>
                    <a:pt x="4" y="42"/>
                  </a:lnTo>
                  <a:lnTo>
                    <a:pt x="0" y="26"/>
                  </a:lnTo>
                  <a:lnTo>
                    <a:pt x="8" y="12"/>
                  </a:lnTo>
                  <a:lnTo>
                    <a:pt x="18" y="4"/>
                  </a:lnTo>
                  <a:lnTo>
                    <a:pt x="22" y="0"/>
                  </a:lnTo>
                  <a:lnTo>
                    <a:pt x="30" y="4"/>
                  </a:lnTo>
                  <a:close/>
                </a:path>
              </a:pathLst>
            </a:custGeom>
            <a:solidFill>
              <a:srgbClr val="B6C5E5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hangingPunct="0"/>
              <a:endParaRPr lang="de-DE"/>
            </a:p>
          </p:txBody>
        </p:sp>
        <p:sp>
          <p:nvSpPr>
            <p:cNvPr id="32960" name="Freeform 176"/>
            <p:cNvSpPr>
              <a:spLocks/>
            </p:cNvSpPr>
            <p:nvPr/>
          </p:nvSpPr>
          <p:spPr bwMode="gray">
            <a:xfrm>
              <a:off x="4240213" y="3060700"/>
              <a:ext cx="79375" cy="74613"/>
            </a:xfrm>
            <a:custGeom>
              <a:avLst/>
              <a:gdLst>
                <a:gd name="T0" fmla="*/ 2147483647 w 66"/>
                <a:gd name="T1" fmla="*/ 2147483647 h 62"/>
                <a:gd name="T2" fmla="*/ 2147483647 w 66"/>
                <a:gd name="T3" fmla="*/ 2147483647 h 62"/>
                <a:gd name="T4" fmla="*/ 2147483647 w 66"/>
                <a:gd name="T5" fmla="*/ 2147483647 h 62"/>
                <a:gd name="T6" fmla="*/ 2147483647 w 66"/>
                <a:gd name="T7" fmla="*/ 2147483647 h 62"/>
                <a:gd name="T8" fmla="*/ 2147483647 w 66"/>
                <a:gd name="T9" fmla="*/ 2147483647 h 62"/>
                <a:gd name="T10" fmla="*/ 2147483647 w 66"/>
                <a:gd name="T11" fmla="*/ 2147483647 h 62"/>
                <a:gd name="T12" fmla="*/ 2147483647 w 66"/>
                <a:gd name="T13" fmla="*/ 2147483647 h 62"/>
                <a:gd name="T14" fmla="*/ 0 w 66"/>
                <a:gd name="T15" fmla="*/ 2147483647 h 62"/>
                <a:gd name="T16" fmla="*/ 2147483647 w 66"/>
                <a:gd name="T17" fmla="*/ 2147483647 h 62"/>
                <a:gd name="T18" fmla="*/ 2147483647 w 66"/>
                <a:gd name="T19" fmla="*/ 2147483647 h 62"/>
                <a:gd name="T20" fmla="*/ 2147483647 w 66"/>
                <a:gd name="T21" fmla="*/ 2147483647 h 62"/>
                <a:gd name="T22" fmla="*/ 2147483647 w 66"/>
                <a:gd name="T23" fmla="*/ 2147483647 h 62"/>
                <a:gd name="T24" fmla="*/ 2147483647 w 66"/>
                <a:gd name="T25" fmla="*/ 2147483647 h 62"/>
                <a:gd name="T26" fmla="*/ 2147483647 w 66"/>
                <a:gd name="T27" fmla="*/ 2147483647 h 62"/>
                <a:gd name="T28" fmla="*/ 2147483647 w 66"/>
                <a:gd name="T29" fmla="*/ 2147483647 h 62"/>
                <a:gd name="T30" fmla="*/ 2147483647 w 66"/>
                <a:gd name="T31" fmla="*/ 2147483647 h 62"/>
                <a:gd name="T32" fmla="*/ 2147483647 w 66"/>
                <a:gd name="T33" fmla="*/ 0 h 62"/>
                <a:gd name="T34" fmla="*/ 2147483647 w 66"/>
                <a:gd name="T35" fmla="*/ 2147483647 h 62"/>
                <a:gd name="T36" fmla="*/ 2147483647 w 66"/>
                <a:gd name="T37" fmla="*/ 2147483647 h 62"/>
                <a:gd name="T38" fmla="*/ 2147483647 w 66"/>
                <a:gd name="T39" fmla="*/ 0 h 62"/>
                <a:gd name="T40" fmla="*/ 2147483647 w 66"/>
                <a:gd name="T41" fmla="*/ 2147483647 h 62"/>
                <a:gd name="T42" fmla="*/ 2147483647 w 66"/>
                <a:gd name="T43" fmla="*/ 0 h 62"/>
                <a:gd name="T44" fmla="*/ 2147483647 w 66"/>
                <a:gd name="T45" fmla="*/ 2147483647 h 62"/>
                <a:gd name="T46" fmla="*/ 2147483647 w 66"/>
                <a:gd name="T47" fmla="*/ 2147483647 h 62"/>
                <a:gd name="T48" fmla="*/ 2147483647 w 66"/>
                <a:gd name="T49" fmla="*/ 2147483647 h 6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66"/>
                <a:gd name="T76" fmla="*/ 0 h 62"/>
                <a:gd name="T77" fmla="*/ 66 w 66"/>
                <a:gd name="T78" fmla="*/ 62 h 6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66" h="62">
                  <a:moveTo>
                    <a:pt x="66" y="26"/>
                  </a:moveTo>
                  <a:lnTo>
                    <a:pt x="64" y="44"/>
                  </a:lnTo>
                  <a:lnTo>
                    <a:pt x="48" y="48"/>
                  </a:lnTo>
                  <a:lnTo>
                    <a:pt x="36" y="52"/>
                  </a:lnTo>
                  <a:lnTo>
                    <a:pt x="26" y="58"/>
                  </a:lnTo>
                  <a:lnTo>
                    <a:pt x="18" y="62"/>
                  </a:lnTo>
                  <a:lnTo>
                    <a:pt x="8" y="58"/>
                  </a:lnTo>
                  <a:lnTo>
                    <a:pt x="0" y="48"/>
                  </a:lnTo>
                  <a:lnTo>
                    <a:pt x="10" y="40"/>
                  </a:lnTo>
                  <a:lnTo>
                    <a:pt x="12" y="30"/>
                  </a:lnTo>
                  <a:lnTo>
                    <a:pt x="20" y="26"/>
                  </a:lnTo>
                  <a:lnTo>
                    <a:pt x="14" y="22"/>
                  </a:lnTo>
                  <a:lnTo>
                    <a:pt x="4" y="24"/>
                  </a:lnTo>
                  <a:lnTo>
                    <a:pt x="2" y="16"/>
                  </a:lnTo>
                  <a:lnTo>
                    <a:pt x="6" y="12"/>
                  </a:lnTo>
                  <a:lnTo>
                    <a:pt x="4" y="6"/>
                  </a:lnTo>
                  <a:lnTo>
                    <a:pt x="10" y="0"/>
                  </a:lnTo>
                  <a:lnTo>
                    <a:pt x="20" y="4"/>
                  </a:lnTo>
                  <a:lnTo>
                    <a:pt x="28" y="2"/>
                  </a:lnTo>
                  <a:lnTo>
                    <a:pt x="36" y="0"/>
                  </a:lnTo>
                  <a:lnTo>
                    <a:pt x="44" y="4"/>
                  </a:lnTo>
                  <a:lnTo>
                    <a:pt x="52" y="0"/>
                  </a:lnTo>
                  <a:lnTo>
                    <a:pt x="58" y="6"/>
                  </a:lnTo>
                  <a:lnTo>
                    <a:pt x="64" y="12"/>
                  </a:lnTo>
                  <a:lnTo>
                    <a:pt x="66" y="2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61" name="Freeform 177"/>
            <p:cNvSpPr>
              <a:spLocks/>
            </p:cNvSpPr>
            <p:nvPr/>
          </p:nvSpPr>
          <p:spPr bwMode="gray">
            <a:xfrm>
              <a:off x="6311900" y="3786188"/>
              <a:ext cx="146050" cy="165100"/>
            </a:xfrm>
            <a:custGeom>
              <a:avLst/>
              <a:gdLst>
                <a:gd name="T0" fmla="*/ 2147483647 w 124"/>
                <a:gd name="T1" fmla="*/ 2147483647 h 136"/>
                <a:gd name="T2" fmla="*/ 2147483647 w 124"/>
                <a:gd name="T3" fmla="*/ 2147483647 h 136"/>
                <a:gd name="T4" fmla="*/ 2147483647 w 124"/>
                <a:gd name="T5" fmla="*/ 2147483647 h 136"/>
                <a:gd name="T6" fmla="*/ 2147483647 w 124"/>
                <a:gd name="T7" fmla="*/ 2147483647 h 136"/>
                <a:gd name="T8" fmla="*/ 2147483647 w 124"/>
                <a:gd name="T9" fmla="*/ 2147483647 h 136"/>
                <a:gd name="T10" fmla="*/ 2147483647 w 124"/>
                <a:gd name="T11" fmla="*/ 2147483647 h 136"/>
                <a:gd name="T12" fmla="*/ 2147483647 w 124"/>
                <a:gd name="T13" fmla="*/ 0 h 136"/>
                <a:gd name="T14" fmla="*/ 2147483647 w 124"/>
                <a:gd name="T15" fmla="*/ 0 h 136"/>
                <a:gd name="T16" fmla="*/ 2147483647 w 124"/>
                <a:gd name="T17" fmla="*/ 2147483647 h 136"/>
                <a:gd name="T18" fmla="*/ 2147483647 w 124"/>
                <a:gd name="T19" fmla="*/ 2147483647 h 136"/>
                <a:gd name="T20" fmla="*/ 2147483647 w 124"/>
                <a:gd name="T21" fmla="*/ 2147483647 h 136"/>
                <a:gd name="T22" fmla="*/ 2147483647 w 124"/>
                <a:gd name="T23" fmla="*/ 2147483647 h 136"/>
                <a:gd name="T24" fmla="*/ 2147483647 w 124"/>
                <a:gd name="T25" fmla="*/ 2147483647 h 136"/>
                <a:gd name="T26" fmla="*/ 2147483647 w 124"/>
                <a:gd name="T27" fmla="*/ 2147483647 h 136"/>
                <a:gd name="T28" fmla="*/ 2147483647 w 124"/>
                <a:gd name="T29" fmla="*/ 2147483647 h 136"/>
                <a:gd name="T30" fmla="*/ 2147483647 w 124"/>
                <a:gd name="T31" fmla="*/ 2147483647 h 136"/>
                <a:gd name="T32" fmla="*/ 2147483647 w 124"/>
                <a:gd name="T33" fmla="*/ 2147483647 h 136"/>
                <a:gd name="T34" fmla="*/ 2147483647 w 124"/>
                <a:gd name="T35" fmla="*/ 2147483647 h 136"/>
                <a:gd name="T36" fmla="*/ 2147483647 w 124"/>
                <a:gd name="T37" fmla="*/ 2147483647 h 136"/>
                <a:gd name="T38" fmla="*/ 2147483647 w 124"/>
                <a:gd name="T39" fmla="*/ 2147483647 h 136"/>
                <a:gd name="T40" fmla="*/ 2147483647 w 124"/>
                <a:gd name="T41" fmla="*/ 2147483647 h 136"/>
                <a:gd name="T42" fmla="*/ 2147483647 w 124"/>
                <a:gd name="T43" fmla="*/ 2147483647 h 136"/>
                <a:gd name="T44" fmla="*/ 2147483647 w 124"/>
                <a:gd name="T45" fmla="*/ 2147483647 h 136"/>
                <a:gd name="T46" fmla="*/ 2147483647 w 124"/>
                <a:gd name="T47" fmla="*/ 2147483647 h 136"/>
                <a:gd name="T48" fmla="*/ 2147483647 w 124"/>
                <a:gd name="T49" fmla="*/ 2147483647 h 136"/>
                <a:gd name="T50" fmla="*/ 2147483647 w 124"/>
                <a:gd name="T51" fmla="*/ 2147483647 h 136"/>
                <a:gd name="T52" fmla="*/ 2147483647 w 124"/>
                <a:gd name="T53" fmla="*/ 2147483647 h 136"/>
                <a:gd name="T54" fmla="*/ 2147483647 w 124"/>
                <a:gd name="T55" fmla="*/ 2147483647 h 136"/>
                <a:gd name="T56" fmla="*/ 2147483647 w 124"/>
                <a:gd name="T57" fmla="*/ 2147483647 h 136"/>
                <a:gd name="T58" fmla="*/ 2147483647 w 124"/>
                <a:gd name="T59" fmla="*/ 2147483647 h 136"/>
                <a:gd name="T60" fmla="*/ 2147483647 w 124"/>
                <a:gd name="T61" fmla="*/ 2147483647 h 136"/>
                <a:gd name="T62" fmla="*/ 2147483647 w 124"/>
                <a:gd name="T63" fmla="*/ 2147483647 h 136"/>
                <a:gd name="T64" fmla="*/ 2147483647 w 124"/>
                <a:gd name="T65" fmla="*/ 2147483647 h 136"/>
                <a:gd name="T66" fmla="*/ 2147483647 w 124"/>
                <a:gd name="T67" fmla="*/ 2147483647 h 136"/>
                <a:gd name="T68" fmla="*/ 2147483647 w 124"/>
                <a:gd name="T69" fmla="*/ 2147483647 h 136"/>
                <a:gd name="T70" fmla="*/ 2147483647 w 124"/>
                <a:gd name="T71" fmla="*/ 2147483647 h 136"/>
                <a:gd name="T72" fmla="*/ 2147483647 w 124"/>
                <a:gd name="T73" fmla="*/ 2147483647 h 136"/>
                <a:gd name="T74" fmla="*/ 2147483647 w 124"/>
                <a:gd name="T75" fmla="*/ 2147483647 h 136"/>
                <a:gd name="T76" fmla="*/ 2147483647 w 124"/>
                <a:gd name="T77" fmla="*/ 2147483647 h 136"/>
                <a:gd name="T78" fmla="*/ 2147483647 w 124"/>
                <a:gd name="T79" fmla="*/ 2147483647 h 136"/>
                <a:gd name="T80" fmla="*/ 2147483647 w 124"/>
                <a:gd name="T81" fmla="*/ 2147483647 h 136"/>
                <a:gd name="T82" fmla="*/ 0 w 124"/>
                <a:gd name="T83" fmla="*/ 2147483647 h 136"/>
                <a:gd name="T84" fmla="*/ 2147483647 w 124"/>
                <a:gd name="T85" fmla="*/ 2147483647 h 136"/>
                <a:gd name="T86" fmla="*/ 2147483647 w 124"/>
                <a:gd name="T87" fmla="*/ 2147483647 h 1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24"/>
                <a:gd name="T133" fmla="*/ 0 h 136"/>
                <a:gd name="T134" fmla="*/ 124 w 124"/>
                <a:gd name="T135" fmla="*/ 136 h 1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24" h="136">
                  <a:moveTo>
                    <a:pt x="12" y="14"/>
                  </a:moveTo>
                  <a:lnTo>
                    <a:pt x="20" y="14"/>
                  </a:lnTo>
                  <a:lnTo>
                    <a:pt x="24" y="18"/>
                  </a:lnTo>
                  <a:lnTo>
                    <a:pt x="32" y="18"/>
                  </a:lnTo>
                  <a:lnTo>
                    <a:pt x="34" y="10"/>
                  </a:lnTo>
                  <a:lnTo>
                    <a:pt x="28" y="8"/>
                  </a:lnTo>
                  <a:lnTo>
                    <a:pt x="28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50" y="1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74" y="26"/>
                  </a:lnTo>
                  <a:lnTo>
                    <a:pt x="80" y="36"/>
                  </a:lnTo>
                  <a:lnTo>
                    <a:pt x="82" y="46"/>
                  </a:lnTo>
                  <a:lnTo>
                    <a:pt x="68" y="46"/>
                  </a:lnTo>
                  <a:lnTo>
                    <a:pt x="68" y="56"/>
                  </a:lnTo>
                  <a:lnTo>
                    <a:pt x="76" y="60"/>
                  </a:lnTo>
                  <a:lnTo>
                    <a:pt x="100" y="84"/>
                  </a:lnTo>
                  <a:lnTo>
                    <a:pt x="120" y="106"/>
                  </a:lnTo>
                  <a:lnTo>
                    <a:pt x="124" y="120"/>
                  </a:lnTo>
                  <a:lnTo>
                    <a:pt x="122" y="134"/>
                  </a:lnTo>
                  <a:lnTo>
                    <a:pt x="112" y="134"/>
                  </a:lnTo>
                  <a:lnTo>
                    <a:pt x="110" y="128"/>
                  </a:lnTo>
                  <a:lnTo>
                    <a:pt x="104" y="128"/>
                  </a:lnTo>
                  <a:lnTo>
                    <a:pt x="102" y="136"/>
                  </a:lnTo>
                  <a:lnTo>
                    <a:pt x="90" y="136"/>
                  </a:lnTo>
                  <a:lnTo>
                    <a:pt x="90" y="130"/>
                  </a:lnTo>
                  <a:lnTo>
                    <a:pt x="94" y="118"/>
                  </a:lnTo>
                  <a:lnTo>
                    <a:pt x="94" y="108"/>
                  </a:lnTo>
                  <a:lnTo>
                    <a:pt x="84" y="98"/>
                  </a:lnTo>
                  <a:lnTo>
                    <a:pt x="80" y="82"/>
                  </a:lnTo>
                  <a:lnTo>
                    <a:pt x="64" y="64"/>
                  </a:lnTo>
                  <a:lnTo>
                    <a:pt x="52" y="72"/>
                  </a:lnTo>
                  <a:lnTo>
                    <a:pt x="40" y="68"/>
                  </a:lnTo>
                  <a:lnTo>
                    <a:pt x="20" y="80"/>
                  </a:lnTo>
                  <a:lnTo>
                    <a:pt x="20" y="66"/>
                  </a:lnTo>
                  <a:lnTo>
                    <a:pt x="24" y="62"/>
                  </a:lnTo>
                  <a:lnTo>
                    <a:pt x="20" y="48"/>
                  </a:lnTo>
                  <a:lnTo>
                    <a:pt x="12" y="46"/>
                  </a:lnTo>
                  <a:lnTo>
                    <a:pt x="12" y="38"/>
                  </a:lnTo>
                  <a:lnTo>
                    <a:pt x="0" y="32"/>
                  </a:lnTo>
                  <a:lnTo>
                    <a:pt x="14" y="24"/>
                  </a:lnTo>
                  <a:lnTo>
                    <a:pt x="12" y="1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62" name="Freeform 178"/>
            <p:cNvSpPr>
              <a:spLocks/>
            </p:cNvSpPr>
            <p:nvPr/>
          </p:nvSpPr>
          <p:spPr bwMode="gray">
            <a:xfrm>
              <a:off x="6089650" y="3122613"/>
              <a:ext cx="601663" cy="250825"/>
            </a:xfrm>
            <a:custGeom>
              <a:avLst/>
              <a:gdLst>
                <a:gd name="T0" fmla="*/ 2147483647 w 508"/>
                <a:gd name="T1" fmla="*/ 2147483647 h 208"/>
                <a:gd name="T2" fmla="*/ 2147483647 w 508"/>
                <a:gd name="T3" fmla="*/ 2147483647 h 208"/>
                <a:gd name="T4" fmla="*/ 2147483647 w 508"/>
                <a:gd name="T5" fmla="*/ 2147483647 h 208"/>
                <a:gd name="T6" fmla="*/ 2147483647 w 508"/>
                <a:gd name="T7" fmla="*/ 2147483647 h 208"/>
                <a:gd name="T8" fmla="*/ 2147483647 w 508"/>
                <a:gd name="T9" fmla="*/ 2147483647 h 208"/>
                <a:gd name="T10" fmla="*/ 2147483647 w 508"/>
                <a:gd name="T11" fmla="*/ 2147483647 h 208"/>
                <a:gd name="T12" fmla="*/ 2147483647 w 508"/>
                <a:gd name="T13" fmla="*/ 2147483647 h 208"/>
                <a:gd name="T14" fmla="*/ 2147483647 w 508"/>
                <a:gd name="T15" fmla="*/ 2147483647 h 208"/>
                <a:gd name="T16" fmla="*/ 2147483647 w 508"/>
                <a:gd name="T17" fmla="*/ 2147483647 h 208"/>
                <a:gd name="T18" fmla="*/ 2147483647 w 508"/>
                <a:gd name="T19" fmla="*/ 2147483647 h 208"/>
                <a:gd name="T20" fmla="*/ 2147483647 w 508"/>
                <a:gd name="T21" fmla="*/ 2147483647 h 208"/>
                <a:gd name="T22" fmla="*/ 2147483647 w 508"/>
                <a:gd name="T23" fmla="*/ 2147483647 h 208"/>
                <a:gd name="T24" fmla="*/ 2147483647 w 508"/>
                <a:gd name="T25" fmla="*/ 2147483647 h 208"/>
                <a:gd name="T26" fmla="*/ 2147483647 w 508"/>
                <a:gd name="T27" fmla="*/ 2147483647 h 208"/>
                <a:gd name="T28" fmla="*/ 2147483647 w 508"/>
                <a:gd name="T29" fmla="*/ 2147483647 h 208"/>
                <a:gd name="T30" fmla="*/ 2147483647 w 508"/>
                <a:gd name="T31" fmla="*/ 2147483647 h 208"/>
                <a:gd name="T32" fmla="*/ 2147483647 w 508"/>
                <a:gd name="T33" fmla="*/ 2147483647 h 208"/>
                <a:gd name="T34" fmla="*/ 2147483647 w 508"/>
                <a:gd name="T35" fmla="*/ 2147483647 h 208"/>
                <a:gd name="T36" fmla="*/ 2147483647 w 508"/>
                <a:gd name="T37" fmla="*/ 2147483647 h 208"/>
                <a:gd name="T38" fmla="*/ 2147483647 w 508"/>
                <a:gd name="T39" fmla="*/ 2147483647 h 208"/>
                <a:gd name="T40" fmla="*/ 2147483647 w 508"/>
                <a:gd name="T41" fmla="*/ 2147483647 h 208"/>
                <a:gd name="T42" fmla="*/ 2147483647 w 508"/>
                <a:gd name="T43" fmla="*/ 2147483647 h 208"/>
                <a:gd name="T44" fmla="*/ 2147483647 w 508"/>
                <a:gd name="T45" fmla="*/ 2147483647 h 208"/>
                <a:gd name="T46" fmla="*/ 2147483647 w 508"/>
                <a:gd name="T47" fmla="*/ 2147483647 h 208"/>
                <a:gd name="T48" fmla="*/ 2147483647 w 508"/>
                <a:gd name="T49" fmla="*/ 2147483647 h 208"/>
                <a:gd name="T50" fmla="*/ 2147483647 w 508"/>
                <a:gd name="T51" fmla="*/ 2147483647 h 208"/>
                <a:gd name="T52" fmla="*/ 2147483647 w 508"/>
                <a:gd name="T53" fmla="*/ 2147483647 h 208"/>
                <a:gd name="T54" fmla="*/ 2147483647 w 508"/>
                <a:gd name="T55" fmla="*/ 2147483647 h 208"/>
                <a:gd name="T56" fmla="*/ 2147483647 w 508"/>
                <a:gd name="T57" fmla="*/ 2147483647 h 208"/>
                <a:gd name="T58" fmla="*/ 2147483647 w 508"/>
                <a:gd name="T59" fmla="*/ 2147483647 h 208"/>
                <a:gd name="T60" fmla="*/ 2147483647 w 508"/>
                <a:gd name="T61" fmla="*/ 2147483647 h 208"/>
                <a:gd name="T62" fmla="*/ 2147483647 w 508"/>
                <a:gd name="T63" fmla="*/ 2147483647 h 208"/>
                <a:gd name="T64" fmla="*/ 2147483647 w 508"/>
                <a:gd name="T65" fmla="*/ 2147483647 h 208"/>
                <a:gd name="T66" fmla="*/ 2147483647 w 508"/>
                <a:gd name="T67" fmla="*/ 2147483647 h 208"/>
                <a:gd name="T68" fmla="*/ 2147483647 w 508"/>
                <a:gd name="T69" fmla="*/ 2147483647 h 208"/>
                <a:gd name="T70" fmla="*/ 2147483647 w 508"/>
                <a:gd name="T71" fmla="*/ 2147483647 h 208"/>
                <a:gd name="T72" fmla="*/ 2147483647 w 508"/>
                <a:gd name="T73" fmla="*/ 2147483647 h 208"/>
                <a:gd name="T74" fmla="*/ 2147483647 w 508"/>
                <a:gd name="T75" fmla="*/ 2147483647 h 20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08"/>
                <a:gd name="T115" fmla="*/ 0 h 208"/>
                <a:gd name="T116" fmla="*/ 508 w 508"/>
                <a:gd name="T117" fmla="*/ 208 h 20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08" h="208">
                  <a:moveTo>
                    <a:pt x="0" y="62"/>
                  </a:moveTo>
                  <a:lnTo>
                    <a:pt x="8" y="54"/>
                  </a:lnTo>
                  <a:lnTo>
                    <a:pt x="22" y="52"/>
                  </a:lnTo>
                  <a:lnTo>
                    <a:pt x="30" y="44"/>
                  </a:lnTo>
                  <a:lnTo>
                    <a:pt x="64" y="26"/>
                  </a:lnTo>
                  <a:lnTo>
                    <a:pt x="80" y="28"/>
                  </a:lnTo>
                  <a:lnTo>
                    <a:pt x="102" y="32"/>
                  </a:lnTo>
                  <a:lnTo>
                    <a:pt x="112" y="44"/>
                  </a:lnTo>
                  <a:lnTo>
                    <a:pt x="144" y="44"/>
                  </a:lnTo>
                  <a:lnTo>
                    <a:pt x="152" y="50"/>
                  </a:lnTo>
                  <a:lnTo>
                    <a:pt x="164" y="40"/>
                  </a:lnTo>
                  <a:lnTo>
                    <a:pt x="166" y="32"/>
                  </a:lnTo>
                  <a:lnTo>
                    <a:pt x="154" y="18"/>
                  </a:lnTo>
                  <a:lnTo>
                    <a:pt x="168" y="4"/>
                  </a:lnTo>
                  <a:lnTo>
                    <a:pt x="172" y="0"/>
                  </a:lnTo>
                  <a:lnTo>
                    <a:pt x="186" y="2"/>
                  </a:lnTo>
                  <a:lnTo>
                    <a:pt x="200" y="6"/>
                  </a:lnTo>
                  <a:lnTo>
                    <a:pt x="224" y="14"/>
                  </a:lnTo>
                  <a:lnTo>
                    <a:pt x="226" y="24"/>
                  </a:lnTo>
                  <a:lnTo>
                    <a:pt x="236" y="36"/>
                  </a:lnTo>
                  <a:lnTo>
                    <a:pt x="262" y="40"/>
                  </a:lnTo>
                  <a:lnTo>
                    <a:pt x="276" y="32"/>
                  </a:lnTo>
                  <a:lnTo>
                    <a:pt x="300" y="36"/>
                  </a:lnTo>
                  <a:lnTo>
                    <a:pt x="306" y="42"/>
                  </a:lnTo>
                  <a:lnTo>
                    <a:pt x="316" y="44"/>
                  </a:lnTo>
                  <a:lnTo>
                    <a:pt x="322" y="52"/>
                  </a:lnTo>
                  <a:lnTo>
                    <a:pt x="328" y="58"/>
                  </a:lnTo>
                  <a:lnTo>
                    <a:pt x="350" y="60"/>
                  </a:lnTo>
                  <a:lnTo>
                    <a:pt x="368" y="58"/>
                  </a:lnTo>
                  <a:lnTo>
                    <a:pt x="398" y="52"/>
                  </a:lnTo>
                  <a:lnTo>
                    <a:pt x="408" y="44"/>
                  </a:lnTo>
                  <a:lnTo>
                    <a:pt x="416" y="38"/>
                  </a:lnTo>
                  <a:lnTo>
                    <a:pt x="426" y="36"/>
                  </a:lnTo>
                  <a:lnTo>
                    <a:pt x="434" y="42"/>
                  </a:lnTo>
                  <a:lnTo>
                    <a:pt x="442" y="42"/>
                  </a:lnTo>
                  <a:lnTo>
                    <a:pt x="458" y="44"/>
                  </a:lnTo>
                  <a:lnTo>
                    <a:pt x="452" y="52"/>
                  </a:lnTo>
                  <a:lnTo>
                    <a:pt x="448" y="60"/>
                  </a:lnTo>
                  <a:lnTo>
                    <a:pt x="440" y="84"/>
                  </a:lnTo>
                  <a:lnTo>
                    <a:pt x="468" y="86"/>
                  </a:lnTo>
                  <a:lnTo>
                    <a:pt x="476" y="80"/>
                  </a:lnTo>
                  <a:lnTo>
                    <a:pt x="486" y="82"/>
                  </a:lnTo>
                  <a:lnTo>
                    <a:pt x="506" y="102"/>
                  </a:lnTo>
                  <a:lnTo>
                    <a:pt x="508" y="112"/>
                  </a:lnTo>
                  <a:lnTo>
                    <a:pt x="494" y="110"/>
                  </a:lnTo>
                  <a:lnTo>
                    <a:pt x="480" y="110"/>
                  </a:lnTo>
                  <a:lnTo>
                    <a:pt x="460" y="118"/>
                  </a:lnTo>
                  <a:lnTo>
                    <a:pt x="442" y="132"/>
                  </a:lnTo>
                  <a:lnTo>
                    <a:pt x="426" y="132"/>
                  </a:lnTo>
                  <a:lnTo>
                    <a:pt x="412" y="146"/>
                  </a:lnTo>
                  <a:lnTo>
                    <a:pt x="394" y="144"/>
                  </a:lnTo>
                  <a:lnTo>
                    <a:pt x="380" y="144"/>
                  </a:lnTo>
                  <a:lnTo>
                    <a:pt x="374" y="156"/>
                  </a:lnTo>
                  <a:lnTo>
                    <a:pt x="380" y="168"/>
                  </a:lnTo>
                  <a:lnTo>
                    <a:pt x="362" y="178"/>
                  </a:lnTo>
                  <a:lnTo>
                    <a:pt x="362" y="184"/>
                  </a:lnTo>
                  <a:lnTo>
                    <a:pt x="344" y="194"/>
                  </a:lnTo>
                  <a:lnTo>
                    <a:pt x="300" y="194"/>
                  </a:lnTo>
                  <a:lnTo>
                    <a:pt x="278" y="208"/>
                  </a:lnTo>
                  <a:lnTo>
                    <a:pt x="242" y="204"/>
                  </a:lnTo>
                  <a:lnTo>
                    <a:pt x="218" y="192"/>
                  </a:lnTo>
                  <a:lnTo>
                    <a:pt x="190" y="190"/>
                  </a:lnTo>
                  <a:lnTo>
                    <a:pt x="136" y="188"/>
                  </a:lnTo>
                  <a:lnTo>
                    <a:pt x="130" y="178"/>
                  </a:lnTo>
                  <a:lnTo>
                    <a:pt x="124" y="166"/>
                  </a:lnTo>
                  <a:lnTo>
                    <a:pt x="102" y="154"/>
                  </a:lnTo>
                  <a:lnTo>
                    <a:pt x="92" y="144"/>
                  </a:lnTo>
                  <a:lnTo>
                    <a:pt x="58" y="142"/>
                  </a:lnTo>
                  <a:lnTo>
                    <a:pt x="50" y="138"/>
                  </a:lnTo>
                  <a:lnTo>
                    <a:pt x="46" y="126"/>
                  </a:lnTo>
                  <a:lnTo>
                    <a:pt x="52" y="118"/>
                  </a:lnTo>
                  <a:lnTo>
                    <a:pt x="52" y="110"/>
                  </a:lnTo>
                  <a:lnTo>
                    <a:pt x="44" y="98"/>
                  </a:lnTo>
                  <a:lnTo>
                    <a:pt x="30" y="84"/>
                  </a:lnTo>
                  <a:lnTo>
                    <a:pt x="14" y="82"/>
                  </a:lnTo>
                  <a:lnTo>
                    <a:pt x="4" y="72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63" name="Freeform 179"/>
            <p:cNvSpPr>
              <a:spLocks/>
            </p:cNvSpPr>
            <p:nvPr/>
          </p:nvSpPr>
          <p:spPr bwMode="gray">
            <a:xfrm>
              <a:off x="2963863" y="3733800"/>
              <a:ext cx="12700" cy="20638"/>
            </a:xfrm>
            <a:custGeom>
              <a:avLst/>
              <a:gdLst>
                <a:gd name="T0" fmla="*/ 2147483647 w 12"/>
                <a:gd name="T1" fmla="*/ 2147483647 h 16"/>
                <a:gd name="T2" fmla="*/ 2147483647 w 12"/>
                <a:gd name="T3" fmla="*/ 0 h 16"/>
                <a:gd name="T4" fmla="*/ 0 w 12"/>
                <a:gd name="T5" fmla="*/ 2147483647 h 16"/>
                <a:gd name="T6" fmla="*/ 2147483647 w 12"/>
                <a:gd name="T7" fmla="*/ 2147483647 h 16"/>
                <a:gd name="T8" fmla="*/ 2147483647 w 12"/>
                <a:gd name="T9" fmla="*/ 2147483647 h 16"/>
                <a:gd name="T10" fmla="*/ 2147483647 w 12"/>
                <a:gd name="T11" fmla="*/ 2147483647 h 16"/>
                <a:gd name="T12" fmla="*/ 2147483647 w 12"/>
                <a:gd name="T13" fmla="*/ 2147483647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6"/>
                <a:gd name="T23" fmla="*/ 12 w 12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6">
                  <a:moveTo>
                    <a:pt x="8" y="4"/>
                  </a:moveTo>
                  <a:lnTo>
                    <a:pt x="2" y="0"/>
                  </a:lnTo>
                  <a:lnTo>
                    <a:pt x="0" y="8"/>
                  </a:lnTo>
                  <a:lnTo>
                    <a:pt x="6" y="12"/>
                  </a:lnTo>
                  <a:lnTo>
                    <a:pt x="10" y="16"/>
                  </a:lnTo>
                  <a:lnTo>
                    <a:pt x="12" y="10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A7D37F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64" name="Freeform 180"/>
            <p:cNvSpPr>
              <a:spLocks/>
            </p:cNvSpPr>
            <p:nvPr/>
          </p:nvSpPr>
          <p:spPr bwMode="gray">
            <a:xfrm>
              <a:off x="3214688" y="3579813"/>
              <a:ext cx="12700" cy="9525"/>
            </a:xfrm>
            <a:custGeom>
              <a:avLst/>
              <a:gdLst>
                <a:gd name="T0" fmla="*/ 2147483647 w 12"/>
                <a:gd name="T1" fmla="*/ 0 h 8"/>
                <a:gd name="T2" fmla="*/ 2147483647 w 12"/>
                <a:gd name="T3" fmla="*/ 2147483647 h 8"/>
                <a:gd name="T4" fmla="*/ 0 w 12"/>
                <a:gd name="T5" fmla="*/ 2147483647 h 8"/>
                <a:gd name="T6" fmla="*/ 2147483647 w 12"/>
                <a:gd name="T7" fmla="*/ 2147483647 h 8"/>
                <a:gd name="T8" fmla="*/ 2147483647 w 12"/>
                <a:gd name="T9" fmla="*/ 2147483647 h 8"/>
                <a:gd name="T10" fmla="*/ 2147483647 w 12"/>
                <a:gd name="T11" fmla="*/ 0 h 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8"/>
                <a:gd name="T20" fmla="*/ 12 w 12"/>
                <a:gd name="T21" fmla="*/ 8 h 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8">
                  <a:moveTo>
                    <a:pt x="6" y="0"/>
                  </a:moveTo>
                  <a:lnTo>
                    <a:pt x="2" y="2"/>
                  </a:lnTo>
                  <a:lnTo>
                    <a:pt x="0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9DC4DE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65" name="Freeform 181"/>
            <p:cNvSpPr>
              <a:spLocks/>
            </p:cNvSpPr>
            <p:nvPr/>
          </p:nvSpPr>
          <p:spPr bwMode="gray">
            <a:xfrm>
              <a:off x="4648200" y="2630488"/>
              <a:ext cx="247650" cy="407987"/>
            </a:xfrm>
            <a:custGeom>
              <a:avLst/>
              <a:gdLst>
                <a:gd name="T0" fmla="*/ 2147483647 w 209"/>
                <a:gd name="T1" fmla="*/ 2147483647 h 338"/>
                <a:gd name="T2" fmla="*/ 2147483647 w 209"/>
                <a:gd name="T3" fmla="*/ 2147483647 h 338"/>
                <a:gd name="T4" fmla="*/ 2147483647 w 209"/>
                <a:gd name="T5" fmla="*/ 2147483647 h 338"/>
                <a:gd name="T6" fmla="*/ 2147483647 w 209"/>
                <a:gd name="T7" fmla="*/ 2147483647 h 338"/>
                <a:gd name="T8" fmla="*/ 2147483647 w 209"/>
                <a:gd name="T9" fmla="*/ 2147483647 h 338"/>
                <a:gd name="T10" fmla="*/ 2147483647 w 209"/>
                <a:gd name="T11" fmla="*/ 2147483647 h 338"/>
                <a:gd name="T12" fmla="*/ 2147483647 w 209"/>
                <a:gd name="T13" fmla="*/ 2147483647 h 338"/>
                <a:gd name="T14" fmla="*/ 2147483647 w 209"/>
                <a:gd name="T15" fmla="*/ 2147483647 h 338"/>
                <a:gd name="T16" fmla="*/ 2147483647 w 209"/>
                <a:gd name="T17" fmla="*/ 2147483647 h 338"/>
                <a:gd name="T18" fmla="*/ 2147483647 w 209"/>
                <a:gd name="T19" fmla="*/ 2147483647 h 338"/>
                <a:gd name="T20" fmla="*/ 2147483647 w 209"/>
                <a:gd name="T21" fmla="*/ 2147483647 h 338"/>
                <a:gd name="T22" fmla="*/ 2147483647 w 209"/>
                <a:gd name="T23" fmla="*/ 2147483647 h 338"/>
                <a:gd name="T24" fmla="*/ 2147483647 w 209"/>
                <a:gd name="T25" fmla="*/ 2147483647 h 338"/>
                <a:gd name="T26" fmla="*/ 2147483647 w 209"/>
                <a:gd name="T27" fmla="*/ 2147483647 h 338"/>
                <a:gd name="T28" fmla="*/ 2147483647 w 209"/>
                <a:gd name="T29" fmla="*/ 2147483647 h 338"/>
                <a:gd name="T30" fmla="*/ 2147483647 w 209"/>
                <a:gd name="T31" fmla="*/ 2147483647 h 338"/>
                <a:gd name="T32" fmla="*/ 2147483647 w 209"/>
                <a:gd name="T33" fmla="*/ 2147483647 h 338"/>
                <a:gd name="T34" fmla="*/ 2147483647 w 209"/>
                <a:gd name="T35" fmla="*/ 2147483647 h 338"/>
                <a:gd name="T36" fmla="*/ 2147483647 w 209"/>
                <a:gd name="T37" fmla="*/ 2147483647 h 338"/>
                <a:gd name="T38" fmla="*/ 2147483647 w 209"/>
                <a:gd name="T39" fmla="*/ 2147483647 h 338"/>
                <a:gd name="T40" fmla="*/ 2147483647 w 209"/>
                <a:gd name="T41" fmla="*/ 2147483647 h 338"/>
                <a:gd name="T42" fmla="*/ 2147483647 w 209"/>
                <a:gd name="T43" fmla="*/ 2147483647 h 338"/>
                <a:gd name="T44" fmla="*/ 2147483647 w 209"/>
                <a:gd name="T45" fmla="*/ 2147483647 h 338"/>
                <a:gd name="T46" fmla="*/ 2147483647 w 209"/>
                <a:gd name="T47" fmla="*/ 2147483647 h 338"/>
                <a:gd name="T48" fmla="*/ 2147483647 w 209"/>
                <a:gd name="T49" fmla="*/ 2147483647 h 338"/>
                <a:gd name="T50" fmla="*/ 2147483647 w 209"/>
                <a:gd name="T51" fmla="*/ 2147483647 h 338"/>
                <a:gd name="T52" fmla="*/ 2147483647 w 209"/>
                <a:gd name="T53" fmla="*/ 2147483647 h 338"/>
                <a:gd name="T54" fmla="*/ 2147483647 w 209"/>
                <a:gd name="T55" fmla="*/ 2147483647 h 338"/>
                <a:gd name="T56" fmla="*/ 2147483647 w 209"/>
                <a:gd name="T57" fmla="*/ 2147483647 h 338"/>
                <a:gd name="T58" fmla="*/ 2147483647 w 209"/>
                <a:gd name="T59" fmla="*/ 2147483647 h 338"/>
                <a:gd name="T60" fmla="*/ 2147483647 w 209"/>
                <a:gd name="T61" fmla="*/ 2147483647 h 338"/>
                <a:gd name="T62" fmla="*/ 2147483647 w 209"/>
                <a:gd name="T63" fmla="*/ 2147483647 h 338"/>
                <a:gd name="T64" fmla="*/ 2147483647 w 209"/>
                <a:gd name="T65" fmla="*/ 2147483647 h 338"/>
                <a:gd name="T66" fmla="*/ 2147483647 w 209"/>
                <a:gd name="T67" fmla="*/ 2147483647 h 33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09"/>
                <a:gd name="T103" fmla="*/ 0 h 338"/>
                <a:gd name="T104" fmla="*/ 209 w 209"/>
                <a:gd name="T105" fmla="*/ 338 h 33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09" h="338">
                  <a:moveTo>
                    <a:pt x="155" y="0"/>
                  </a:moveTo>
                  <a:lnTo>
                    <a:pt x="167" y="10"/>
                  </a:lnTo>
                  <a:lnTo>
                    <a:pt x="175" y="18"/>
                  </a:lnTo>
                  <a:lnTo>
                    <a:pt x="189" y="18"/>
                  </a:lnTo>
                  <a:lnTo>
                    <a:pt x="199" y="32"/>
                  </a:lnTo>
                  <a:lnTo>
                    <a:pt x="199" y="40"/>
                  </a:lnTo>
                  <a:lnTo>
                    <a:pt x="197" y="52"/>
                  </a:lnTo>
                  <a:lnTo>
                    <a:pt x="205" y="56"/>
                  </a:lnTo>
                  <a:lnTo>
                    <a:pt x="199" y="72"/>
                  </a:lnTo>
                  <a:lnTo>
                    <a:pt x="209" y="86"/>
                  </a:lnTo>
                  <a:lnTo>
                    <a:pt x="191" y="88"/>
                  </a:lnTo>
                  <a:lnTo>
                    <a:pt x="181" y="90"/>
                  </a:lnTo>
                  <a:lnTo>
                    <a:pt x="167" y="100"/>
                  </a:lnTo>
                  <a:lnTo>
                    <a:pt x="161" y="114"/>
                  </a:lnTo>
                  <a:lnTo>
                    <a:pt x="165" y="124"/>
                  </a:lnTo>
                  <a:lnTo>
                    <a:pt x="153" y="138"/>
                  </a:lnTo>
                  <a:lnTo>
                    <a:pt x="137" y="150"/>
                  </a:lnTo>
                  <a:lnTo>
                    <a:pt x="121" y="152"/>
                  </a:lnTo>
                  <a:lnTo>
                    <a:pt x="111" y="166"/>
                  </a:lnTo>
                  <a:lnTo>
                    <a:pt x="103" y="178"/>
                  </a:lnTo>
                  <a:lnTo>
                    <a:pt x="99" y="194"/>
                  </a:lnTo>
                  <a:lnTo>
                    <a:pt x="101" y="216"/>
                  </a:lnTo>
                  <a:lnTo>
                    <a:pt x="115" y="222"/>
                  </a:lnTo>
                  <a:lnTo>
                    <a:pt x="125" y="236"/>
                  </a:lnTo>
                  <a:lnTo>
                    <a:pt x="123" y="248"/>
                  </a:lnTo>
                  <a:lnTo>
                    <a:pt x="111" y="256"/>
                  </a:lnTo>
                  <a:lnTo>
                    <a:pt x="93" y="266"/>
                  </a:lnTo>
                  <a:lnTo>
                    <a:pt x="91" y="278"/>
                  </a:lnTo>
                  <a:lnTo>
                    <a:pt x="91" y="292"/>
                  </a:lnTo>
                  <a:lnTo>
                    <a:pt x="87" y="304"/>
                  </a:lnTo>
                  <a:lnTo>
                    <a:pt x="81" y="316"/>
                  </a:lnTo>
                  <a:lnTo>
                    <a:pt x="69" y="322"/>
                  </a:lnTo>
                  <a:lnTo>
                    <a:pt x="55" y="324"/>
                  </a:lnTo>
                  <a:lnTo>
                    <a:pt x="51" y="336"/>
                  </a:lnTo>
                  <a:lnTo>
                    <a:pt x="37" y="338"/>
                  </a:lnTo>
                  <a:lnTo>
                    <a:pt x="33" y="324"/>
                  </a:lnTo>
                  <a:lnTo>
                    <a:pt x="29" y="316"/>
                  </a:lnTo>
                  <a:lnTo>
                    <a:pt x="29" y="308"/>
                  </a:lnTo>
                  <a:lnTo>
                    <a:pt x="17" y="290"/>
                  </a:lnTo>
                  <a:lnTo>
                    <a:pt x="11" y="274"/>
                  </a:lnTo>
                  <a:lnTo>
                    <a:pt x="0" y="254"/>
                  </a:lnTo>
                  <a:lnTo>
                    <a:pt x="17" y="252"/>
                  </a:lnTo>
                  <a:lnTo>
                    <a:pt x="17" y="236"/>
                  </a:lnTo>
                  <a:lnTo>
                    <a:pt x="25" y="228"/>
                  </a:lnTo>
                  <a:lnTo>
                    <a:pt x="29" y="216"/>
                  </a:lnTo>
                  <a:lnTo>
                    <a:pt x="17" y="208"/>
                  </a:lnTo>
                  <a:lnTo>
                    <a:pt x="31" y="206"/>
                  </a:lnTo>
                  <a:lnTo>
                    <a:pt x="29" y="194"/>
                  </a:lnTo>
                  <a:lnTo>
                    <a:pt x="17" y="188"/>
                  </a:lnTo>
                  <a:lnTo>
                    <a:pt x="17" y="168"/>
                  </a:lnTo>
                  <a:lnTo>
                    <a:pt x="17" y="138"/>
                  </a:lnTo>
                  <a:lnTo>
                    <a:pt x="33" y="134"/>
                  </a:lnTo>
                  <a:lnTo>
                    <a:pt x="49" y="128"/>
                  </a:lnTo>
                  <a:lnTo>
                    <a:pt x="53" y="124"/>
                  </a:lnTo>
                  <a:lnTo>
                    <a:pt x="47" y="110"/>
                  </a:lnTo>
                  <a:lnTo>
                    <a:pt x="57" y="94"/>
                  </a:lnTo>
                  <a:lnTo>
                    <a:pt x="59" y="80"/>
                  </a:lnTo>
                  <a:lnTo>
                    <a:pt x="73" y="76"/>
                  </a:lnTo>
                  <a:lnTo>
                    <a:pt x="75" y="64"/>
                  </a:lnTo>
                  <a:lnTo>
                    <a:pt x="87" y="54"/>
                  </a:lnTo>
                  <a:lnTo>
                    <a:pt x="87" y="42"/>
                  </a:lnTo>
                  <a:lnTo>
                    <a:pt x="99" y="26"/>
                  </a:lnTo>
                  <a:lnTo>
                    <a:pt x="117" y="24"/>
                  </a:lnTo>
                  <a:lnTo>
                    <a:pt x="117" y="12"/>
                  </a:lnTo>
                  <a:lnTo>
                    <a:pt x="131" y="10"/>
                  </a:lnTo>
                  <a:lnTo>
                    <a:pt x="131" y="18"/>
                  </a:lnTo>
                  <a:lnTo>
                    <a:pt x="145" y="18"/>
                  </a:lnTo>
                  <a:lnTo>
                    <a:pt x="145" y="2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66" name="Freeform 182"/>
            <p:cNvSpPr>
              <a:spLocks/>
            </p:cNvSpPr>
            <p:nvPr/>
          </p:nvSpPr>
          <p:spPr bwMode="gray">
            <a:xfrm>
              <a:off x="4289425" y="3044825"/>
              <a:ext cx="46038" cy="28575"/>
            </a:xfrm>
            <a:custGeom>
              <a:avLst/>
              <a:gdLst>
                <a:gd name="T0" fmla="*/ 2147483647 w 38"/>
                <a:gd name="T1" fmla="*/ 0 h 24"/>
                <a:gd name="T2" fmla="*/ 2147483647 w 38"/>
                <a:gd name="T3" fmla="*/ 2147483647 h 24"/>
                <a:gd name="T4" fmla="*/ 2147483647 w 38"/>
                <a:gd name="T5" fmla="*/ 2147483647 h 24"/>
                <a:gd name="T6" fmla="*/ 2147483647 w 38"/>
                <a:gd name="T7" fmla="*/ 2147483647 h 24"/>
                <a:gd name="T8" fmla="*/ 2147483647 w 38"/>
                <a:gd name="T9" fmla="*/ 2147483647 h 24"/>
                <a:gd name="T10" fmla="*/ 2147483647 w 38"/>
                <a:gd name="T11" fmla="*/ 2147483647 h 24"/>
                <a:gd name="T12" fmla="*/ 2147483647 w 38"/>
                <a:gd name="T13" fmla="*/ 2147483647 h 24"/>
                <a:gd name="T14" fmla="*/ 2147483647 w 38"/>
                <a:gd name="T15" fmla="*/ 2147483647 h 24"/>
                <a:gd name="T16" fmla="*/ 0 w 38"/>
                <a:gd name="T17" fmla="*/ 2147483647 h 24"/>
                <a:gd name="T18" fmla="*/ 2147483647 w 38"/>
                <a:gd name="T19" fmla="*/ 2147483647 h 24"/>
                <a:gd name="T20" fmla="*/ 2147483647 w 38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"/>
                <a:gd name="T34" fmla="*/ 0 h 24"/>
                <a:gd name="T35" fmla="*/ 38 w 38"/>
                <a:gd name="T36" fmla="*/ 24 h 2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" h="24">
                  <a:moveTo>
                    <a:pt x="12" y="0"/>
                  </a:moveTo>
                  <a:lnTo>
                    <a:pt x="30" y="2"/>
                  </a:lnTo>
                  <a:lnTo>
                    <a:pt x="34" y="8"/>
                  </a:lnTo>
                  <a:lnTo>
                    <a:pt x="38" y="16"/>
                  </a:lnTo>
                  <a:lnTo>
                    <a:pt x="34" y="24"/>
                  </a:lnTo>
                  <a:lnTo>
                    <a:pt x="22" y="24"/>
                  </a:lnTo>
                  <a:lnTo>
                    <a:pt x="16" y="18"/>
                  </a:lnTo>
                  <a:lnTo>
                    <a:pt x="8" y="22"/>
                  </a:lnTo>
                  <a:lnTo>
                    <a:pt x="0" y="18"/>
                  </a:lnTo>
                  <a:lnTo>
                    <a:pt x="4" y="8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67" name="Freeform 183"/>
            <p:cNvSpPr>
              <a:spLocks/>
            </p:cNvSpPr>
            <p:nvPr/>
          </p:nvSpPr>
          <p:spPr bwMode="gray">
            <a:xfrm>
              <a:off x="4552950" y="3233738"/>
              <a:ext cx="82550" cy="44450"/>
            </a:xfrm>
            <a:custGeom>
              <a:avLst/>
              <a:gdLst>
                <a:gd name="T0" fmla="*/ 2147483647 w 70"/>
                <a:gd name="T1" fmla="*/ 2147483647 h 38"/>
                <a:gd name="T2" fmla="*/ 2147483647 w 70"/>
                <a:gd name="T3" fmla="*/ 2147483647 h 38"/>
                <a:gd name="T4" fmla="*/ 2147483647 w 70"/>
                <a:gd name="T5" fmla="*/ 0 h 38"/>
                <a:gd name="T6" fmla="*/ 2147483647 w 70"/>
                <a:gd name="T7" fmla="*/ 2147483647 h 38"/>
                <a:gd name="T8" fmla="*/ 2147483647 w 70"/>
                <a:gd name="T9" fmla="*/ 2147483647 h 38"/>
                <a:gd name="T10" fmla="*/ 2147483647 w 70"/>
                <a:gd name="T11" fmla="*/ 2147483647 h 38"/>
                <a:gd name="T12" fmla="*/ 2147483647 w 70"/>
                <a:gd name="T13" fmla="*/ 2147483647 h 38"/>
                <a:gd name="T14" fmla="*/ 2147483647 w 70"/>
                <a:gd name="T15" fmla="*/ 2147483647 h 38"/>
                <a:gd name="T16" fmla="*/ 2147483647 w 70"/>
                <a:gd name="T17" fmla="*/ 2147483647 h 38"/>
                <a:gd name="T18" fmla="*/ 2147483647 w 70"/>
                <a:gd name="T19" fmla="*/ 2147483647 h 38"/>
                <a:gd name="T20" fmla="*/ 2147483647 w 70"/>
                <a:gd name="T21" fmla="*/ 2147483647 h 38"/>
                <a:gd name="T22" fmla="*/ 2147483647 w 70"/>
                <a:gd name="T23" fmla="*/ 2147483647 h 38"/>
                <a:gd name="T24" fmla="*/ 2147483647 w 70"/>
                <a:gd name="T25" fmla="*/ 2147483647 h 38"/>
                <a:gd name="T26" fmla="*/ 2147483647 w 70"/>
                <a:gd name="T27" fmla="*/ 2147483647 h 38"/>
                <a:gd name="T28" fmla="*/ 2147483647 w 70"/>
                <a:gd name="T29" fmla="*/ 2147483647 h 38"/>
                <a:gd name="T30" fmla="*/ 2147483647 w 70"/>
                <a:gd name="T31" fmla="*/ 2147483647 h 38"/>
                <a:gd name="T32" fmla="*/ 2147483647 w 70"/>
                <a:gd name="T33" fmla="*/ 2147483647 h 38"/>
                <a:gd name="T34" fmla="*/ 2147483647 w 70"/>
                <a:gd name="T35" fmla="*/ 2147483647 h 38"/>
                <a:gd name="T36" fmla="*/ 2147483647 w 70"/>
                <a:gd name="T37" fmla="*/ 2147483647 h 38"/>
                <a:gd name="T38" fmla="*/ 2147483647 w 70"/>
                <a:gd name="T39" fmla="*/ 2147483647 h 38"/>
                <a:gd name="T40" fmla="*/ 2147483647 w 70"/>
                <a:gd name="T41" fmla="*/ 2147483647 h 38"/>
                <a:gd name="T42" fmla="*/ 0 w 70"/>
                <a:gd name="T43" fmla="*/ 2147483647 h 38"/>
                <a:gd name="T44" fmla="*/ 2147483647 w 70"/>
                <a:gd name="T45" fmla="*/ 2147483647 h 38"/>
                <a:gd name="T46" fmla="*/ 2147483647 w 70"/>
                <a:gd name="T47" fmla="*/ 2147483647 h 38"/>
                <a:gd name="T48" fmla="*/ 2147483647 w 70"/>
                <a:gd name="T49" fmla="*/ 2147483647 h 38"/>
                <a:gd name="T50" fmla="*/ 2147483647 w 70"/>
                <a:gd name="T51" fmla="*/ 2147483647 h 3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70"/>
                <a:gd name="T79" fmla="*/ 0 h 38"/>
                <a:gd name="T80" fmla="*/ 70 w 70"/>
                <a:gd name="T81" fmla="*/ 38 h 3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70" h="38">
                  <a:moveTo>
                    <a:pt x="24" y="2"/>
                  </a:moveTo>
                  <a:lnTo>
                    <a:pt x="40" y="2"/>
                  </a:lnTo>
                  <a:lnTo>
                    <a:pt x="50" y="0"/>
                  </a:lnTo>
                  <a:lnTo>
                    <a:pt x="58" y="2"/>
                  </a:lnTo>
                  <a:lnTo>
                    <a:pt x="60" y="4"/>
                  </a:lnTo>
                  <a:lnTo>
                    <a:pt x="58" y="8"/>
                  </a:lnTo>
                  <a:lnTo>
                    <a:pt x="56" y="14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0" y="20"/>
                  </a:lnTo>
                  <a:lnTo>
                    <a:pt x="66" y="28"/>
                  </a:lnTo>
                  <a:lnTo>
                    <a:pt x="56" y="30"/>
                  </a:lnTo>
                  <a:lnTo>
                    <a:pt x="50" y="24"/>
                  </a:lnTo>
                  <a:lnTo>
                    <a:pt x="50" y="34"/>
                  </a:lnTo>
                  <a:lnTo>
                    <a:pt x="46" y="36"/>
                  </a:lnTo>
                  <a:lnTo>
                    <a:pt x="40" y="34"/>
                  </a:lnTo>
                  <a:lnTo>
                    <a:pt x="34" y="30"/>
                  </a:lnTo>
                  <a:lnTo>
                    <a:pt x="30" y="32"/>
                  </a:lnTo>
                  <a:lnTo>
                    <a:pt x="30" y="36"/>
                  </a:lnTo>
                  <a:lnTo>
                    <a:pt x="16" y="38"/>
                  </a:lnTo>
                  <a:lnTo>
                    <a:pt x="16" y="28"/>
                  </a:lnTo>
                  <a:lnTo>
                    <a:pt x="0" y="28"/>
                  </a:lnTo>
                  <a:lnTo>
                    <a:pt x="8" y="16"/>
                  </a:lnTo>
                  <a:lnTo>
                    <a:pt x="18" y="6"/>
                  </a:lnTo>
                  <a:lnTo>
                    <a:pt x="22" y="6"/>
                  </a:lnTo>
                  <a:lnTo>
                    <a:pt x="24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68" name="Freeform 184"/>
            <p:cNvSpPr>
              <a:spLocks/>
            </p:cNvSpPr>
            <p:nvPr/>
          </p:nvSpPr>
          <p:spPr bwMode="gray">
            <a:xfrm>
              <a:off x="4935538" y="3368675"/>
              <a:ext cx="347662" cy="136525"/>
            </a:xfrm>
            <a:custGeom>
              <a:avLst/>
              <a:gdLst>
                <a:gd name="T0" fmla="*/ 0 w 292"/>
                <a:gd name="T1" fmla="*/ 2147483647 h 112"/>
                <a:gd name="T2" fmla="*/ 2147483647 w 292"/>
                <a:gd name="T3" fmla="*/ 2147483647 h 112"/>
                <a:gd name="T4" fmla="*/ 2147483647 w 292"/>
                <a:gd name="T5" fmla="*/ 2147483647 h 112"/>
                <a:gd name="T6" fmla="*/ 2147483647 w 292"/>
                <a:gd name="T7" fmla="*/ 2147483647 h 112"/>
                <a:gd name="T8" fmla="*/ 2147483647 w 292"/>
                <a:gd name="T9" fmla="*/ 2147483647 h 112"/>
                <a:gd name="T10" fmla="*/ 2147483647 w 292"/>
                <a:gd name="T11" fmla="*/ 2147483647 h 112"/>
                <a:gd name="T12" fmla="*/ 2147483647 w 292"/>
                <a:gd name="T13" fmla="*/ 2147483647 h 112"/>
                <a:gd name="T14" fmla="*/ 2147483647 w 292"/>
                <a:gd name="T15" fmla="*/ 2147483647 h 112"/>
                <a:gd name="T16" fmla="*/ 2147483647 w 292"/>
                <a:gd name="T17" fmla="*/ 0 h 112"/>
                <a:gd name="T18" fmla="*/ 2147483647 w 292"/>
                <a:gd name="T19" fmla="*/ 2147483647 h 112"/>
                <a:gd name="T20" fmla="*/ 2147483647 w 292"/>
                <a:gd name="T21" fmla="*/ 2147483647 h 112"/>
                <a:gd name="T22" fmla="*/ 2147483647 w 292"/>
                <a:gd name="T23" fmla="*/ 2147483647 h 112"/>
                <a:gd name="T24" fmla="*/ 2147483647 w 292"/>
                <a:gd name="T25" fmla="*/ 2147483647 h 112"/>
                <a:gd name="T26" fmla="*/ 2147483647 w 292"/>
                <a:gd name="T27" fmla="*/ 2147483647 h 112"/>
                <a:gd name="T28" fmla="*/ 2147483647 w 292"/>
                <a:gd name="T29" fmla="*/ 2147483647 h 112"/>
                <a:gd name="T30" fmla="*/ 2147483647 w 292"/>
                <a:gd name="T31" fmla="*/ 2147483647 h 112"/>
                <a:gd name="T32" fmla="*/ 2147483647 w 292"/>
                <a:gd name="T33" fmla="*/ 2147483647 h 112"/>
                <a:gd name="T34" fmla="*/ 2147483647 w 292"/>
                <a:gd name="T35" fmla="*/ 2147483647 h 112"/>
                <a:gd name="T36" fmla="*/ 2147483647 w 292"/>
                <a:gd name="T37" fmla="*/ 2147483647 h 112"/>
                <a:gd name="T38" fmla="*/ 2147483647 w 292"/>
                <a:gd name="T39" fmla="*/ 2147483647 h 112"/>
                <a:gd name="T40" fmla="*/ 2147483647 w 292"/>
                <a:gd name="T41" fmla="*/ 2147483647 h 112"/>
                <a:gd name="T42" fmla="*/ 2147483647 w 292"/>
                <a:gd name="T43" fmla="*/ 2147483647 h 112"/>
                <a:gd name="T44" fmla="*/ 2147483647 w 292"/>
                <a:gd name="T45" fmla="*/ 2147483647 h 112"/>
                <a:gd name="T46" fmla="*/ 2147483647 w 292"/>
                <a:gd name="T47" fmla="*/ 2147483647 h 112"/>
                <a:gd name="T48" fmla="*/ 2147483647 w 292"/>
                <a:gd name="T49" fmla="*/ 2147483647 h 112"/>
                <a:gd name="T50" fmla="*/ 2147483647 w 292"/>
                <a:gd name="T51" fmla="*/ 2147483647 h 112"/>
                <a:gd name="T52" fmla="*/ 2147483647 w 292"/>
                <a:gd name="T53" fmla="*/ 2147483647 h 112"/>
                <a:gd name="T54" fmla="*/ 2147483647 w 292"/>
                <a:gd name="T55" fmla="*/ 2147483647 h 112"/>
                <a:gd name="T56" fmla="*/ 2147483647 w 292"/>
                <a:gd name="T57" fmla="*/ 2147483647 h 112"/>
                <a:gd name="T58" fmla="*/ 2147483647 w 292"/>
                <a:gd name="T59" fmla="*/ 2147483647 h 112"/>
                <a:gd name="T60" fmla="*/ 2147483647 w 292"/>
                <a:gd name="T61" fmla="*/ 2147483647 h 112"/>
                <a:gd name="T62" fmla="*/ 2147483647 w 292"/>
                <a:gd name="T63" fmla="*/ 2147483647 h 112"/>
                <a:gd name="T64" fmla="*/ 2147483647 w 292"/>
                <a:gd name="T65" fmla="*/ 2147483647 h 112"/>
                <a:gd name="T66" fmla="*/ 2147483647 w 292"/>
                <a:gd name="T67" fmla="*/ 2147483647 h 112"/>
                <a:gd name="T68" fmla="*/ 2147483647 w 292"/>
                <a:gd name="T69" fmla="*/ 2147483647 h 112"/>
                <a:gd name="T70" fmla="*/ 2147483647 w 292"/>
                <a:gd name="T71" fmla="*/ 2147483647 h 112"/>
                <a:gd name="T72" fmla="*/ 2147483647 w 292"/>
                <a:gd name="T73" fmla="*/ 2147483647 h 112"/>
                <a:gd name="T74" fmla="*/ 2147483647 w 292"/>
                <a:gd name="T75" fmla="*/ 2147483647 h 112"/>
                <a:gd name="T76" fmla="*/ 2147483647 w 292"/>
                <a:gd name="T77" fmla="*/ 2147483647 h 112"/>
                <a:gd name="T78" fmla="*/ 2147483647 w 292"/>
                <a:gd name="T79" fmla="*/ 2147483647 h 112"/>
                <a:gd name="T80" fmla="*/ 2147483647 w 292"/>
                <a:gd name="T81" fmla="*/ 2147483647 h 112"/>
                <a:gd name="T82" fmla="*/ 2147483647 w 292"/>
                <a:gd name="T83" fmla="*/ 2147483647 h 11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92"/>
                <a:gd name="T127" fmla="*/ 0 h 112"/>
                <a:gd name="T128" fmla="*/ 292 w 292"/>
                <a:gd name="T129" fmla="*/ 112 h 11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92" h="112">
                  <a:moveTo>
                    <a:pt x="10" y="48"/>
                  </a:moveTo>
                  <a:lnTo>
                    <a:pt x="0" y="46"/>
                  </a:lnTo>
                  <a:lnTo>
                    <a:pt x="0" y="42"/>
                  </a:lnTo>
                  <a:lnTo>
                    <a:pt x="6" y="34"/>
                  </a:lnTo>
                  <a:lnTo>
                    <a:pt x="12" y="32"/>
                  </a:lnTo>
                  <a:lnTo>
                    <a:pt x="26" y="34"/>
                  </a:lnTo>
                  <a:lnTo>
                    <a:pt x="38" y="34"/>
                  </a:lnTo>
                  <a:lnTo>
                    <a:pt x="46" y="34"/>
                  </a:lnTo>
                  <a:lnTo>
                    <a:pt x="46" y="28"/>
                  </a:lnTo>
                  <a:lnTo>
                    <a:pt x="52" y="26"/>
                  </a:lnTo>
                  <a:lnTo>
                    <a:pt x="58" y="26"/>
                  </a:lnTo>
                  <a:lnTo>
                    <a:pt x="52" y="22"/>
                  </a:lnTo>
                  <a:lnTo>
                    <a:pt x="46" y="22"/>
                  </a:lnTo>
                  <a:lnTo>
                    <a:pt x="46" y="16"/>
                  </a:lnTo>
                  <a:lnTo>
                    <a:pt x="68" y="18"/>
                  </a:lnTo>
                  <a:lnTo>
                    <a:pt x="82" y="18"/>
                  </a:lnTo>
                  <a:lnTo>
                    <a:pt x="90" y="10"/>
                  </a:lnTo>
                  <a:lnTo>
                    <a:pt x="110" y="0"/>
                  </a:lnTo>
                  <a:lnTo>
                    <a:pt x="140" y="0"/>
                  </a:lnTo>
                  <a:lnTo>
                    <a:pt x="146" y="12"/>
                  </a:lnTo>
                  <a:lnTo>
                    <a:pt x="154" y="10"/>
                  </a:lnTo>
                  <a:lnTo>
                    <a:pt x="160" y="16"/>
                  </a:lnTo>
                  <a:lnTo>
                    <a:pt x="168" y="18"/>
                  </a:lnTo>
                  <a:lnTo>
                    <a:pt x="182" y="22"/>
                  </a:lnTo>
                  <a:lnTo>
                    <a:pt x="200" y="22"/>
                  </a:lnTo>
                  <a:lnTo>
                    <a:pt x="218" y="22"/>
                  </a:lnTo>
                  <a:lnTo>
                    <a:pt x="234" y="18"/>
                  </a:lnTo>
                  <a:lnTo>
                    <a:pt x="242" y="10"/>
                  </a:lnTo>
                  <a:lnTo>
                    <a:pt x="248" y="12"/>
                  </a:lnTo>
                  <a:lnTo>
                    <a:pt x="252" y="14"/>
                  </a:lnTo>
                  <a:lnTo>
                    <a:pt x="254" y="8"/>
                  </a:lnTo>
                  <a:lnTo>
                    <a:pt x="262" y="10"/>
                  </a:lnTo>
                  <a:lnTo>
                    <a:pt x="268" y="16"/>
                  </a:lnTo>
                  <a:lnTo>
                    <a:pt x="274" y="20"/>
                  </a:lnTo>
                  <a:lnTo>
                    <a:pt x="274" y="30"/>
                  </a:lnTo>
                  <a:lnTo>
                    <a:pt x="274" y="42"/>
                  </a:lnTo>
                  <a:lnTo>
                    <a:pt x="286" y="42"/>
                  </a:lnTo>
                  <a:lnTo>
                    <a:pt x="292" y="46"/>
                  </a:lnTo>
                  <a:lnTo>
                    <a:pt x="284" y="48"/>
                  </a:lnTo>
                  <a:lnTo>
                    <a:pt x="282" y="52"/>
                  </a:lnTo>
                  <a:lnTo>
                    <a:pt x="284" y="60"/>
                  </a:lnTo>
                  <a:lnTo>
                    <a:pt x="286" y="68"/>
                  </a:lnTo>
                  <a:lnTo>
                    <a:pt x="288" y="78"/>
                  </a:lnTo>
                  <a:lnTo>
                    <a:pt x="292" y="88"/>
                  </a:lnTo>
                  <a:lnTo>
                    <a:pt x="290" y="92"/>
                  </a:lnTo>
                  <a:lnTo>
                    <a:pt x="282" y="90"/>
                  </a:lnTo>
                  <a:lnTo>
                    <a:pt x="262" y="86"/>
                  </a:lnTo>
                  <a:lnTo>
                    <a:pt x="252" y="92"/>
                  </a:lnTo>
                  <a:lnTo>
                    <a:pt x="226" y="92"/>
                  </a:lnTo>
                  <a:lnTo>
                    <a:pt x="214" y="100"/>
                  </a:lnTo>
                  <a:lnTo>
                    <a:pt x="196" y="102"/>
                  </a:lnTo>
                  <a:lnTo>
                    <a:pt x="190" y="96"/>
                  </a:lnTo>
                  <a:lnTo>
                    <a:pt x="184" y="96"/>
                  </a:lnTo>
                  <a:lnTo>
                    <a:pt x="182" y="100"/>
                  </a:lnTo>
                  <a:lnTo>
                    <a:pt x="170" y="100"/>
                  </a:lnTo>
                  <a:lnTo>
                    <a:pt x="164" y="96"/>
                  </a:lnTo>
                  <a:lnTo>
                    <a:pt x="162" y="104"/>
                  </a:lnTo>
                  <a:lnTo>
                    <a:pt x="154" y="112"/>
                  </a:lnTo>
                  <a:lnTo>
                    <a:pt x="152" y="104"/>
                  </a:lnTo>
                  <a:lnTo>
                    <a:pt x="156" y="96"/>
                  </a:lnTo>
                  <a:lnTo>
                    <a:pt x="150" y="96"/>
                  </a:lnTo>
                  <a:lnTo>
                    <a:pt x="146" y="100"/>
                  </a:lnTo>
                  <a:lnTo>
                    <a:pt x="132" y="98"/>
                  </a:lnTo>
                  <a:lnTo>
                    <a:pt x="128" y="100"/>
                  </a:lnTo>
                  <a:lnTo>
                    <a:pt x="120" y="108"/>
                  </a:lnTo>
                  <a:lnTo>
                    <a:pt x="110" y="110"/>
                  </a:lnTo>
                  <a:lnTo>
                    <a:pt x="100" y="110"/>
                  </a:lnTo>
                  <a:lnTo>
                    <a:pt x="92" y="104"/>
                  </a:lnTo>
                  <a:lnTo>
                    <a:pt x="80" y="100"/>
                  </a:lnTo>
                  <a:lnTo>
                    <a:pt x="72" y="96"/>
                  </a:lnTo>
                  <a:lnTo>
                    <a:pt x="66" y="98"/>
                  </a:lnTo>
                  <a:lnTo>
                    <a:pt x="68" y="104"/>
                  </a:lnTo>
                  <a:lnTo>
                    <a:pt x="66" y="108"/>
                  </a:lnTo>
                  <a:lnTo>
                    <a:pt x="50" y="108"/>
                  </a:lnTo>
                  <a:lnTo>
                    <a:pt x="40" y="100"/>
                  </a:lnTo>
                  <a:lnTo>
                    <a:pt x="34" y="96"/>
                  </a:lnTo>
                  <a:lnTo>
                    <a:pt x="20" y="92"/>
                  </a:lnTo>
                  <a:lnTo>
                    <a:pt x="16" y="84"/>
                  </a:lnTo>
                  <a:lnTo>
                    <a:pt x="16" y="78"/>
                  </a:lnTo>
                  <a:lnTo>
                    <a:pt x="6" y="74"/>
                  </a:lnTo>
                  <a:lnTo>
                    <a:pt x="10" y="68"/>
                  </a:lnTo>
                  <a:lnTo>
                    <a:pt x="14" y="62"/>
                  </a:lnTo>
                  <a:lnTo>
                    <a:pt x="12" y="54"/>
                  </a:lnTo>
                  <a:lnTo>
                    <a:pt x="10" y="4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69" name="Freeform 185"/>
            <p:cNvSpPr>
              <a:spLocks/>
            </p:cNvSpPr>
            <p:nvPr/>
          </p:nvSpPr>
          <p:spPr bwMode="gray">
            <a:xfrm>
              <a:off x="5319713" y="3630613"/>
              <a:ext cx="34925" cy="33337"/>
            </a:xfrm>
            <a:custGeom>
              <a:avLst/>
              <a:gdLst>
                <a:gd name="T0" fmla="*/ 2147483647 w 28"/>
                <a:gd name="T1" fmla="*/ 2147483647 h 28"/>
                <a:gd name="T2" fmla="*/ 2147483647 w 28"/>
                <a:gd name="T3" fmla="*/ 0 h 28"/>
                <a:gd name="T4" fmla="*/ 2147483647 w 28"/>
                <a:gd name="T5" fmla="*/ 0 h 28"/>
                <a:gd name="T6" fmla="*/ 2147483647 w 28"/>
                <a:gd name="T7" fmla="*/ 2147483647 h 28"/>
                <a:gd name="T8" fmla="*/ 0 w 28"/>
                <a:gd name="T9" fmla="*/ 2147483647 h 28"/>
                <a:gd name="T10" fmla="*/ 0 w 28"/>
                <a:gd name="T11" fmla="*/ 2147483647 h 28"/>
                <a:gd name="T12" fmla="*/ 2147483647 w 28"/>
                <a:gd name="T13" fmla="*/ 2147483647 h 28"/>
                <a:gd name="T14" fmla="*/ 2147483647 w 28"/>
                <a:gd name="T15" fmla="*/ 2147483647 h 28"/>
                <a:gd name="T16" fmla="*/ 2147483647 w 28"/>
                <a:gd name="T17" fmla="*/ 2147483647 h 28"/>
                <a:gd name="T18" fmla="*/ 2147483647 w 28"/>
                <a:gd name="T19" fmla="*/ 2147483647 h 28"/>
                <a:gd name="T20" fmla="*/ 2147483647 w 28"/>
                <a:gd name="T21" fmla="*/ 2147483647 h 28"/>
                <a:gd name="T22" fmla="*/ 2147483647 w 28"/>
                <a:gd name="T23" fmla="*/ 2147483647 h 2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8"/>
                <a:gd name="T37" fmla="*/ 0 h 28"/>
                <a:gd name="T38" fmla="*/ 28 w 28"/>
                <a:gd name="T39" fmla="*/ 28 h 2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8" h="28">
                  <a:moveTo>
                    <a:pt x="28" y="4"/>
                  </a:moveTo>
                  <a:lnTo>
                    <a:pt x="18" y="0"/>
                  </a:lnTo>
                  <a:lnTo>
                    <a:pt x="14" y="0"/>
                  </a:lnTo>
                  <a:lnTo>
                    <a:pt x="10" y="2"/>
                  </a:lnTo>
                  <a:lnTo>
                    <a:pt x="0" y="10"/>
                  </a:lnTo>
                  <a:lnTo>
                    <a:pt x="0" y="18"/>
                  </a:lnTo>
                  <a:lnTo>
                    <a:pt x="10" y="20"/>
                  </a:lnTo>
                  <a:lnTo>
                    <a:pt x="18" y="28"/>
                  </a:lnTo>
                  <a:lnTo>
                    <a:pt x="26" y="28"/>
                  </a:lnTo>
                  <a:lnTo>
                    <a:pt x="22" y="18"/>
                  </a:lnTo>
                  <a:lnTo>
                    <a:pt x="22" y="12"/>
                  </a:lnTo>
                  <a:lnTo>
                    <a:pt x="28" y="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70" name="Freeform 186"/>
            <p:cNvSpPr>
              <a:spLocks/>
            </p:cNvSpPr>
            <p:nvPr/>
          </p:nvSpPr>
          <p:spPr bwMode="gray">
            <a:xfrm>
              <a:off x="5403850" y="3721100"/>
              <a:ext cx="100013" cy="66675"/>
            </a:xfrm>
            <a:custGeom>
              <a:avLst/>
              <a:gdLst>
                <a:gd name="T0" fmla="*/ 0 w 84"/>
                <a:gd name="T1" fmla="*/ 2147483647 h 56"/>
                <a:gd name="T2" fmla="*/ 2147483647 w 84"/>
                <a:gd name="T3" fmla="*/ 2147483647 h 56"/>
                <a:gd name="T4" fmla="*/ 2147483647 w 84"/>
                <a:gd name="T5" fmla="*/ 2147483647 h 56"/>
                <a:gd name="T6" fmla="*/ 2147483647 w 84"/>
                <a:gd name="T7" fmla="*/ 2147483647 h 56"/>
                <a:gd name="T8" fmla="*/ 2147483647 w 84"/>
                <a:gd name="T9" fmla="*/ 2147483647 h 56"/>
                <a:gd name="T10" fmla="*/ 2147483647 w 84"/>
                <a:gd name="T11" fmla="*/ 2147483647 h 56"/>
                <a:gd name="T12" fmla="*/ 2147483647 w 84"/>
                <a:gd name="T13" fmla="*/ 2147483647 h 56"/>
                <a:gd name="T14" fmla="*/ 2147483647 w 84"/>
                <a:gd name="T15" fmla="*/ 2147483647 h 56"/>
                <a:gd name="T16" fmla="*/ 2147483647 w 84"/>
                <a:gd name="T17" fmla="*/ 0 h 56"/>
                <a:gd name="T18" fmla="*/ 2147483647 w 84"/>
                <a:gd name="T19" fmla="*/ 2147483647 h 56"/>
                <a:gd name="T20" fmla="*/ 2147483647 w 84"/>
                <a:gd name="T21" fmla="*/ 2147483647 h 56"/>
                <a:gd name="T22" fmla="*/ 2147483647 w 84"/>
                <a:gd name="T23" fmla="*/ 2147483647 h 56"/>
                <a:gd name="T24" fmla="*/ 2147483647 w 84"/>
                <a:gd name="T25" fmla="*/ 2147483647 h 56"/>
                <a:gd name="T26" fmla="*/ 2147483647 w 84"/>
                <a:gd name="T27" fmla="*/ 2147483647 h 56"/>
                <a:gd name="T28" fmla="*/ 2147483647 w 84"/>
                <a:gd name="T29" fmla="*/ 2147483647 h 56"/>
                <a:gd name="T30" fmla="*/ 2147483647 w 84"/>
                <a:gd name="T31" fmla="*/ 2147483647 h 56"/>
                <a:gd name="T32" fmla="*/ 2147483647 w 84"/>
                <a:gd name="T33" fmla="*/ 2147483647 h 56"/>
                <a:gd name="T34" fmla="*/ 2147483647 w 84"/>
                <a:gd name="T35" fmla="*/ 2147483647 h 56"/>
                <a:gd name="T36" fmla="*/ 2147483647 w 84"/>
                <a:gd name="T37" fmla="*/ 2147483647 h 56"/>
                <a:gd name="T38" fmla="*/ 0 w 84"/>
                <a:gd name="T39" fmla="*/ 2147483647 h 5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84"/>
                <a:gd name="T61" fmla="*/ 0 h 56"/>
                <a:gd name="T62" fmla="*/ 84 w 84"/>
                <a:gd name="T63" fmla="*/ 56 h 5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84" h="56">
                  <a:moveTo>
                    <a:pt x="0" y="24"/>
                  </a:moveTo>
                  <a:lnTo>
                    <a:pt x="8" y="34"/>
                  </a:lnTo>
                  <a:lnTo>
                    <a:pt x="22" y="50"/>
                  </a:lnTo>
                  <a:lnTo>
                    <a:pt x="48" y="56"/>
                  </a:lnTo>
                  <a:lnTo>
                    <a:pt x="66" y="56"/>
                  </a:lnTo>
                  <a:lnTo>
                    <a:pt x="84" y="24"/>
                  </a:lnTo>
                  <a:lnTo>
                    <a:pt x="82" y="10"/>
                  </a:lnTo>
                  <a:lnTo>
                    <a:pt x="80" y="2"/>
                  </a:lnTo>
                  <a:lnTo>
                    <a:pt x="76" y="0"/>
                  </a:lnTo>
                  <a:lnTo>
                    <a:pt x="68" y="10"/>
                  </a:lnTo>
                  <a:lnTo>
                    <a:pt x="58" y="18"/>
                  </a:lnTo>
                  <a:lnTo>
                    <a:pt x="50" y="28"/>
                  </a:lnTo>
                  <a:lnTo>
                    <a:pt x="42" y="30"/>
                  </a:lnTo>
                  <a:lnTo>
                    <a:pt x="32" y="26"/>
                  </a:lnTo>
                  <a:lnTo>
                    <a:pt x="26" y="30"/>
                  </a:lnTo>
                  <a:lnTo>
                    <a:pt x="22" y="32"/>
                  </a:lnTo>
                  <a:lnTo>
                    <a:pt x="14" y="30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71" name="Freeform 187"/>
            <p:cNvSpPr>
              <a:spLocks/>
            </p:cNvSpPr>
            <p:nvPr/>
          </p:nvSpPr>
          <p:spPr bwMode="gray">
            <a:xfrm>
              <a:off x="5389563" y="3708400"/>
              <a:ext cx="9525" cy="14288"/>
            </a:xfrm>
            <a:custGeom>
              <a:avLst/>
              <a:gdLst>
                <a:gd name="T0" fmla="*/ 0 w 8"/>
                <a:gd name="T1" fmla="*/ 0 h 12"/>
                <a:gd name="T2" fmla="*/ 2147483647 w 8"/>
                <a:gd name="T3" fmla="*/ 2147483647 h 12"/>
                <a:gd name="T4" fmla="*/ 2147483647 w 8"/>
                <a:gd name="T5" fmla="*/ 2147483647 h 12"/>
                <a:gd name="T6" fmla="*/ 0 w 8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2"/>
                <a:gd name="T14" fmla="*/ 8 w 8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2">
                  <a:moveTo>
                    <a:pt x="0" y="0"/>
                  </a:moveTo>
                  <a:lnTo>
                    <a:pt x="8" y="2"/>
                  </a:lnTo>
                  <a:lnTo>
                    <a:pt x="4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72" name="Freeform 188"/>
            <p:cNvSpPr>
              <a:spLocks/>
            </p:cNvSpPr>
            <p:nvPr/>
          </p:nvSpPr>
          <p:spPr bwMode="gray">
            <a:xfrm>
              <a:off x="5729288" y="3511550"/>
              <a:ext cx="544512" cy="563563"/>
            </a:xfrm>
            <a:custGeom>
              <a:avLst/>
              <a:gdLst>
                <a:gd name="T0" fmla="*/ 2147483647 w 460"/>
                <a:gd name="T1" fmla="*/ 2147483647 h 464"/>
                <a:gd name="T2" fmla="*/ 2147483647 w 460"/>
                <a:gd name="T3" fmla="*/ 2147483647 h 464"/>
                <a:gd name="T4" fmla="*/ 2147483647 w 460"/>
                <a:gd name="T5" fmla="*/ 2147483647 h 464"/>
                <a:gd name="T6" fmla="*/ 2147483647 w 460"/>
                <a:gd name="T7" fmla="*/ 2147483647 h 464"/>
                <a:gd name="T8" fmla="*/ 2147483647 w 460"/>
                <a:gd name="T9" fmla="*/ 2147483647 h 464"/>
                <a:gd name="T10" fmla="*/ 2147483647 w 460"/>
                <a:gd name="T11" fmla="*/ 2147483647 h 464"/>
                <a:gd name="T12" fmla="*/ 2147483647 w 460"/>
                <a:gd name="T13" fmla="*/ 2147483647 h 464"/>
                <a:gd name="T14" fmla="*/ 2147483647 w 460"/>
                <a:gd name="T15" fmla="*/ 2147483647 h 464"/>
                <a:gd name="T16" fmla="*/ 2147483647 w 460"/>
                <a:gd name="T17" fmla="*/ 2147483647 h 464"/>
                <a:gd name="T18" fmla="*/ 2147483647 w 460"/>
                <a:gd name="T19" fmla="*/ 2147483647 h 464"/>
                <a:gd name="T20" fmla="*/ 2147483647 w 460"/>
                <a:gd name="T21" fmla="*/ 2147483647 h 464"/>
                <a:gd name="T22" fmla="*/ 2147483647 w 460"/>
                <a:gd name="T23" fmla="*/ 2147483647 h 464"/>
                <a:gd name="T24" fmla="*/ 2147483647 w 460"/>
                <a:gd name="T25" fmla="*/ 2147483647 h 464"/>
                <a:gd name="T26" fmla="*/ 2147483647 w 460"/>
                <a:gd name="T27" fmla="*/ 2147483647 h 464"/>
                <a:gd name="T28" fmla="*/ 2147483647 w 460"/>
                <a:gd name="T29" fmla="*/ 2147483647 h 464"/>
                <a:gd name="T30" fmla="*/ 2147483647 w 460"/>
                <a:gd name="T31" fmla="*/ 2147483647 h 464"/>
                <a:gd name="T32" fmla="*/ 2147483647 w 460"/>
                <a:gd name="T33" fmla="*/ 2147483647 h 464"/>
                <a:gd name="T34" fmla="*/ 2147483647 w 460"/>
                <a:gd name="T35" fmla="*/ 2147483647 h 464"/>
                <a:gd name="T36" fmla="*/ 2147483647 w 460"/>
                <a:gd name="T37" fmla="*/ 2147483647 h 464"/>
                <a:gd name="T38" fmla="*/ 2147483647 w 460"/>
                <a:gd name="T39" fmla="*/ 2147483647 h 464"/>
                <a:gd name="T40" fmla="*/ 2147483647 w 460"/>
                <a:gd name="T41" fmla="*/ 2147483647 h 464"/>
                <a:gd name="T42" fmla="*/ 2147483647 w 460"/>
                <a:gd name="T43" fmla="*/ 2147483647 h 464"/>
                <a:gd name="T44" fmla="*/ 2147483647 w 460"/>
                <a:gd name="T45" fmla="*/ 2147483647 h 464"/>
                <a:gd name="T46" fmla="*/ 2147483647 w 460"/>
                <a:gd name="T47" fmla="*/ 2147483647 h 464"/>
                <a:gd name="T48" fmla="*/ 2147483647 w 460"/>
                <a:gd name="T49" fmla="*/ 2147483647 h 464"/>
                <a:gd name="T50" fmla="*/ 2147483647 w 460"/>
                <a:gd name="T51" fmla="*/ 2147483647 h 464"/>
                <a:gd name="T52" fmla="*/ 2147483647 w 460"/>
                <a:gd name="T53" fmla="*/ 2147483647 h 464"/>
                <a:gd name="T54" fmla="*/ 2147483647 w 460"/>
                <a:gd name="T55" fmla="*/ 2147483647 h 464"/>
                <a:gd name="T56" fmla="*/ 2147483647 w 460"/>
                <a:gd name="T57" fmla="*/ 2147483647 h 464"/>
                <a:gd name="T58" fmla="*/ 2147483647 w 460"/>
                <a:gd name="T59" fmla="*/ 2147483647 h 464"/>
                <a:gd name="T60" fmla="*/ 2147483647 w 460"/>
                <a:gd name="T61" fmla="*/ 2147483647 h 464"/>
                <a:gd name="T62" fmla="*/ 2147483647 w 460"/>
                <a:gd name="T63" fmla="*/ 2147483647 h 464"/>
                <a:gd name="T64" fmla="*/ 2147483647 w 460"/>
                <a:gd name="T65" fmla="*/ 2147483647 h 464"/>
                <a:gd name="T66" fmla="*/ 2147483647 w 460"/>
                <a:gd name="T67" fmla="*/ 2147483647 h 464"/>
                <a:gd name="T68" fmla="*/ 2147483647 w 460"/>
                <a:gd name="T69" fmla="*/ 2147483647 h 464"/>
                <a:gd name="T70" fmla="*/ 2147483647 w 460"/>
                <a:gd name="T71" fmla="*/ 2147483647 h 464"/>
                <a:gd name="T72" fmla="*/ 2147483647 w 460"/>
                <a:gd name="T73" fmla="*/ 2147483647 h 464"/>
                <a:gd name="T74" fmla="*/ 2147483647 w 460"/>
                <a:gd name="T75" fmla="*/ 2147483647 h 464"/>
                <a:gd name="T76" fmla="*/ 2147483647 w 460"/>
                <a:gd name="T77" fmla="*/ 2147483647 h 464"/>
                <a:gd name="T78" fmla="*/ 2147483647 w 460"/>
                <a:gd name="T79" fmla="*/ 2147483647 h 464"/>
                <a:gd name="T80" fmla="*/ 2147483647 w 460"/>
                <a:gd name="T81" fmla="*/ 2147483647 h 464"/>
                <a:gd name="T82" fmla="*/ 2147483647 w 460"/>
                <a:gd name="T83" fmla="*/ 2147483647 h 464"/>
                <a:gd name="T84" fmla="*/ 2147483647 w 460"/>
                <a:gd name="T85" fmla="*/ 2147483647 h 464"/>
                <a:gd name="T86" fmla="*/ 2147483647 w 460"/>
                <a:gd name="T87" fmla="*/ 2147483647 h 464"/>
                <a:gd name="T88" fmla="*/ 2147483647 w 460"/>
                <a:gd name="T89" fmla="*/ 2147483647 h 464"/>
                <a:gd name="T90" fmla="*/ 2147483647 w 460"/>
                <a:gd name="T91" fmla="*/ 2147483647 h 464"/>
                <a:gd name="T92" fmla="*/ 0 w 460"/>
                <a:gd name="T93" fmla="*/ 2147483647 h 46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60"/>
                <a:gd name="T142" fmla="*/ 0 h 464"/>
                <a:gd name="T143" fmla="*/ 460 w 460"/>
                <a:gd name="T144" fmla="*/ 464 h 46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60" h="464">
                  <a:moveTo>
                    <a:pt x="0" y="208"/>
                  </a:moveTo>
                  <a:lnTo>
                    <a:pt x="6" y="196"/>
                  </a:lnTo>
                  <a:lnTo>
                    <a:pt x="14" y="196"/>
                  </a:lnTo>
                  <a:lnTo>
                    <a:pt x="22" y="202"/>
                  </a:lnTo>
                  <a:lnTo>
                    <a:pt x="26" y="196"/>
                  </a:lnTo>
                  <a:lnTo>
                    <a:pt x="40" y="196"/>
                  </a:lnTo>
                  <a:lnTo>
                    <a:pt x="40" y="186"/>
                  </a:lnTo>
                  <a:lnTo>
                    <a:pt x="28" y="172"/>
                  </a:lnTo>
                  <a:lnTo>
                    <a:pt x="24" y="158"/>
                  </a:lnTo>
                  <a:lnTo>
                    <a:pt x="16" y="158"/>
                  </a:lnTo>
                  <a:lnTo>
                    <a:pt x="16" y="148"/>
                  </a:lnTo>
                  <a:lnTo>
                    <a:pt x="26" y="136"/>
                  </a:lnTo>
                  <a:lnTo>
                    <a:pt x="34" y="136"/>
                  </a:lnTo>
                  <a:lnTo>
                    <a:pt x="42" y="140"/>
                  </a:lnTo>
                  <a:lnTo>
                    <a:pt x="54" y="138"/>
                  </a:lnTo>
                  <a:lnTo>
                    <a:pt x="98" y="82"/>
                  </a:lnTo>
                  <a:lnTo>
                    <a:pt x="100" y="68"/>
                  </a:lnTo>
                  <a:lnTo>
                    <a:pt x="106" y="62"/>
                  </a:lnTo>
                  <a:lnTo>
                    <a:pt x="90" y="48"/>
                  </a:lnTo>
                  <a:lnTo>
                    <a:pt x="88" y="18"/>
                  </a:lnTo>
                  <a:lnTo>
                    <a:pt x="118" y="22"/>
                  </a:lnTo>
                  <a:lnTo>
                    <a:pt x="134" y="18"/>
                  </a:lnTo>
                  <a:lnTo>
                    <a:pt x="140" y="0"/>
                  </a:lnTo>
                  <a:lnTo>
                    <a:pt x="152" y="2"/>
                  </a:lnTo>
                  <a:lnTo>
                    <a:pt x="154" y="16"/>
                  </a:lnTo>
                  <a:lnTo>
                    <a:pt x="164" y="22"/>
                  </a:lnTo>
                  <a:lnTo>
                    <a:pt x="166" y="30"/>
                  </a:lnTo>
                  <a:lnTo>
                    <a:pt x="166" y="40"/>
                  </a:lnTo>
                  <a:lnTo>
                    <a:pt x="178" y="48"/>
                  </a:lnTo>
                  <a:lnTo>
                    <a:pt x="176" y="56"/>
                  </a:lnTo>
                  <a:lnTo>
                    <a:pt x="166" y="58"/>
                  </a:lnTo>
                  <a:lnTo>
                    <a:pt x="162" y="68"/>
                  </a:lnTo>
                  <a:lnTo>
                    <a:pt x="162" y="76"/>
                  </a:lnTo>
                  <a:lnTo>
                    <a:pt x="188" y="88"/>
                  </a:lnTo>
                  <a:lnTo>
                    <a:pt x="200" y="98"/>
                  </a:lnTo>
                  <a:lnTo>
                    <a:pt x="188" y="106"/>
                  </a:lnTo>
                  <a:lnTo>
                    <a:pt x="184" y="122"/>
                  </a:lnTo>
                  <a:lnTo>
                    <a:pt x="204" y="128"/>
                  </a:lnTo>
                  <a:lnTo>
                    <a:pt x="232" y="144"/>
                  </a:lnTo>
                  <a:lnTo>
                    <a:pt x="256" y="146"/>
                  </a:lnTo>
                  <a:lnTo>
                    <a:pt x="272" y="158"/>
                  </a:lnTo>
                  <a:lnTo>
                    <a:pt x="286" y="164"/>
                  </a:lnTo>
                  <a:lnTo>
                    <a:pt x="314" y="162"/>
                  </a:lnTo>
                  <a:lnTo>
                    <a:pt x="312" y="138"/>
                  </a:lnTo>
                  <a:lnTo>
                    <a:pt x="328" y="138"/>
                  </a:lnTo>
                  <a:lnTo>
                    <a:pt x="328" y="146"/>
                  </a:lnTo>
                  <a:lnTo>
                    <a:pt x="330" y="152"/>
                  </a:lnTo>
                  <a:lnTo>
                    <a:pt x="336" y="156"/>
                  </a:lnTo>
                  <a:lnTo>
                    <a:pt x="344" y="158"/>
                  </a:lnTo>
                  <a:lnTo>
                    <a:pt x="374" y="154"/>
                  </a:lnTo>
                  <a:lnTo>
                    <a:pt x="378" y="148"/>
                  </a:lnTo>
                  <a:lnTo>
                    <a:pt x="374" y="138"/>
                  </a:lnTo>
                  <a:lnTo>
                    <a:pt x="384" y="136"/>
                  </a:lnTo>
                  <a:lnTo>
                    <a:pt x="394" y="122"/>
                  </a:lnTo>
                  <a:lnTo>
                    <a:pt x="406" y="122"/>
                  </a:lnTo>
                  <a:lnTo>
                    <a:pt x="412" y="114"/>
                  </a:lnTo>
                  <a:lnTo>
                    <a:pt x="434" y="114"/>
                  </a:lnTo>
                  <a:lnTo>
                    <a:pt x="444" y="112"/>
                  </a:lnTo>
                  <a:lnTo>
                    <a:pt x="444" y="126"/>
                  </a:lnTo>
                  <a:lnTo>
                    <a:pt x="460" y="128"/>
                  </a:lnTo>
                  <a:lnTo>
                    <a:pt x="454" y="138"/>
                  </a:lnTo>
                  <a:lnTo>
                    <a:pt x="454" y="148"/>
                  </a:lnTo>
                  <a:lnTo>
                    <a:pt x="440" y="148"/>
                  </a:lnTo>
                  <a:lnTo>
                    <a:pt x="424" y="162"/>
                  </a:lnTo>
                  <a:lnTo>
                    <a:pt x="422" y="174"/>
                  </a:lnTo>
                  <a:lnTo>
                    <a:pt x="414" y="182"/>
                  </a:lnTo>
                  <a:lnTo>
                    <a:pt x="410" y="202"/>
                  </a:lnTo>
                  <a:lnTo>
                    <a:pt x="396" y="204"/>
                  </a:lnTo>
                  <a:lnTo>
                    <a:pt x="390" y="232"/>
                  </a:lnTo>
                  <a:lnTo>
                    <a:pt x="384" y="238"/>
                  </a:lnTo>
                  <a:lnTo>
                    <a:pt x="382" y="232"/>
                  </a:lnTo>
                  <a:lnTo>
                    <a:pt x="382" y="222"/>
                  </a:lnTo>
                  <a:lnTo>
                    <a:pt x="384" y="210"/>
                  </a:lnTo>
                  <a:lnTo>
                    <a:pt x="374" y="208"/>
                  </a:lnTo>
                  <a:lnTo>
                    <a:pt x="370" y="220"/>
                  </a:lnTo>
                  <a:lnTo>
                    <a:pt x="362" y="216"/>
                  </a:lnTo>
                  <a:lnTo>
                    <a:pt x="362" y="208"/>
                  </a:lnTo>
                  <a:lnTo>
                    <a:pt x="366" y="202"/>
                  </a:lnTo>
                  <a:lnTo>
                    <a:pt x="370" y="200"/>
                  </a:lnTo>
                  <a:lnTo>
                    <a:pt x="378" y="196"/>
                  </a:lnTo>
                  <a:lnTo>
                    <a:pt x="378" y="184"/>
                  </a:lnTo>
                  <a:lnTo>
                    <a:pt x="344" y="184"/>
                  </a:lnTo>
                  <a:lnTo>
                    <a:pt x="338" y="172"/>
                  </a:lnTo>
                  <a:lnTo>
                    <a:pt x="328" y="168"/>
                  </a:lnTo>
                  <a:lnTo>
                    <a:pt x="324" y="162"/>
                  </a:lnTo>
                  <a:lnTo>
                    <a:pt x="318" y="168"/>
                  </a:lnTo>
                  <a:lnTo>
                    <a:pt x="318" y="174"/>
                  </a:lnTo>
                  <a:lnTo>
                    <a:pt x="326" y="182"/>
                  </a:lnTo>
                  <a:lnTo>
                    <a:pt x="314" y="188"/>
                  </a:lnTo>
                  <a:lnTo>
                    <a:pt x="316" y="196"/>
                  </a:lnTo>
                  <a:lnTo>
                    <a:pt x="322" y="200"/>
                  </a:lnTo>
                  <a:lnTo>
                    <a:pt x="324" y="214"/>
                  </a:lnTo>
                  <a:lnTo>
                    <a:pt x="328" y="236"/>
                  </a:lnTo>
                  <a:lnTo>
                    <a:pt x="318" y="242"/>
                  </a:lnTo>
                  <a:lnTo>
                    <a:pt x="296" y="246"/>
                  </a:lnTo>
                  <a:lnTo>
                    <a:pt x="290" y="262"/>
                  </a:lnTo>
                  <a:lnTo>
                    <a:pt x="276" y="274"/>
                  </a:lnTo>
                  <a:lnTo>
                    <a:pt x="262" y="278"/>
                  </a:lnTo>
                  <a:lnTo>
                    <a:pt x="258" y="290"/>
                  </a:lnTo>
                  <a:lnTo>
                    <a:pt x="234" y="312"/>
                  </a:lnTo>
                  <a:lnTo>
                    <a:pt x="222" y="314"/>
                  </a:lnTo>
                  <a:lnTo>
                    <a:pt x="218" y="320"/>
                  </a:lnTo>
                  <a:lnTo>
                    <a:pt x="216" y="328"/>
                  </a:lnTo>
                  <a:lnTo>
                    <a:pt x="204" y="332"/>
                  </a:lnTo>
                  <a:lnTo>
                    <a:pt x="202" y="340"/>
                  </a:lnTo>
                  <a:lnTo>
                    <a:pt x="190" y="342"/>
                  </a:lnTo>
                  <a:lnTo>
                    <a:pt x="182" y="350"/>
                  </a:lnTo>
                  <a:lnTo>
                    <a:pt x="188" y="368"/>
                  </a:lnTo>
                  <a:lnTo>
                    <a:pt x="186" y="376"/>
                  </a:lnTo>
                  <a:lnTo>
                    <a:pt x="188" y="388"/>
                  </a:lnTo>
                  <a:lnTo>
                    <a:pt x="180" y="404"/>
                  </a:lnTo>
                  <a:lnTo>
                    <a:pt x="180" y="424"/>
                  </a:lnTo>
                  <a:lnTo>
                    <a:pt x="166" y="436"/>
                  </a:lnTo>
                  <a:lnTo>
                    <a:pt x="170" y="446"/>
                  </a:lnTo>
                  <a:lnTo>
                    <a:pt x="160" y="446"/>
                  </a:lnTo>
                  <a:lnTo>
                    <a:pt x="156" y="452"/>
                  </a:lnTo>
                  <a:lnTo>
                    <a:pt x="148" y="464"/>
                  </a:lnTo>
                  <a:lnTo>
                    <a:pt x="136" y="460"/>
                  </a:lnTo>
                  <a:lnTo>
                    <a:pt x="124" y="440"/>
                  </a:lnTo>
                  <a:lnTo>
                    <a:pt x="126" y="428"/>
                  </a:lnTo>
                  <a:lnTo>
                    <a:pt x="104" y="390"/>
                  </a:lnTo>
                  <a:lnTo>
                    <a:pt x="102" y="374"/>
                  </a:lnTo>
                  <a:lnTo>
                    <a:pt x="80" y="330"/>
                  </a:lnTo>
                  <a:lnTo>
                    <a:pt x="74" y="278"/>
                  </a:lnTo>
                  <a:lnTo>
                    <a:pt x="68" y="262"/>
                  </a:lnTo>
                  <a:lnTo>
                    <a:pt x="74" y="254"/>
                  </a:lnTo>
                  <a:lnTo>
                    <a:pt x="72" y="246"/>
                  </a:lnTo>
                  <a:lnTo>
                    <a:pt x="68" y="234"/>
                  </a:lnTo>
                  <a:lnTo>
                    <a:pt x="60" y="234"/>
                  </a:lnTo>
                  <a:lnTo>
                    <a:pt x="58" y="246"/>
                  </a:lnTo>
                  <a:lnTo>
                    <a:pt x="46" y="258"/>
                  </a:lnTo>
                  <a:lnTo>
                    <a:pt x="38" y="260"/>
                  </a:lnTo>
                  <a:lnTo>
                    <a:pt x="24" y="252"/>
                  </a:lnTo>
                  <a:lnTo>
                    <a:pt x="20" y="244"/>
                  </a:lnTo>
                  <a:lnTo>
                    <a:pt x="10" y="232"/>
                  </a:lnTo>
                  <a:lnTo>
                    <a:pt x="26" y="232"/>
                  </a:lnTo>
                  <a:lnTo>
                    <a:pt x="32" y="224"/>
                  </a:lnTo>
                  <a:lnTo>
                    <a:pt x="24" y="222"/>
                  </a:lnTo>
                  <a:lnTo>
                    <a:pt x="10" y="222"/>
                  </a:lnTo>
                  <a:lnTo>
                    <a:pt x="4" y="216"/>
                  </a:lnTo>
                  <a:lnTo>
                    <a:pt x="0" y="20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73" name="Freeform 189"/>
            <p:cNvSpPr>
              <a:spLocks/>
            </p:cNvSpPr>
            <p:nvPr/>
          </p:nvSpPr>
          <p:spPr bwMode="gray">
            <a:xfrm>
              <a:off x="6484938" y="3838575"/>
              <a:ext cx="44450" cy="36513"/>
            </a:xfrm>
            <a:custGeom>
              <a:avLst/>
              <a:gdLst>
                <a:gd name="T0" fmla="*/ 2147483647 w 38"/>
                <a:gd name="T1" fmla="*/ 2147483647 h 30"/>
                <a:gd name="T2" fmla="*/ 2147483647 w 38"/>
                <a:gd name="T3" fmla="*/ 0 h 30"/>
                <a:gd name="T4" fmla="*/ 2147483647 w 38"/>
                <a:gd name="T5" fmla="*/ 0 h 30"/>
                <a:gd name="T6" fmla="*/ 2147483647 w 38"/>
                <a:gd name="T7" fmla="*/ 2147483647 h 30"/>
                <a:gd name="T8" fmla="*/ 2147483647 w 38"/>
                <a:gd name="T9" fmla="*/ 2147483647 h 30"/>
                <a:gd name="T10" fmla="*/ 2147483647 w 38"/>
                <a:gd name="T11" fmla="*/ 2147483647 h 30"/>
                <a:gd name="T12" fmla="*/ 2147483647 w 38"/>
                <a:gd name="T13" fmla="*/ 2147483647 h 30"/>
                <a:gd name="T14" fmla="*/ 2147483647 w 38"/>
                <a:gd name="T15" fmla="*/ 2147483647 h 30"/>
                <a:gd name="T16" fmla="*/ 2147483647 w 38"/>
                <a:gd name="T17" fmla="*/ 2147483647 h 30"/>
                <a:gd name="T18" fmla="*/ 2147483647 w 38"/>
                <a:gd name="T19" fmla="*/ 2147483647 h 30"/>
                <a:gd name="T20" fmla="*/ 0 w 38"/>
                <a:gd name="T21" fmla="*/ 2147483647 h 30"/>
                <a:gd name="T22" fmla="*/ 0 w 38"/>
                <a:gd name="T23" fmla="*/ 2147483647 h 30"/>
                <a:gd name="T24" fmla="*/ 2147483647 w 38"/>
                <a:gd name="T25" fmla="*/ 2147483647 h 3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8"/>
                <a:gd name="T40" fmla="*/ 0 h 30"/>
                <a:gd name="T41" fmla="*/ 38 w 38"/>
                <a:gd name="T42" fmla="*/ 30 h 3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8" h="30">
                  <a:moveTo>
                    <a:pt x="10" y="6"/>
                  </a:moveTo>
                  <a:lnTo>
                    <a:pt x="20" y="0"/>
                  </a:lnTo>
                  <a:lnTo>
                    <a:pt x="30" y="0"/>
                  </a:lnTo>
                  <a:lnTo>
                    <a:pt x="38" y="2"/>
                  </a:lnTo>
                  <a:lnTo>
                    <a:pt x="34" y="8"/>
                  </a:lnTo>
                  <a:lnTo>
                    <a:pt x="30" y="14"/>
                  </a:lnTo>
                  <a:lnTo>
                    <a:pt x="30" y="24"/>
                  </a:lnTo>
                  <a:lnTo>
                    <a:pt x="22" y="26"/>
                  </a:lnTo>
                  <a:lnTo>
                    <a:pt x="16" y="30"/>
                  </a:lnTo>
                  <a:lnTo>
                    <a:pt x="6" y="28"/>
                  </a:lnTo>
                  <a:lnTo>
                    <a:pt x="0" y="20"/>
                  </a:lnTo>
                  <a:lnTo>
                    <a:pt x="0" y="10"/>
                  </a:lnTo>
                  <a:lnTo>
                    <a:pt x="10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74" name="Freeform 190"/>
            <p:cNvSpPr>
              <a:spLocks/>
            </p:cNvSpPr>
            <p:nvPr/>
          </p:nvSpPr>
          <p:spPr bwMode="gray">
            <a:xfrm>
              <a:off x="6929438" y="3543300"/>
              <a:ext cx="46037" cy="31750"/>
            </a:xfrm>
            <a:custGeom>
              <a:avLst/>
              <a:gdLst>
                <a:gd name="T0" fmla="*/ 2147483647 w 40"/>
                <a:gd name="T1" fmla="*/ 2147483647 h 26"/>
                <a:gd name="T2" fmla="*/ 2147483647 w 40"/>
                <a:gd name="T3" fmla="*/ 2147483647 h 26"/>
                <a:gd name="T4" fmla="*/ 2147483647 w 40"/>
                <a:gd name="T5" fmla="*/ 2147483647 h 26"/>
                <a:gd name="T6" fmla="*/ 2147483647 w 40"/>
                <a:gd name="T7" fmla="*/ 2147483647 h 26"/>
                <a:gd name="T8" fmla="*/ 2147483647 w 40"/>
                <a:gd name="T9" fmla="*/ 2147483647 h 26"/>
                <a:gd name="T10" fmla="*/ 2147483647 w 40"/>
                <a:gd name="T11" fmla="*/ 2147483647 h 26"/>
                <a:gd name="T12" fmla="*/ 0 w 40"/>
                <a:gd name="T13" fmla="*/ 2147483647 h 26"/>
                <a:gd name="T14" fmla="*/ 2147483647 w 40"/>
                <a:gd name="T15" fmla="*/ 2147483647 h 26"/>
                <a:gd name="T16" fmla="*/ 2147483647 w 40"/>
                <a:gd name="T17" fmla="*/ 2147483647 h 26"/>
                <a:gd name="T18" fmla="*/ 2147483647 w 40"/>
                <a:gd name="T19" fmla="*/ 2147483647 h 26"/>
                <a:gd name="T20" fmla="*/ 2147483647 w 40"/>
                <a:gd name="T21" fmla="*/ 0 h 26"/>
                <a:gd name="T22" fmla="*/ 2147483647 w 40"/>
                <a:gd name="T23" fmla="*/ 0 h 26"/>
                <a:gd name="T24" fmla="*/ 2147483647 w 40"/>
                <a:gd name="T25" fmla="*/ 2147483647 h 26"/>
                <a:gd name="T26" fmla="*/ 2147483647 w 40"/>
                <a:gd name="T27" fmla="*/ 2147483647 h 26"/>
                <a:gd name="T28" fmla="*/ 2147483647 w 40"/>
                <a:gd name="T29" fmla="*/ 2147483647 h 26"/>
                <a:gd name="T30" fmla="*/ 2147483647 w 40"/>
                <a:gd name="T31" fmla="*/ 2147483647 h 2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0"/>
                <a:gd name="T49" fmla="*/ 0 h 26"/>
                <a:gd name="T50" fmla="*/ 40 w 40"/>
                <a:gd name="T51" fmla="*/ 26 h 2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0" h="26">
                  <a:moveTo>
                    <a:pt x="30" y="16"/>
                  </a:moveTo>
                  <a:lnTo>
                    <a:pt x="24" y="14"/>
                  </a:lnTo>
                  <a:lnTo>
                    <a:pt x="18" y="18"/>
                  </a:lnTo>
                  <a:lnTo>
                    <a:pt x="14" y="26"/>
                  </a:lnTo>
                  <a:lnTo>
                    <a:pt x="6" y="24"/>
                  </a:lnTo>
                  <a:lnTo>
                    <a:pt x="6" y="18"/>
                  </a:lnTo>
                  <a:lnTo>
                    <a:pt x="0" y="14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4" y="6"/>
                  </a:lnTo>
                  <a:lnTo>
                    <a:pt x="28" y="0"/>
                  </a:lnTo>
                  <a:lnTo>
                    <a:pt x="36" y="0"/>
                  </a:lnTo>
                  <a:lnTo>
                    <a:pt x="40" y="6"/>
                  </a:lnTo>
                  <a:lnTo>
                    <a:pt x="38" y="8"/>
                  </a:lnTo>
                  <a:lnTo>
                    <a:pt x="34" y="14"/>
                  </a:lnTo>
                  <a:lnTo>
                    <a:pt x="30" y="1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75" name="Freeform 191"/>
            <p:cNvSpPr>
              <a:spLocks/>
            </p:cNvSpPr>
            <p:nvPr/>
          </p:nvSpPr>
          <p:spPr bwMode="gray">
            <a:xfrm>
              <a:off x="6880225" y="3549650"/>
              <a:ext cx="44450" cy="60325"/>
            </a:xfrm>
            <a:custGeom>
              <a:avLst/>
              <a:gdLst>
                <a:gd name="T0" fmla="*/ 2147483647 w 38"/>
                <a:gd name="T1" fmla="*/ 2147483647 h 50"/>
                <a:gd name="T2" fmla="*/ 2147483647 w 38"/>
                <a:gd name="T3" fmla="*/ 2147483647 h 50"/>
                <a:gd name="T4" fmla="*/ 2147483647 w 38"/>
                <a:gd name="T5" fmla="*/ 0 h 50"/>
                <a:gd name="T6" fmla="*/ 2147483647 w 38"/>
                <a:gd name="T7" fmla="*/ 0 h 50"/>
                <a:gd name="T8" fmla="*/ 2147483647 w 38"/>
                <a:gd name="T9" fmla="*/ 2147483647 h 50"/>
                <a:gd name="T10" fmla="*/ 2147483647 w 38"/>
                <a:gd name="T11" fmla="*/ 2147483647 h 50"/>
                <a:gd name="T12" fmla="*/ 2147483647 w 38"/>
                <a:gd name="T13" fmla="*/ 2147483647 h 50"/>
                <a:gd name="T14" fmla="*/ 2147483647 w 38"/>
                <a:gd name="T15" fmla="*/ 2147483647 h 50"/>
                <a:gd name="T16" fmla="*/ 2147483647 w 38"/>
                <a:gd name="T17" fmla="*/ 2147483647 h 50"/>
                <a:gd name="T18" fmla="*/ 2147483647 w 38"/>
                <a:gd name="T19" fmla="*/ 2147483647 h 50"/>
                <a:gd name="T20" fmla="*/ 2147483647 w 38"/>
                <a:gd name="T21" fmla="*/ 2147483647 h 50"/>
                <a:gd name="T22" fmla="*/ 2147483647 w 38"/>
                <a:gd name="T23" fmla="*/ 2147483647 h 50"/>
                <a:gd name="T24" fmla="*/ 2147483647 w 38"/>
                <a:gd name="T25" fmla="*/ 2147483647 h 50"/>
                <a:gd name="T26" fmla="*/ 2147483647 w 38"/>
                <a:gd name="T27" fmla="*/ 2147483647 h 50"/>
                <a:gd name="T28" fmla="*/ 2147483647 w 38"/>
                <a:gd name="T29" fmla="*/ 2147483647 h 50"/>
                <a:gd name="T30" fmla="*/ 2147483647 w 38"/>
                <a:gd name="T31" fmla="*/ 2147483647 h 50"/>
                <a:gd name="T32" fmla="*/ 2147483647 w 38"/>
                <a:gd name="T33" fmla="*/ 2147483647 h 50"/>
                <a:gd name="T34" fmla="*/ 2147483647 w 38"/>
                <a:gd name="T35" fmla="*/ 2147483647 h 50"/>
                <a:gd name="T36" fmla="*/ 2147483647 w 38"/>
                <a:gd name="T37" fmla="*/ 2147483647 h 50"/>
                <a:gd name="T38" fmla="*/ 2147483647 w 38"/>
                <a:gd name="T39" fmla="*/ 2147483647 h 50"/>
                <a:gd name="T40" fmla="*/ 2147483647 w 38"/>
                <a:gd name="T41" fmla="*/ 2147483647 h 50"/>
                <a:gd name="T42" fmla="*/ 0 w 38"/>
                <a:gd name="T43" fmla="*/ 2147483647 h 50"/>
                <a:gd name="T44" fmla="*/ 2147483647 w 38"/>
                <a:gd name="T45" fmla="*/ 2147483647 h 5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8"/>
                <a:gd name="T70" fmla="*/ 0 h 50"/>
                <a:gd name="T71" fmla="*/ 38 w 38"/>
                <a:gd name="T72" fmla="*/ 50 h 5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8" h="50">
                  <a:moveTo>
                    <a:pt x="4" y="12"/>
                  </a:moveTo>
                  <a:lnTo>
                    <a:pt x="10" y="8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8" y="6"/>
                  </a:lnTo>
                  <a:lnTo>
                    <a:pt x="34" y="10"/>
                  </a:lnTo>
                  <a:lnTo>
                    <a:pt x="38" y="16"/>
                  </a:lnTo>
                  <a:lnTo>
                    <a:pt x="36" y="24"/>
                  </a:lnTo>
                  <a:lnTo>
                    <a:pt x="32" y="26"/>
                  </a:lnTo>
                  <a:lnTo>
                    <a:pt x="30" y="32"/>
                  </a:lnTo>
                  <a:lnTo>
                    <a:pt x="30" y="40"/>
                  </a:lnTo>
                  <a:lnTo>
                    <a:pt x="26" y="50"/>
                  </a:lnTo>
                  <a:lnTo>
                    <a:pt x="18" y="48"/>
                  </a:lnTo>
                  <a:lnTo>
                    <a:pt x="18" y="44"/>
                  </a:lnTo>
                  <a:lnTo>
                    <a:pt x="20" y="36"/>
                  </a:lnTo>
                  <a:lnTo>
                    <a:pt x="12" y="36"/>
                  </a:lnTo>
                  <a:lnTo>
                    <a:pt x="14" y="30"/>
                  </a:lnTo>
                  <a:lnTo>
                    <a:pt x="18" y="24"/>
                  </a:lnTo>
                  <a:lnTo>
                    <a:pt x="18" y="20"/>
                  </a:lnTo>
                  <a:lnTo>
                    <a:pt x="16" y="14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4" y="1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76" name="Freeform 192"/>
            <p:cNvSpPr>
              <a:spLocks/>
            </p:cNvSpPr>
            <p:nvPr/>
          </p:nvSpPr>
          <p:spPr bwMode="gray">
            <a:xfrm>
              <a:off x="6819900" y="3451225"/>
              <a:ext cx="60325" cy="87313"/>
            </a:xfrm>
            <a:custGeom>
              <a:avLst/>
              <a:gdLst>
                <a:gd name="T0" fmla="*/ 2147483647 w 50"/>
                <a:gd name="T1" fmla="*/ 2147483647 h 72"/>
                <a:gd name="T2" fmla="*/ 2147483647 w 50"/>
                <a:gd name="T3" fmla="*/ 2147483647 h 72"/>
                <a:gd name="T4" fmla="*/ 2147483647 w 50"/>
                <a:gd name="T5" fmla="*/ 2147483647 h 72"/>
                <a:gd name="T6" fmla="*/ 2147483647 w 50"/>
                <a:gd name="T7" fmla="*/ 2147483647 h 72"/>
                <a:gd name="T8" fmla="*/ 2147483647 w 50"/>
                <a:gd name="T9" fmla="*/ 2147483647 h 72"/>
                <a:gd name="T10" fmla="*/ 2147483647 w 50"/>
                <a:gd name="T11" fmla="*/ 2147483647 h 72"/>
                <a:gd name="T12" fmla="*/ 2147483647 w 50"/>
                <a:gd name="T13" fmla="*/ 2147483647 h 72"/>
                <a:gd name="T14" fmla="*/ 2147483647 w 50"/>
                <a:gd name="T15" fmla="*/ 2147483647 h 72"/>
                <a:gd name="T16" fmla="*/ 2147483647 w 50"/>
                <a:gd name="T17" fmla="*/ 0 h 72"/>
                <a:gd name="T18" fmla="*/ 2147483647 w 50"/>
                <a:gd name="T19" fmla="*/ 2147483647 h 72"/>
                <a:gd name="T20" fmla="*/ 2147483647 w 50"/>
                <a:gd name="T21" fmla="*/ 2147483647 h 72"/>
                <a:gd name="T22" fmla="*/ 2147483647 w 50"/>
                <a:gd name="T23" fmla="*/ 2147483647 h 72"/>
                <a:gd name="T24" fmla="*/ 2147483647 w 50"/>
                <a:gd name="T25" fmla="*/ 2147483647 h 72"/>
                <a:gd name="T26" fmla="*/ 2147483647 w 50"/>
                <a:gd name="T27" fmla="*/ 2147483647 h 72"/>
                <a:gd name="T28" fmla="*/ 2147483647 w 50"/>
                <a:gd name="T29" fmla="*/ 2147483647 h 72"/>
                <a:gd name="T30" fmla="*/ 2147483647 w 50"/>
                <a:gd name="T31" fmla="*/ 2147483647 h 72"/>
                <a:gd name="T32" fmla="*/ 2147483647 w 50"/>
                <a:gd name="T33" fmla="*/ 2147483647 h 72"/>
                <a:gd name="T34" fmla="*/ 2147483647 w 50"/>
                <a:gd name="T35" fmla="*/ 2147483647 h 72"/>
                <a:gd name="T36" fmla="*/ 2147483647 w 50"/>
                <a:gd name="T37" fmla="*/ 2147483647 h 72"/>
                <a:gd name="T38" fmla="*/ 2147483647 w 50"/>
                <a:gd name="T39" fmla="*/ 2147483647 h 72"/>
                <a:gd name="T40" fmla="*/ 2147483647 w 50"/>
                <a:gd name="T41" fmla="*/ 2147483647 h 72"/>
                <a:gd name="T42" fmla="*/ 2147483647 w 50"/>
                <a:gd name="T43" fmla="*/ 2147483647 h 72"/>
                <a:gd name="T44" fmla="*/ 2147483647 w 50"/>
                <a:gd name="T45" fmla="*/ 2147483647 h 72"/>
                <a:gd name="T46" fmla="*/ 2147483647 w 50"/>
                <a:gd name="T47" fmla="*/ 2147483647 h 72"/>
                <a:gd name="T48" fmla="*/ 0 w 50"/>
                <a:gd name="T49" fmla="*/ 2147483647 h 72"/>
                <a:gd name="T50" fmla="*/ 2147483647 w 50"/>
                <a:gd name="T51" fmla="*/ 2147483647 h 72"/>
                <a:gd name="T52" fmla="*/ 2147483647 w 50"/>
                <a:gd name="T53" fmla="*/ 2147483647 h 72"/>
                <a:gd name="T54" fmla="*/ 2147483647 w 50"/>
                <a:gd name="T55" fmla="*/ 2147483647 h 72"/>
                <a:gd name="T56" fmla="*/ 2147483647 w 50"/>
                <a:gd name="T57" fmla="*/ 2147483647 h 72"/>
                <a:gd name="T58" fmla="*/ 2147483647 w 50"/>
                <a:gd name="T59" fmla="*/ 2147483647 h 7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0"/>
                <a:gd name="T91" fmla="*/ 0 h 72"/>
                <a:gd name="T92" fmla="*/ 50 w 50"/>
                <a:gd name="T93" fmla="*/ 72 h 7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0" h="72">
                  <a:moveTo>
                    <a:pt x="2" y="32"/>
                  </a:moveTo>
                  <a:lnTo>
                    <a:pt x="2" y="28"/>
                  </a:lnTo>
                  <a:lnTo>
                    <a:pt x="8" y="30"/>
                  </a:lnTo>
                  <a:lnTo>
                    <a:pt x="12" y="28"/>
                  </a:lnTo>
                  <a:lnTo>
                    <a:pt x="10" y="22"/>
                  </a:lnTo>
                  <a:lnTo>
                    <a:pt x="6" y="20"/>
                  </a:lnTo>
                  <a:lnTo>
                    <a:pt x="10" y="6"/>
                  </a:lnTo>
                  <a:lnTo>
                    <a:pt x="20" y="2"/>
                  </a:lnTo>
                  <a:lnTo>
                    <a:pt x="30" y="0"/>
                  </a:lnTo>
                  <a:lnTo>
                    <a:pt x="38" y="8"/>
                  </a:lnTo>
                  <a:lnTo>
                    <a:pt x="44" y="18"/>
                  </a:lnTo>
                  <a:lnTo>
                    <a:pt x="48" y="30"/>
                  </a:lnTo>
                  <a:lnTo>
                    <a:pt x="50" y="40"/>
                  </a:lnTo>
                  <a:lnTo>
                    <a:pt x="48" y="54"/>
                  </a:lnTo>
                  <a:lnTo>
                    <a:pt x="50" y="54"/>
                  </a:lnTo>
                  <a:lnTo>
                    <a:pt x="50" y="56"/>
                  </a:lnTo>
                  <a:lnTo>
                    <a:pt x="46" y="58"/>
                  </a:lnTo>
                  <a:lnTo>
                    <a:pt x="38" y="62"/>
                  </a:lnTo>
                  <a:lnTo>
                    <a:pt x="34" y="64"/>
                  </a:lnTo>
                  <a:lnTo>
                    <a:pt x="28" y="60"/>
                  </a:lnTo>
                  <a:lnTo>
                    <a:pt x="24" y="64"/>
                  </a:lnTo>
                  <a:lnTo>
                    <a:pt x="16" y="70"/>
                  </a:lnTo>
                  <a:lnTo>
                    <a:pt x="12" y="68"/>
                  </a:lnTo>
                  <a:lnTo>
                    <a:pt x="2" y="72"/>
                  </a:lnTo>
                  <a:lnTo>
                    <a:pt x="0" y="66"/>
                  </a:lnTo>
                  <a:lnTo>
                    <a:pt x="2" y="58"/>
                  </a:lnTo>
                  <a:lnTo>
                    <a:pt x="2" y="48"/>
                  </a:lnTo>
                  <a:lnTo>
                    <a:pt x="6" y="46"/>
                  </a:lnTo>
                  <a:lnTo>
                    <a:pt x="6" y="38"/>
                  </a:lnTo>
                  <a:lnTo>
                    <a:pt x="2" y="3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77" name="Freeform 193" descr="Diagonal hell nach oben"/>
            <p:cNvSpPr>
              <a:spLocks/>
            </p:cNvSpPr>
            <p:nvPr/>
          </p:nvSpPr>
          <p:spPr bwMode="gray">
            <a:xfrm>
              <a:off x="2824163" y="4014788"/>
              <a:ext cx="58737" cy="50800"/>
            </a:xfrm>
            <a:custGeom>
              <a:avLst/>
              <a:gdLst>
                <a:gd name="T0" fmla="*/ 2147483647 w 50"/>
                <a:gd name="T1" fmla="*/ 2147483647 h 44"/>
                <a:gd name="T2" fmla="*/ 2147483647 w 50"/>
                <a:gd name="T3" fmla="*/ 2147483647 h 44"/>
                <a:gd name="T4" fmla="*/ 2147483647 w 50"/>
                <a:gd name="T5" fmla="*/ 2147483647 h 44"/>
                <a:gd name="T6" fmla="*/ 2147483647 w 50"/>
                <a:gd name="T7" fmla="*/ 2147483647 h 44"/>
                <a:gd name="T8" fmla="*/ 2147483647 w 50"/>
                <a:gd name="T9" fmla="*/ 2147483647 h 44"/>
                <a:gd name="T10" fmla="*/ 0 w 50"/>
                <a:gd name="T11" fmla="*/ 2147483647 h 44"/>
                <a:gd name="T12" fmla="*/ 0 w 50"/>
                <a:gd name="T13" fmla="*/ 2147483647 h 44"/>
                <a:gd name="T14" fmla="*/ 2147483647 w 50"/>
                <a:gd name="T15" fmla="*/ 2147483647 h 44"/>
                <a:gd name="T16" fmla="*/ 2147483647 w 50"/>
                <a:gd name="T17" fmla="*/ 0 h 44"/>
                <a:gd name="T18" fmla="*/ 2147483647 w 50"/>
                <a:gd name="T19" fmla="*/ 2147483647 h 44"/>
                <a:gd name="T20" fmla="*/ 2147483647 w 50"/>
                <a:gd name="T21" fmla="*/ 2147483647 h 44"/>
                <a:gd name="T22" fmla="*/ 2147483647 w 50"/>
                <a:gd name="T23" fmla="*/ 2147483647 h 44"/>
                <a:gd name="T24" fmla="*/ 2147483647 w 50"/>
                <a:gd name="T25" fmla="*/ 2147483647 h 44"/>
                <a:gd name="T26" fmla="*/ 2147483647 w 50"/>
                <a:gd name="T27" fmla="*/ 2147483647 h 44"/>
                <a:gd name="T28" fmla="*/ 2147483647 w 50"/>
                <a:gd name="T29" fmla="*/ 2147483647 h 44"/>
                <a:gd name="T30" fmla="*/ 2147483647 w 50"/>
                <a:gd name="T31" fmla="*/ 2147483647 h 44"/>
                <a:gd name="T32" fmla="*/ 2147483647 w 50"/>
                <a:gd name="T33" fmla="*/ 2147483647 h 44"/>
                <a:gd name="T34" fmla="*/ 2147483647 w 50"/>
                <a:gd name="T35" fmla="*/ 2147483647 h 44"/>
                <a:gd name="T36" fmla="*/ 2147483647 w 50"/>
                <a:gd name="T37" fmla="*/ 2147483647 h 44"/>
                <a:gd name="T38" fmla="*/ 2147483647 w 50"/>
                <a:gd name="T39" fmla="*/ 2147483647 h 44"/>
                <a:gd name="T40" fmla="*/ 2147483647 w 50"/>
                <a:gd name="T41" fmla="*/ 2147483647 h 44"/>
                <a:gd name="T42" fmla="*/ 2147483647 w 50"/>
                <a:gd name="T43" fmla="*/ 2147483647 h 44"/>
                <a:gd name="T44" fmla="*/ 2147483647 w 50"/>
                <a:gd name="T45" fmla="*/ 2147483647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0"/>
                <a:gd name="T70" fmla="*/ 0 h 44"/>
                <a:gd name="T71" fmla="*/ 50 w 50"/>
                <a:gd name="T72" fmla="*/ 44 h 44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0" h="44">
                  <a:moveTo>
                    <a:pt x="18" y="20"/>
                  </a:moveTo>
                  <a:lnTo>
                    <a:pt x="12" y="16"/>
                  </a:lnTo>
                  <a:lnTo>
                    <a:pt x="10" y="22"/>
                  </a:lnTo>
                  <a:lnTo>
                    <a:pt x="8" y="24"/>
                  </a:lnTo>
                  <a:lnTo>
                    <a:pt x="2" y="20"/>
                  </a:lnTo>
                  <a:lnTo>
                    <a:pt x="0" y="16"/>
                  </a:lnTo>
                  <a:lnTo>
                    <a:pt x="0" y="10"/>
                  </a:lnTo>
                  <a:lnTo>
                    <a:pt x="2" y="6"/>
                  </a:lnTo>
                  <a:lnTo>
                    <a:pt x="2" y="0"/>
                  </a:lnTo>
                  <a:lnTo>
                    <a:pt x="18" y="2"/>
                  </a:lnTo>
                  <a:lnTo>
                    <a:pt x="30" y="6"/>
                  </a:lnTo>
                  <a:lnTo>
                    <a:pt x="34" y="10"/>
                  </a:lnTo>
                  <a:lnTo>
                    <a:pt x="42" y="18"/>
                  </a:lnTo>
                  <a:lnTo>
                    <a:pt x="48" y="24"/>
                  </a:lnTo>
                  <a:lnTo>
                    <a:pt x="50" y="28"/>
                  </a:lnTo>
                  <a:lnTo>
                    <a:pt x="46" y="30"/>
                  </a:lnTo>
                  <a:lnTo>
                    <a:pt x="44" y="36"/>
                  </a:lnTo>
                  <a:lnTo>
                    <a:pt x="42" y="42"/>
                  </a:lnTo>
                  <a:lnTo>
                    <a:pt x="38" y="44"/>
                  </a:lnTo>
                  <a:lnTo>
                    <a:pt x="34" y="32"/>
                  </a:lnTo>
                  <a:lnTo>
                    <a:pt x="28" y="26"/>
                  </a:lnTo>
                  <a:lnTo>
                    <a:pt x="24" y="24"/>
                  </a:lnTo>
                  <a:lnTo>
                    <a:pt x="18" y="2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78" name="Freeform 194"/>
            <p:cNvSpPr>
              <a:spLocks/>
            </p:cNvSpPr>
            <p:nvPr/>
          </p:nvSpPr>
          <p:spPr bwMode="gray">
            <a:xfrm>
              <a:off x="3317875" y="3141663"/>
              <a:ext cx="128588" cy="120650"/>
            </a:xfrm>
            <a:custGeom>
              <a:avLst/>
              <a:gdLst>
                <a:gd name="T0" fmla="*/ 2147483647 w 110"/>
                <a:gd name="T1" fmla="*/ 2147483647 h 100"/>
                <a:gd name="T2" fmla="*/ 2147483647 w 110"/>
                <a:gd name="T3" fmla="*/ 2147483647 h 100"/>
                <a:gd name="T4" fmla="*/ 2147483647 w 110"/>
                <a:gd name="T5" fmla="*/ 2147483647 h 100"/>
                <a:gd name="T6" fmla="*/ 2147483647 w 110"/>
                <a:gd name="T7" fmla="*/ 0 h 100"/>
                <a:gd name="T8" fmla="*/ 2147483647 w 110"/>
                <a:gd name="T9" fmla="*/ 2147483647 h 100"/>
                <a:gd name="T10" fmla="*/ 2147483647 w 110"/>
                <a:gd name="T11" fmla="*/ 2147483647 h 100"/>
                <a:gd name="T12" fmla="*/ 2147483647 w 110"/>
                <a:gd name="T13" fmla="*/ 2147483647 h 100"/>
                <a:gd name="T14" fmla="*/ 2147483647 w 110"/>
                <a:gd name="T15" fmla="*/ 2147483647 h 100"/>
                <a:gd name="T16" fmla="*/ 2147483647 w 110"/>
                <a:gd name="T17" fmla="*/ 2147483647 h 100"/>
                <a:gd name="T18" fmla="*/ 2147483647 w 110"/>
                <a:gd name="T19" fmla="*/ 2147483647 h 100"/>
                <a:gd name="T20" fmla="*/ 2147483647 w 110"/>
                <a:gd name="T21" fmla="*/ 2147483647 h 100"/>
                <a:gd name="T22" fmla="*/ 2147483647 w 110"/>
                <a:gd name="T23" fmla="*/ 2147483647 h 100"/>
                <a:gd name="T24" fmla="*/ 2147483647 w 110"/>
                <a:gd name="T25" fmla="*/ 2147483647 h 100"/>
                <a:gd name="T26" fmla="*/ 2147483647 w 110"/>
                <a:gd name="T27" fmla="*/ 2147483647 h 100"/>
                <a:gd name="T28" fmla="*/ 2147483647 w 110"/>
                <a:gd name="T29" fmla="*/ 2147483647 h 100"/>
                <a:gd name="T30" fmla="*/ 2147483647 w 110"/>
                <a:gd name="T31" fmla="*/ 2147483647 h 100"/>
                <a:gd name="T32" fmla="*/ 2147483647 w 110"/>
                <a:gd name="T33" fmla="*/ 2147483647 h 100"/>
                <a:gd name="T34" fmla="*/ 2147483647 w 110"/>
                <a:gd name="T35" fmla="*/ 2147483647 h 100"/>
                <a:gd name="T36" fmla="*/ 2147483647 w 110"/>
                <a:gd name="T37" fmla="*/ 2147483647 h 100"/>
                <a:gd name="T38" fmla="*/ 2147483647 w 110"/>
                <a:gd name="T39" fmla="*/ 2147483647 h 100"/>
                <a:gd name="T40" fmla="*/ 2147483647 w 110"/>
                <a:gd name="T41" fmla="*/ 2147483647 h 100"/>
                <a:gd name="T42" fmla="*/ 2147483647 w 110"/>
                <a:gd name="T43" fmla="*/ 2147483647 h 100"/>
                <a:gd name="T44" fmla="*/ 2147483647 w 110"/>
                <a:gd name="T45" fmla="*/ 2147483647 h 100"/>
                <a:gd name="T46" fmla="*/ 2147483647 w 110"/>
                <a:gd name="T47" fmla="*/ 2147483647 h 100"/>
                <a:gd name="T48" fmla="*/ 2147483647 w 110"/>
                <a:gd name="T49" fmla="*/ 2147483647 h 100"/>
                <a:gd name="T50" fmla="*/ 0 w 110"/>
                <a:gd name="T51" fmla="*/ 2147483647 h 100"/>
                <a:gd name="T52" fmla="*/ 2147483647 w 110"/>
                <a:gd name="T53" fmla="*/ 2147483647 h 100"/>
                <a:gd name="T54" fmla="*/ 2147483647 w 110"/>
                <a:gd name="T55" fmla="*/ 2147483647 h 100"/>
                <a:gd name="T56" fmla="*/ 2147483647 w 110"/>
                <a:gd name="T57" fmla="*/ 2147483647 h 100"/>
                <a:gd name="T58" fmla="*/ 2147483647 w 110"/>
                <a:gd name="T59" fmla="*/ 2147483647 h 10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10"/>
                <a:gd name="T91" fmla="*/ 0 h 100"/>
                <a:gd name="T92" fmla="*/ 110 w 110"/>
                <a:gd name="T93" fmla="*/ 100 h 10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10" h="100">
                  <a:moveTo>
                    <a:pt x="30" y="36"/>
                  </a:moveTo>
                  <a:lnTo>
                    <a:pt x="40" y="20"/>
                  </a:lnTo>
                  <a:lnTo>
                    <a:pt x="54" y="6"/>
                  </a:lnTo>
                  <a:lnTo>
                    <a:pt x="66" y="0"/>
                  </a:lnTo>
                  <a:lnTo>
                    <a:pt x="62" y="8"/>
                  </a:lnTo>
                  <a:lnTo>
                    <a:pt x="58" y="20"/>
                  </a:lnTo>
                  <a:lnTo>
                    <a:pt x="62" y="34"/>
                  </a:lnTo>
                  <a:lnTo>
                    <a:pt x="72" y="44"/>
                  </a:lnTo>
                  <a:lnTo>
                    <a:pt x="82" y="38"/>
                  </a:lnTo>
                  <a:lnTo>
                    <a:pt x="86" y="44"/>
                  </a:lnTo>
                  <a:lnTo>
                    <a:pt x="94" y="46"/>
                  </a:lnTo>
                  <a:lnTo>
                    <a:pt x="90" y="54"/>
                  </a:lnTo>
                  <a:lnTo>
                    <a:pt x="100" y="64"/>
                  </a:lnTo>
                  <a:lnTo>
                    <a:pt x="106" y="66"/>
                  </a:lnTo>
                  <a:lnTo>
                    <a:pt x="108" y="74"/>
                  </a:lnTo>
                  <a:lnTo>
                    <a:pt x="110" y="86"/>
                  </a:lnTo>
                  <a:lnTo>
                    <a:pt x="106" y="96"/>
                  </a:lnTo>
                  <a:lnTo>
                    <a:pt x="92" y="100"/>
                  </a:lnTo>
                  <a:lnTo>
                    <a:pt x="86" y="90"/>
                  </a:lnTo>
                  <a:lnTo>
                    <a:pt x="78" y="82"/>
                  </a:lnTo>
                  <a:lnTo>
                    <a:pt x="72" y="88"/>
                  </a:lnTo>
                  <a:lnTo>
                    <a:pt x="70" y="94"/>
                  </a:lnTo>
                  <a:lnTo>
                    <a:pt x="60" y="90"/>
                  </a:lnTo>
                  <a:lnTo>
                    <a:pt x="58" y="78"/>
                  </a:lnTo>
                  <a:lnTo>
                    <a:pt x="30" y="82"/>
                  </a:lnTo>
                  <a:lnTo>
                    <a:pt x="0" y="80"/>
                  </a:lnTo>
                  <a:lnTo>
                    <a:pt x="2" y="66"/>
                  </a:lnTo>
                  <a:lnTo>
                    <a:pt x="16" y="52"/>
                  </a:lnTo>
                  <a:lnTo>
                    <a:pt x="22" y="44"/>
                  </a:lnTo>
                  <a:lnTo>
                    <a:pt x="30" y="3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79" name="Freeform 195"/>
            <p:cNvSpPr>
              <a:spLocks/>
            </p:cNvSpPr>
            <p:nvPr/>
          </p:nvSpPr>
          <p:spPr bwMode="gray">
            <a:xfrm>
              <a:off x="3230563" y="3182938"/>
              <a:ext cx="46037" cy="22225"/>
            </a:xfrm>
            <a:custGeom>
              <a:avLst/>
              <a:gdLst>
                <a:gd name="T0" fmla="*/ 0 w 38"/>
                <a:gd name="T1" fmla="*/ 2147483647 h 18"/>
                <a:gd name="T2" fmla="*/ 2147483647 w 38"/>
                <a:gd name="T3" fmla="*/ 2147483647 h 18"/>
                <a:gd name="T4" fmla="*/ 2147483647 w 38"/>
                <a:gd name="T5" fmla="*/ 2147483647 h 18"/>
                <a:gd name="T6" fmla="*/ 2147483647 w 38"/>
                <a:gd name="T7" fmla="*/ 2147483647 h 18"/>
                <a:gd name="T8" fmla="*/ 2147483647 w 38"/>
                <a:gd name="T9" fmla="*/ 2147483647 h 18"/>
                <a:gd name="T10" fmla="*/ 2147483647 w 38"/>
                <a:gd name="T11" fmla="*/ 2147483647 h 18"/>
                <a:gd name="T12" fmla="*/ 2147483647 w 38"/>
                <a:gd name="T13" fmla="*/ 2147483647 h 18"/>
                <a:gd name="T14" fmla="*/ 2147483647 w 38"/>
                <a:gd name="T15" fmla="*/ 0 h 18"/>
                <a:gd name="T16" fmla="*/ 2147483647 w 38"/>
                <a:gd name="T17" fmla="*/ 0 h 18"/>
                <a:gd name="T18" fmla="*/ 0 w 38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8"/>
                <a:gd name="T31" fmla="*/ 0 h 18"/>
                <a:gd name="T32" fmla="*/ 38 w 38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8" h="18">
                  <a:moveTo>
                    <a:pt x="0" y="2"/>
                  </a:moveTo>
                  <a:lnTo>
                    <a:pt x="8" y="8"/>
                  </a:lnTo>
                  <a:lnTo>
                    <a:pt x="18" y="14"/>
                  </a:lnTo>
                  <a:lnTo>
                    <a:pt x="34" y="18"/>
                  </a:lnTo>
                  <a:lnTo>
                    <a:pt x="38" y="12"/>
                  </a:lnTo>
                  <a:lnTo>
                    <a:pt x="30" y="6"/>
                  </a:lnTo>
                  <a:lnTo>
                    <a:pt x="22" y="2"/>
                  </a:lnTo>
                  <a:lnTo>
                    <a:pt x="14" y="0"/>
                  </a:lnTo>
                  <a:lnTo>
                    <a:pt x="8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849BCD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80" name="Freeform 196" descr="Diagonal weit nach oben"/>
            <p:cNvSpPr>
              <a:spLocks/>
            </p:cNvSpPr>
            <p:nvPr/>
          </p:nvSpPr>
          <p:spPr bwMode="gray">
            <a:xfrm>
              <a:off x="2027238" y="3157538"/>
              <a:ext cx="85725" cy="60325"/>
            </a:xfrm>
            <a:custGeom>
              <a:avLst/>
              <a:gdLst>
                <a:gd name="T0" fmla="*/ 0 w 72"/>
                <a:gd name="T1" fmla="*/ 0 h 50"/>
                <a:gd name="T2" fmla="*/ 2147483647 w 72"/>
                <a:gd name="T3" fmla="*/ 2147483647 h 50"/>
                <a:gd name="T4" fmla="*/ 2147483647 w 72"/>
                <a:gd name="T5" fmla="*/ 2147483647 h 50"/>
                <a:gd name="T6" fmla="*/ 2147483647 w 72"/>
                <a:gd name="T7" fmla="*/ 2147483647 h 50"/>
                <a:gd name="T8" fmla="*/ 2147483647 w 72"/>
                <a:gd name="T9" fmla="*/ 2147483647 h 50"/>
                <a:gd name="T10" fmla="*/ 2147483647 w 72"/>
                <a:gd name="T11" fmla="*/ 2147483647 h 50"/>
                <a:gd name="T12" fmla="*/ 2147483647 w 72"/>
                <a:gd name="T13" fmla="*/ 2147483647 h 50"/>
                <a:gd name="T14" fmla="*/ 2147483647 w 72"/>
                <a:gd name="T15" fmla="*/ 2147483647 h 50"/>
                <a:gd name="T16" fmla="*/ 2147483647 w 72"/>
                <a:gd name="T17" fmla="*/ 2147483647 h 50"/>
                <a:gd name="T18" fmla="*/ 2147483647 w 72"/>
                <a:gd name="T19" fmla="*/ 2147483647 h 50"/>
                <a:gd name="T20" fmla="*/ 2147483647 w 72"/>
                <a:gd name="T21" fmla="*/ 2147483647 h 50"/>
                <a:gd name="T22" fmla="*/ 2147483647 w 72"/>
                <a:gd name="T23" fmla="*/ 2147483647 h 50"/>
                <a:gd name="T24" fmla="*/ 2147483647 w 72"/>
                <a:gd name="T25" fmla="*/ 2147483647 h 50"/>
                <a:gd name="T26" fmla="*/ 2147483647 w 72"/>
                <a:gd name="T27" fmla="*/ 2147483647 h 50"/>
                <a:gd name="T28" fmla="*/ 2147483647 w 72"/>
                <a:gd name="T29" fmla="*/ 2147483647 h 50"/>
                <a:gd name="T30" fmla="*/ 2147483647 w 72"/>
                <a:gd name="T31" fmla="*/ 2147483647 h 50"/>
                <a:gd name="T32" fmla="*/ 2147483647 w 72"/>
                <a:gd name="T33" fmla="*/ 2147483647 h 50"/>
                <a:gd name="T34" fmla="*/ 2147483647 w 72"/>
                <a:gd name="T35" fmla="*/ 2147483647 h 50"/>
                <a:gd name="T36" fmla="*/ 2147483647 w 72"/>
                <a:gd name="T37" fmla="*/ 2147483647 h 50"/>
                <a:gd name="T38" fmla="*/ 2147483647 w 72"/>
                <a:gd name="T39" fmla="*/ 2147483647 h 50"/>
                <a:gd name="T40" fmla="*/ 2147483647 w 72"/>
                <a:gd name="T41" fmla="*/ 2147483647 h 50"/>
                <a:gd name="T42" fmla="*/ 0 w 72"/>
                <a:gd name="T43" fmla="*/ 2147483647 h 50"/>
                <a:gd name="T44" fmla="*/ 0 w 72"/>
                <a:gd name="T45" fmla="*/ 0 h 5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2"/>
                <a:gd name="T70" fmla="*/ 0 h 50"/>
                <a:gd name="T71" fmla="*/ 72 w 72"/>
                <a:gd name="T72" fmla="*/ 50 h 5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2" h="50">
                  <a:moveTo>
                    <a:pt x="0" y="0"/>
                  </a:moveTo>
                  <a:lnTo>
                    <a:pt x="12" y="2"/>
                  </a:lnTo>
                  <a:lnTo>
                    <a:pt x="24" y="6"/>
                  </a:lnTo>
                  <a:lnTo>
                    <a:pt x="32" y="10"/>
                  </a:lnTo>
                  <a:lnTo>
                    <a:pt x="42" y="16"/>
                  </a:lnTo>
                  <a:lnTo>
                    <a:pt x="50" y="26"/>
                  </a:lnTo>
                  <a:lnTo>
                    <a:pt x="56" y="30"/>
                  </a:lnTo>
                  <a:lnTo>
                    <a:pt x="66" y="36"/>
                  </a:lnTo>
                  <a:lnTo>
                    <a:pt x="70" y="42"/>
                  </a:lnTo>
                  <a:lnTo>
                    <a:pt x="72" y="46"/>
                  </a:lnTo>
                  <a:lnTo>
                    <a:pt x="66" y="48"/>
                  </a:lnTo>
                  <a:lnTo>
                    <a:pt x="56" y="50"/>
                  </a:lnTo>
                  <a:lnTo>
                    <a:pt x="46" y="46"/>
                  </a:lnTo>
                  <a:lnTo>
                    <a:pt x="46" y="38"/>
                  </a:lnTo>
                  <a:lnTo>
                    <a:pt x="40" y="38"/>
                  </a:lnTo>
                  <a:lnTo>
                    <a:pt x="34" y="32"/>
                  </a:lnTo>
                  <a:lnTo>
                    <a:pt x="28" y="24"/>
                  </a:lnTo>
                  <a:lnTo>
                    <a:pt x="22" y="24"/>
                  </a:lnTo>
                  <a:lnTo>
                    <a:pt x="20" y="18"/>
                  </a:lnTo>
                  <a:lnTo>
                    <a:pt x="14" y="18"/>
                  </a:lnTo>
                  <a:lnTo>
                    <a:pt x="6" y="14"/>
                  </a:lnTo>
                  <a:lnTo>
                    <a:pt x="0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EE4F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81" name="Freeform 197"/>
            <p:cNvSpPr>
              <a:spLocks/>
            </p:cNvSpPr>
            <p:nvPr/>
          </p:nvSpPr>
          <p:spPr bwMode="gray">
            <a:xfrm>
              <a:off x="2232025" y="3578225"/>
              <a:ext cx="571500" cy="369888"/>
            </a:xfrm>
            <a:custGeom>
              <a:avLst/>
              <a:gdLst>
                <a:gd name="T0" fmla="*/ 2147483647 w 482"/>
                <a:gd name="T1" fmla="*/ 2147483647 h 306"/>
                <a:gd name="T2" fmla="*/ 2147483647 w 482"/>
                <a:gd name="T3" fmla="*/ 2147483647 h 306"/>
                <a:gd name="T4" fmla="*/ 2147483647 w 482"/>
                <a:gd name="T5" fmla="*/ 2147483647 h 306"/>
                <a:gd name="T6" fmla="*/ 2147483647 w 482"/>
                <a:gd name="T7" fmla="*/ 2147483647 h 306"/>
                <a:gd name="T8" fmla="*/ 2147483647 w 482"/>
                <a:gd name="T9" fmla="*/ 2147483647 h 306"/>
                <a:gd name="T10" fmla="*/ 2147483647 w 482"/>
                <a:gd name="T11" fmla="*/ 2147483647 h 306"/>
                <a:gd name="T12" fmla="*/ 2147483647 w 482"/>
                <a:gd name="T13" fmla="*/ 2147483647 h 306"/>
                <a:gd name="T14" fmla="*/ 2147483647 w 482"/>
                <a:gd name="T15" fmla="*/ 2147483647 h 306"/>
                <a:gd name="T16" fmla="*/ 2147483647 w 482"/>
                <a:gd name="T17" fmla="*/ 2147483647 h 306"/>
                <a:gd name="T18" fmla="*/ 2147483647 w 482"/>
                <a:gd name="T19" fmla="*/ 2147483647 h 306"/>
                <a:gd name="T20" fmla="*/ 2147483647 w 482"/>
                <a:gd name="T21" fmla="*/ 2147483647 h 306"/>
                <a:gd name="T22" fmla="*/ 2147483647 w 482"/>
                <a:gd name="T23" fmla="*/ 2147483647 h 306"/>
                <a:gd name="T24" fmla="*/ 2147483647 w 482"/>
                <a:gd name="T25" fmla="*/ 2147483647 h 306"/>
                <a:gd name="T26" fmla="*/ 2147483647 w 482"/>
                <a:gd name="T27" fmla="*/ 2147483647 h 306"/>
                <a:gd name="T28" fmla="*/ 2147483647 w 482"/>
                <a:gd name="T29" fmla="*/ 2147483647 h 306"/>
                <a:gd name="T30" fmla="*/ 2147483647 w 482"/>
                <a:gd name="T31" fmla="*/ 2147483647 h 306"/>
                <a:gd name="T32" fmla="*/ 2147483647 w 482"/>
                <a:gd name="T33" fmla="*/ 2147483647 h 306"/>
                <a:gd name="T34" fmla="*/ 2147483647 w 482"/>
                <a:gd name="T35" fmla="*/ 2147483647 h 306"/>
                <a:gd name="T36" fmla="*/ 2147483647 w 482"/>
                <a:gd name="T37" fmla="*/ 2147483647 h 306"/>
                <a:gd name="T38" fmla="*/ 2147483647 w 482"/>
                <a:gd name="T39" fmla="*/ 2147483647 h 306"/>
                <a:gd name="T40" fmla="*/ 2147483647 w 482"/>
                <a:gd name="T41" fmla="*/ 2147483647 h 306"/>
                <a:gd name="T42" fmla="*/ 2147483647 w 482"/>
                <a:gd name="T43" fmla="*/ 2147483647 h 306"/>
                <a:gd name="T44" fmla="*/ 2147483647 w 482"/>
                <a:gd name="T45" fmla="*/ 2147483647 h 306"/>
                <a:gd name="T46" fmla="*/ 2147483647 w 482"/>
                <a:gd name="T47" fmla="*/ 2147483647 h 306"/>
                <a:gd name="T48" fmla="*/ 2147483647 w 482"/>
                <a:gd name="T49" fmla="*/ 2147483647 h 306"/>
                <a:gd name="T50" fmla="*/ 2147483647 w 482"/>
                <a:gd name="T51" fmla="*/ 2147483647 h 306"/>
                <a:gd name="T52" fmla="*/ 2147483647 w 482"/>
                <a:gd name="T53" fmla="*/ 2147483647 h 306"/>
                <a:gd name="T54" fmla="*/ 2147483647 w 482"/>
                <a:gd name="T55" fmla="*/ 2147483647 h 306"/>
                <a:gd name="T56" fmla="*/ 2147483647 w 482"/>
                <a:gd name="T57" fmla="*/ 2147483647 h 306"/>
                <a:gd name="T58" fmla="*/ 2147483647 w 482"/>
                <a:gd name="T59" fmla="*/ 2147483647 h 306"/>
                <a:gd name="T60" fmla="*/ 2147483647 w 482"/>
                <a:gd name="T61" fmla="*/ 2147483647 h 306"/>
                <a:gd name="T62" fmla="*/ 2147483647 w 482"/>
                <a:gd name="T63" fmla="*/ 2147483647 h 306"/>
                <a:gd name="T64" fmla="*/ 2147483647 w 482"/>
                <a:gd name="T65" fmla="*/ 2147483647 h 306"/>
                <a:gd name="T66" fmla="*/ 2147483647 w 482"/>
                <a:gd name="T67" fmla="*/ 2147483647 h 306"/>
                <a:gd name="T68" fmla="*/ 2147483647 w 482"/>
                <a:gd name="T69" fmla="*/ 2147483647 h 306"/>
                <a:gd name="T70" fmla="*/ 2147483647 w 482"/>
                <a:gd name="T71" fmla="*/ 2147483647 h 306"/>
                <a:gd name="T72" fmla="*/ 2147483647 w 482"/>
                <a:gd name="T73" fmla="*/ 2147483647 h 306"/>
                <a:gd name="T74" fmla="*/ 2147483647 w 482"/>
                <a:gd name="T75" fmla="*/ 2147483647 h 306"/>
                <a:gd name="T76" fmla="*/ 2147483647 w 482"/>
                <a:gd name="T77" fmla="*/ 2147483647 h 306"/>
                <a:gd name="T78" fmla="*/ 2147483647 w 482"/>
                <a:gd name="T79" fmla="*/ 2147483647 h 306"/>
                <a:gd name="T80" fmla="*/ 2147483647 w 482"/>
                <a:gd name="T81" fmla="*/ 2147483647 h 306"/>
                <a:gd name="T82" fmla="*/ 2147483647 w 482"/>
                <a:gd name="T83" fmla="*/ 2147483647 h 306"/>
                <a:gd name="T84" fmla="*/ 2147483647 w 482"/>
                <a:gd name="T85" fmla="*/ 2147483647 h 306"/>
                <a:gd name="T86" fmla="*/ 2147483647 w 482"/>
                <a:gd name="T87" fmla="*/ 2147483647 h 306"/>
                <a:gd name="T88" fmla="*/ 2147483647 w 482"/>
                <a:gd name="T89" fmla="*/ 2147483647 h 306"/>
                <a:gd name="T90" fmla="*/ 2147483647 w 482"/>
                <a:gd name="T91" fmla="*/ 2147483647 h 306"/>
                <a:gd name="T92" fmla="*/ 2147483647 w 482"/>
                <a:gd name="T93" fmla="*/ 2147483647 h 30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82"/>
                <a:gd name="T142" fmla="*/ 0 h 306"/>
                <a:gd name="T143" fmla="*/ 482 w 482"/>
                <a:gd name="T144" fmla="*/ 306 h 30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82" h="306">
                  <a:moveTo>
                    <a:pt x="0" y="2"/>
                  </a:moveTo>
                  <a:lnTo>
                    <a:pt x="32" y="0"/>
                  </a:lnTo>
                  <a:lnTo>
                    <a:pt x="76" y="18"/>
                  </a:lnTo>
                  <a:lnTo>
                    <a:pt x="92" y="24"/>
                  </a:lnTo>
                  <a:lnTo>
                    <a:pt x="138" y="24"/>
                  </a:lnTo>
                  <a:lnTo>
                    <a:pt x="146" y="18"/>
                  </a:lnTo>
                  <a:lnTo>
                    <a:pt x="166" y="14"/>
                  </a:lnTo>
                  <a:lnTo>
                    <a:pt x="186" y="30"/>
                  </a:lnTo>
                  <a:lnTo>
                    <a:pt x="196" y="38"/>
                  </a:lnTo>
                  <a:lnTo>
                    <a:pt x="198" y="54"/>
                  </a:lnTo>
                  <a:lnTo>
                    <a:pt x="214" y="64"/>
                  </a:lnTo>
                  <a:lnTo>
                    <a:pt x="226" y="62"/>
                  </a:lnTo>
                  <a:lnTo>
                    <a:pt x="228" y="52"/>
                  </a:lnTo>
                  <a:lnTo>
                    <a:pt x="236" y="48"/>
                  </a:lnTo>
                  <a:lnTo>
                    <a:pt x="258" y="58"/>
                  </a:lnTo>
                  <a:lnTo>
                    <a:pt x="264" y="72"/>
                  </a:lnTo>
                  <a:lnTo>
                    <a:pt x="274" y="84"/>
                  </a:lnTo>
                  <a:lnTo>
                    <a:pt x="282" y="96"/>
                  </a:lnTo>
                  <a:lnTo>
                    <a:pt x="290" y="108"/>
                  </a:lnTo>
                  <a:lnTo>
                    <a:pt x="306" y="114"/>
                  </a:lnTo>
                  <a:lnTo>
                    <a:pt x="318" y="116"/>
                  </a:lnTo>
                  <a:lnTo>
                    <a:pt x="314" y="124"/>
                  </a:lnTo>
                  <a:lnTo>
                    <a:pt x="310" y="136"/>
                  </a:lnTo>
                  <a:lnTo>
                    <a:pt x="308" y="152"/>
                  </a:lnTo>
                  <a:lnTo>
                    <a:pt x="308" y="162"/>
                  </a:lnTo>
                  <a:lnTo>
                    <a:pt x="308" y="174"/>
                  </a:lnTo>
                  <a:lnTo>
                    <a:pt x="312" y="192"/>
                  </a:lnTo>
                  <a:lnTo>
                    <a:pt x="322" y="210"/>
                  </a:lnTo>
                  <a:lnTo>
                    <a:pt x="330" y="222"/>
                  </a:lnTo>
                  <a:lnTo>
                    <a:pt x="338" y="234"/>
                  </a:lnTo>
                  <a:lnTo>
                    <a:pt x="348" y="240"/>
                  </a:lnTo>
                  <a:lnTo>
                    <a:pt x="360" y="244"/>
                  </a:lnTo>
                  <a:lnTo>
                    <a:pt x="376" y="244"/>
                  </a:lnTo>
                  <a:lnTo>
                    <a:pt x="396" y="240"/>
                  </a:lnTo>
                  <a:lnTo>
                    <a:pt x="416" y="236"/>
                  </a:lnTo>
                  <a:lnTo>
                    <a:pt x="424" y="220"/>
                  </a:lnTo>
                  <a:lnTo>
                    <a:pt x="424" y="210"/>
                  </a:lnTo>
                  <a:lnTo>
                    <a:pt x="428" y="200"/>
                  </a:lnTo>
                  <a:lnTo>
                    <a:pt x="442" y="192"/>
                  </a:lnTo>
                  <a:lnTo>
                    <a:pt x="452" y="192"/>
                  </a:lnTo>
                  <a:lnTo>
                    <a:pt x="470" y="192"/>
                  </a:lnTo>
                  <a:lnTo>
                    <a:pt x="482" y="194"/>
                  </a:lnTo>
                  <a:lnTo>
                    <a:pt x="478" y="206"/>
                  </a:lnTo>
                  <a:lnTo>
                    <a:pt x="472" y="214"/>
                  </a:lnTo>
                  <a:lnTo>
                    <a:pt x="470" y="220"/>
                  </a:lnTo>
                  <a:lnTo>
                    <a:pt x="468" y="232"/>
                  </a:lnTo>
                  <a:lnTo>
                    <a:pt x="468" y="244"/>
                  </a:lnTo>
                  <a:lnTo>
                    <a:pt x="464" y="246"/>
                  </a:lnTo>
                  <a:lnTo>
                    <a:pt x="460" y="240"/>
                  </a:lnTo>
                  <a:lnTo>
                    <a:pt x="456" y="242"/>
                  </a:lnTo>
                  <a:lnTo>
                    <a:pt x="452" y="246"/>
                  </a:lnTo>
                  <a:lnTo>
                    <a:pt x="446" y="252"/>
                  </a:lnTo>
                  <a:lnTo>
                    <a:pt x="434" y="252"/>
                  </a:lnTo>
                  <a:lnTo>
                    <a:pt x="416" y="254"/>
                  </a:lnTo>
                  <a:lnTo>
                    <a:pt x="414" y="258"/>
                  </a:lnTo>
                  <a:lnTo>
                    <a:pt x="416" y="266"/>
                  </a:lnTo>
                  <a:lnTo>
                    <a:pt x="424" y="272"/>
                  </a:lnTo>
                  <a:lnTo>
                    <a:pt x="428" y="278"/>
                  </a:lnTo>
                  <a:lnTo>
                    <a:pt x="424" y="280"/>
                  </a:lnTo>
                  <a:lnTo>
                    <a:pt x="412" y="282"/>
                  </a:lnTo>
                  <a:lnTo>
                    <a:pt x="408" y="280"/>
                  </a:lnTo>
                  <a:lnTo>
                    <a:pt x="406" y="284"/>
                  </a:lnTo>
                  <a:lnTo>
                    <a:pt x="402" y="288"/>
                  </a:lnTo>
                  <a:lnTo>
                    <a:pt x="400" y="294"/>
                  </a:lnTo>
                  <a:lnTo>
                    <a:pt x="398" y="306"/>
                  </a:lnTo>
                  <a:lnTo>
                    <a:pt x="392" y="300"/>
                  </a:lnTo>
                  <a:lnTo>
                    <a:pt x="382" y="290"/>
                  </a:lnTo>
                  <a:lnTo>
                    <a:pt x="372" y="284"/>
                  </a:lnTo>
                  <a:lnTo>
                    <a:pt x="364" y="280"/>
                  </a:lnTo>
                  <a:lnTo>
                    <a:pt x="356" y="278"/>
                  </a:lnTo>
                  <a:lnTo>
                    <a:pt x="346" y="280"/>
                  </a:lnTo>
                  <a:lnTo>
                    <a:pt x="338" y="284"/>
                  </a:lnTo>
                  <a:lnTo>
                    <a:pt x="328" y="286"/>
                  </a:lnTo>
                  <a:lnTo>
                    <a:pt x="312" y="282"/>
                  </a:lnTo>
                  <a:lnTo>
                    <a:pt x="298" y="276"/>
                  </a:lnTo>
                  <a:lnTo>
                    <a:pt x="282" y="270"/>
                  </a:lnTo>
                  <a:lnTo>
                    <a:pt x="264" y="264"/>
                  </a:lnTo>
                  <a:lnTo>
                    <a:pt x="254" y="260"/>
                  </a:lnTo>
                  <a:lnTo>
                    <a:pt x="246" y="248"/>
                  </a:lnTo>
                  <a:lnTo>
                    <a:pt x="232" y="248"/>
                  </a:lnTo>
                  <a:lnTo>
                    <a:pt x="218" y="240"/>
                  </a:lnTo>
                  <a:lnTo>
                    <a:pt x="204" y="232"/>
                  </a:lnTo>
                  <a:lnTo>
                    <a:pt x="192" y="222"/>
                  </a:lnTo>
                  <a:lnTo>
                    <a:pt x="186" y="212"/>
                  </a:lnTo>
                  <a:lnTo>
                    <a:pt x="186" y="202"/>
                  </a:lnTo>
                  <a:lnTo>
                    <a:pt x="192" y="196"/>
                  </a:lnTo>
                  <a:lnTo>
                    <a:pt x="192" y="186"/>
                  </a:lnTo>
                  <a:lnTo>
                    <a:pt x="178" y="168"/>
                  </a:lnTo>
                  <a:lnTo>
                    <a:pt x="168" y="156"/>
                  </a:lnTo>
                  <a:lnTo>
                    <a:pt x="156" y="146"/>
                  </a:lnTo>
                  <a:lnTo>
                    <a:pt x="146" y="134"/>
                  </a:lnTo>
                  <a:lnTo>
                    <a:pt x="134" y="126"/>
                  </a:lnTo>
                  <a:lnTo>
                    <a:pt x="126" y="120"/>
                  </a:lnTo>
                  <a:lnTo>
                    <a:pt x="126" y="106"/>
                  </a:lnTo>
                  <a:lnTo>
                    <a:pt x="110" y="96"/>
                  </a:lnTo>
                  <a:lnTo>
                    <a:pt x="100" y="86"/>
                  </a:lnTo>
                  <a:lnTo>
                    <a:pt x="88" y="70"/>
                  </a:lnTo>
                  <a:lnTo>
                    <a:pt x="78" y="60"/>
                  </a:lnTo>
                  <a:lnTo>
                    <a:pt x="72" y="48"/>
                  </a:lnTo>
                  <a:lnTo>
                    <a:pt x="66" y="34"/>
                  </a:lnTo>
                  <a:lnTo>
                    <a:pt x="64" y="28"/>
                  </a:lnTo>
                  <a:lnTo>
                    <a:pt x="50" y="20"/>
                  </a:lnTo>
                  <a:lnTo>
                    <a:pt x="38" y="20"/>
                  </a:lnTo>
                  <a:lnTo>
                    <a:pt x="36" y="26"/>
                  </a:lnTo>
                  <a:lnTo>
                    <a:pt x="40" y="38"/>
                  </a:lnTo>
                  <a:lnTo>
                    <a:pt x="46" y="52"/>
                  </a:lnTo>
                  <a:lnTo>
                    <a:pt x="56" y="62"/>
                  </a:lnTo>
                  <a:lnTo>
                    <a:pt x="64" y="76"/>
                  </a:lnTo>
                  <a:lnTo>
                    <a:pt x="72" y="86"/>
                  </a:lnTo>
                  <a:lnTo>
                    <a:pt x="80" y="96"/>
                  </a:lnTo>
                  <a:lnTo>
                    <a:pt x="90" y="108"/>
                  </a:lnTo>
                  <a:lnTo>
                    <a:pt x="98" y="124"/>
                  </a:lnTo>
                  <a:lnTo>
                    <a:pt x="104" y="136"/>
                  </a:lnTo>
                  <a:lnTo>
                    <a:pt x="106" y="146"/>
                  </a:lnTo>
                  <a:lnTo>
                    <a:pt x="114" y="146"/>
                  </a:lnTo>
                  <a:lnTo>
                    <a:pt x="118" y="152"/>
                  </a:lnTo>
                  <a:lnTo>
                    <a:pt x="120" y="156"/>
                  </a:lnTo>
                  <a:lnTo>
                    <a:pt x="122" y="166"/>
                  </a:lnTo>
                  <a:lnTo>
                    <a:pt x="114" y="170"/>
                  </a:lnTo>
                  <a:lnTo>
                    <a:pt x="108" y="158"/>
                  </a:lnTo>
                  <a:lnTo>
                    <a:pt x="100" y="152"/>
                  </a:lnTo>
                  <a:lnTo>
                    <a:pt x="92" y="144"/>
                  </a:lnTo>
                  <a:lnTo>
                    <a:pt x="84" y="134"/>
                  </a:lnTo>
                  <a:lnTo>
                    <a:pt x="82" y="126"/>
                  </a:lnTo>
                  <a:lnTo>
                    <a:pt x="80" y="116"/>
                  </a:lnTo>
                  <a:lnTo>
                    <a:pt x="72" y="108"/>
                  </a:lnTo>
                  <a:lnTo>
                    <a:pt x="66" y="104"/>
                  </a:lnTo>
                  <a:lnTo>
                    <a:pt x="56" y="102"/>
                  </a:lnTo>
                  <a:lnTo>
                    <a:pt x="48" y="98"/>
                  </a:lnTo>
                  <a:lnTo>
                    <a:pt x="40" y="90"/>
                  </a:lnTo>
                  <a:lnTo>
                    <a:pt x="38" y="86"/>
                  </a:lnTo>
                  <a:lnTo>
                    <a:pt x="42" y="84"/>
                  </a:lnTo>
                  <a:lnTo>
                    <a:pt x="46" y="84"/>
                  </a:lnTo>
                  <a:lnTo>
                    <a:pt x="48" y="80"/>
                  </a:lnTo>
                  <a:lnTo>
                    <a:pt x="46" y="74"/>
                  </a:lnTo>
                  <a:lnTo>
                    <a:pt x="42" y="64"/>
                  </a:lnTo>
                  <a:lnTo>
                    <a:pt x="38" y="60"/>
                  </a:lnTo>
                  <a:lnTo>
                    <a:pt x="30" y="56"/>
                  </a:lnTo>
                  <a:lnTo>
                    <a:pt x="22" y="46"/>
                  </a:lnTo>
                  <a:lnTo>
                    <a:pt x="16" y="32"/>
                  </a:lnTo>
                  <a:lnTo>
                    <a:pt x="12" y="24"/>
                  </a:lnTo>
                  <a:lnTo>
                    <a:pt x="8" y="14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82" name="Freeform 198"/>
            <p:cNvSpPr>
              <a:spLocks/>
            </p:cNvSpPr>
            <p:nvPr/>
          </p:nvSpPr>
          <p:spPr bwMode="gray">
            <a:xfrm>
              <a:off x="2927350" y="2841625"/>
              <a:ext cx="20638" cy="25400"/>
            </a:xfrm>
            <a:custGeom>
              <a:avLst/>
              <a:gdLst>
                <a:gd name="T0" fmla="*/ 2147483647 w 18"/>
                <a:gd name="T1" fmla="*/ 0 h 22"/>
                <a:gd name="T2" fmla="*/ 2147483647 w 18"/>
                <a:gd name="T3" fmla="*/ 2147483647 h 22"/>
                <a:gd name="T4" fmla="*/ 0 w 18"/>
                <a:gd name="T5" fmla="*/ 2147483647 h 22"/>
                <a:gd name="T6" fmla="*/ 2147483647 w 18"/>
                <a:gd name="T7" fmla="*/ 2147483647 h 22"/>
                <a:gd name="T8" fmla="*/ 2147483647 w 18"/>
                <a:gd name="T9" fmla="*/ 2147483647 h 22"/>
                <a:gd name="T10" fmla="*/ 2147483647 w 18"/>
                <a:gd name="T11" fmla="*/ 2147483647 h 22"/>
                <a:gd name="T12" fmla="*/ 2147483647 w 18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22"/>
                <a:gd name="T23" fmla="*/ 18 w 18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22">
                  <a:moveTo>
                    <a:pt x="8" y="0"/>
                  </a:moveTo>
                  <a:lnTo>
                    <a:pt x="2" y="6"/>
                  </a:lnTo>
                  <a:lnTo>
                    <a:pt x="0" y="14"/>
                  </a:lnTo>
                  <a:lnTo>
                    <a:pt x="8" y="22"/>
                  </a:lnTo>
                  <a:lnTo>
                    <a:pt x="18" y="10"/>
                  </a:lnTo>
                  <a:lnTo>
                    <a:pt x="16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83" name="Freeform 199"/>
            <p:cNvSpPr>
              <a:spLocks/>
            </p:cNvSpPr>
            <p:nvPr/>
          </p:nvSpPr>
          <p:spPr bwMode="gray">
            <a:xfrm>
              <a:off x="2955925" y="3989388"/>
              <a:ext cx="219075" cy="322262"/>
            </a:xfrm>
            <a:custGeom>
              <a:avLst/>
              <a:gdLst>
                <a:gd name="T0" fmla="*/ 2147483647 w 186"/>
                <a:gd name="T1" fmla="*/ 2147483647 h 266"/>
                <a:gd name="T2" fmla="*/ 2147483647 w 186"/>
                <a:gd name="T3" fmla="*/ 2147483647 h 266"/>
                <a:gd name="T4" fmla="*/ 2147483647 w 186"/>
                <a:gd name="T5" fmla="*/ 2147483647 h 266"/>
                <a:gd name="T6" fmla="*/ 2147483647 w 186"/>
                <a:gd name="T7" fmla="*/ 2147483647 h 266"/>
                <a:gd name="T8" fmla="*/ 2147483647 w 186"/>
                <a:gd name="T9" fmla="*/ 2147483647 h 266"/>
                <a:gd name="T10" fmla="*/ 2147483647 w 186"/>
                <a:gd name="T11" fmla="*/ 2147483647 h 266"/>
                <a:gd name="T12" fmla="*/ 2147483647 w 186"/>
                <a:gd name="T13" fmla="*/ 2147483647 h 266"/>
                <a:gd name="T14" fmla="*/ 2147483647 w 186"/>
                <a:gd name="T15" fmla="*/ 0 h 266"/>
                <a:gd name="T16" fmla="*/ 2147483647 w 186"/>
                <a:gd name="T17" fmla="*/ 2147483647 h 266"/>
                <a:gd name="T18" fmla="*/ 2147483647 w 186"/>
                <a:gd name="T19" fmla="*/ 2147483647 h 266"/>
                <a:gd name="T20" fmla="*/ 2147483647 w 186"/>
                <a:gd name="T21" fmla="*/ 2147483647 h 266"/>
                <a:gd name="T22" fmla="*/ 2147483647 w 186"/>
                <a:gd name="T23" fmla="*/ 2147483647 h 266"/>
                <a:gd name="T24" fmla="*/ 2147483647 w 186"/>
                <a:gd name="T25" fmla="*/ 2147483647 h 266"/>
                <a:gd name="T26" fmla="*/ 2147483647 w 186"/>
                <a:gd name="T27" fmla="*/ 2147483647 h 266"/>
                <a:gd name="T28" fmla="*/ 2147483647 w 186"/>
                <a:gd name="T29" fmla="*/ 2147483647 h 266"/>
                <a:gd name="T30" fmla="*/ 2147483647 w 186"/>
                <a:gd name="T31" fmla="*/ 2147483647 h 266"/>
                <a:gd name="T32" fmla="*/ 2147483647 w 186"/>
                <a:gd name="T33" fmla="*/ 2147483647 h 266"/>
                <a:gd name="T34" fmla="*/ 2147483647 w 186"/>
                <a:gd name="T35" fmla="*/ 2147483647 h 266"/>
                <a:gd name="T36" fmla="*/ 2147483647 w 186"/>
                <a:gd name="T37" fmla="*/ 2147483647 h 266"/>
                <a:gd name="T38" fmla="*/ 2147483647 w 186"/>
                <a:gd name="T39" fmla="*/ 2147483647 h 266"/>
                <a:gd name="T40" fmla="*/ 2147483647 w 186"/>
                <a:gd name="T41" fmla="*/ 2147483647 h 266"/>
                <a:gd name="T42" fmla="*/ 2147483647 w 186"/>
                <a:gd name="T43" fmla="*/ 2147483647 h 266"/>
                <a:gd name="T44" fmla="*/ 2147483647 w 186"/>
                <a:gd name="T45" fmla="*/ 2147483647 h 266"/>
                <a:gd name="T46" fmla="*/ 2147483647 w 186"/>
                <a:gd name="T47" fmla="*/ 2147483647 h 266"/>
                <a:gd name="T48" fmla="*/ 2147483647 w 186"/>
                <a:gd name="T49" fmla="*/ 2147483647 h 266"/>
                <a:gd name="T50" fmla="*/ 2147483647 w 186"/>
                <a:gd name="T51" fmla="*/ 2147483647 h 266"/>
                <a:gd name="T52" fmla="*/ 2147483647 w 186"/>
                <a:gd name="T53" fmla="*/ 2147483647 h 266"/>
                <a:gd name="T54" fmla="*/ 2147483647 w 186"/>
                <a:gd name="T55" fmla="*/ 2147483647 h 266"/>
                <a:gd name="T56" fmla="*/ 2147483647 w 186"/>
                <a:gd name="T57" fmla="*/ 2147483647 h 266"/>
                <a:gd name="T58" fmla="*/ 2147483647 w 186"/>
                <a:gd name="T59" fmla="*/ 2147483647 h 266"/>
                <a:gd name="T60" fmla="*/ 2147483647 w 186"/>
                <a:gd name="T61" fmla="*/ 2147483647 h 266"/>
                <a:gd name="T62" fmla="*/ 2147483647 w 186"/>
                <a:gd name="T63" fmla="*/ 2147483647 h 266"/>
                <a:gd name="T64" fmla="*/ 2147483647 w 186"/>
                <a:gd name="T65" fmla="*/ 2147483647 h 266"/>
                <a:gd name="T66" fmla="*/ 2147483647 w 186"/>
                <a:gd name="T67" fmla="*/ 2147483647 h 266"/>
                <a:gd name="T68" fmla="*/ 2147483647 w 186"/>
                <a:gd name="T69" fmla="*/ 2147483647 h 266"/>
                <a:gd name="T70" fmla="*/ 2147483647 w 186"/>
                <a:gd name="T71" fmla="*/ 2147483647 h 266"/>
                <a:gd name="T72" fmla="*/ 2147483647 w 186"/>
                <a:gd name="T73" fmla="*/ 2147483647 h 266"/>
                <a:gd name="T74" fmla="*/ 2147483647 w 186"/>
                <a:gd name="T75" fmla="*/ 2147483647 h 266"/>
                <a:gd name="T76" fmla="*/ 2147483647 w 186"/>
                <a:gd name="T77" fmla="*/ 2147483647 h 266"/>
                <a:gd name="T78" fmla="*/ 2147483647 w 186"/>
                <a:gd name="T79" fmla="*/ 2147483647 h 266"/>
                <a:gd name="T80" fmla="*/ 2147483647 w 186"/>
                <a:gd name="T81" fmla="*/ 2147483647 h 266"/>
                <a:gd name="T82" fmla="*/ 2147483647 w 186"/>
                <a:gd name="T83" fmla="*/ 2147483647 h 266"/>
                <a:gd name="T84" fmla="*/ 2147483647 w 186"/>
                <a:gd name="T85" fmla="*/ 2147483647 h 266"/>
                <a:gd name="T86" fmla="*/ 2147483647 w 186"/>
                <a:gd name="T87" fmla="*/ 2147483647 h 26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86"/>
                <a:gd name="T133" fmla="*/ 0 h 266"/>
                <a:gd name="T134" fmla="*/ 186 w 186"/>
                <a:gd name="T135" fmla="*/ 266 h 26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86" h="266">
                  <a:moveTo>
                    <a:pt x="28" y="66"/>
                  </a:moveTo>
                  <a:lnTo>
                    <a:pt x="30" y="72"/>
                  </a:lnTo>
                  <a:lnTo>
                    <a:pt x="34" y="68"/>
                  </a:lnTo>
                  <a:lnTo>
                    <a:pt x="34" y="58"/>
                  </a:lnTo>
                  <a:lnTo>
                    <a:pt x="44" y="50"/>
                  </a:lnTo>
                  <a:lnTo>
                    <a:pt x="50" y="42"/>
                  </a:lnTo>
                  <a:lnTo>
                    <a:pt x="52" y="36"/>
                  </a:lnTo>
                  <a:lnTo>
                    <a:pt x="54" y="28"/>
                  </a:lnTo>
                  <a:lnTo>
                    <a:pt x="68" y="20"/>
                  </a:lnTo>
                  <a:lnTo>
                    <a:pt x="74" y="20"/>
                  </a:lnTo>
                  <a:lnTo>
                    <a:pt x="78" y="16"/>
                  </a:lnTo>
                  <a:lnTo>
                    <a:pt x="88" y="16"/>
                  </a:lnTo>
                  <a:lnTo>
                    <a:pt x="96" y="12"/>
                  </a:lnTo>
                  <a:lnTo>
                    <a:pt x="104" y="6"/>
                  </a:lnTo>
                  <a:lnTo>
                    <a:pt x="110" y="0"/>
                  </a:lnTo>
                  <a:lnTo>
                    <a:pt x="116" y="0"/>
                  </a:lnTo>
                  <a:lnTo>
                    <a:pt x="120" y="2"/>
                  </a:lnTo>
                  <a:lnTo>
                    <a:pt x="118" y="10"/>
                  </a:lnTo>
                  <a:lnTo>
                    <a:pt x="112" y="14"/>
                  </a:lnTo>
                  <a:lnTo>
                    <a:pt x="106" y="18"/>
                  </a:lnTo>
                  <a:lnTo>
                    <a:pt x="96" y="26"/>
                  </a:lnTo>
                  <a:lnTo>
                    <a:pt x="92" y="34"/>
                  </a:lnTo>
                  <a:lnTo>
                    <a:pt x="90" y="48"/>
                  </a:lnTo>
                  <a:lnTo>
                    <a:pt x="92" y="54"/>
                  </a:lnTo>
                  <a:lnTo>
                    <a:pt x="96" y="60"/>
                  </a:lnTo>
                  <a:lnTo>
                    <a:pt x="100" y="64"/>
                  </a:lnTo>
                  <a:lnTo>
                    <a:pt x="102" y="68"/>
                  </a:lnTo>
                  <a:lnTo>
                    <a:pt x="102" y="82"/>
                  </a:lnTo>
                  <a:lnTo>
                    <a:pt x="108" y="86"/>
                  </a:lnTo>
                  <a:lnTo>
                    <a:pt x="136" y="84"/>
                  </a:lnTo>
                  <a:lnTo>
                    <a:pt x="148" y="98"/>
                  </a:lnTo>
                  <a:lnTo>
                    <a:pt x="176" y="96"/>
                  </a:lnTo>
                  <a:lnTo>
                    <a:pt x="182" y="102"/>
                  </a:lnTo>
                  <a:lnTo>
                    <a:pt x="176" y="110"/>
                  </a:lnTo>
                  <a:lnTo>
                    <a:pt x="176" y="120"/>
                  </a:lnTo>
                  <a:lnTo>
                    <a:pt x="176" y="128"/>
                  </a:lnTo>
                  <a:lnTo>
                    <a:pt x="176" y="136"/>
                  </a:lnTo>
                  <a:lnTo>
                    <a:pt x="178" y="136"/>
                  </a:lnTo>
                  <a:lnTo>
                    <a:pt x="180" y="138"/>
                  </a:lnTo>
                  <a:lnTo>
                    <a:pt x="180" y="150"/>
                  </a:lnTo>
                  <a:lnTo>
                    <a:pt x="180" y="160"/>
                  </a:lnTo>
                  <a:lnTo>
                    <a:pt x="184" y="162"/>
                  </a:lnTo>
                  <a:lnTo>
                    <a:pt x="186" y="172"/>
                  </a:lnTo>
                  <a:lnTo>
                    <a:pt x="178" y="168"/>
                  </a:lnTo>
                  <a:lnTo>
                    <a:pt x="174" y="168"/>
                  </a:lnTo>
                  <a:lnTo>
                    <a:pt x="168" y="170"/>
                  </a:lnTo>
                  <a:lnTo>
                    <a:pt x="150" y="170"/>
                  </a:lnTo>
                  <a:lnTo>
                    <a:pt x="140" y="172"/>
                  </a:lnTo>
                  <a:lnTo>
                    <a:pt x="140" y="174"/>
                  </a:lnTo>
                  <a:lnTo>
                    <a:pt x="138" y="176"/>
                  </a:lnTo>
                  <a:lnTo>
                    <a:pt x="140" y="178"/>
                  </a:lnTo>
                  <a:lnTo>
                    <a:pt x="146" y="180"/>
                  </a:lnTo>
                  <a:lnTo>
                    <a:pt x="152" y="182"/>
                  </a:lnTo>
                  <a:lnTo>
                    <a:pt x="152" y="188"/>
                  </a:lnTo>
                  <a:lnTo>
                    <a:pt x="146" y="186"/>
                  </a:lnTo>
                  <a:lnTo>
                    <a:pt x="142" y="186"/>
                  </a:lnTo>
                  <a:lnTo>
                    <a:pt x="140" y="188"/>
                  </a:lnTo>
                  <a:lnTo>
                    <a:pt x="140" y="200"/>
                  </a:lnTo>
                  <a:lnTo>
                    <a:pt x="146" y="208"/>
                  </a:lnTo>
                  <a:lnTo>
                    <a:pt x="148" y="220"/>
                  </a:lnTo>
                  <a:lnTo>
                    <a:pt x="146" y="234"/>
                  </a:lnTo>
                  <a:lnTo>
                    <a:pt x="144" y="252"/>
                  </a:lnTo>
                  <a:lnTo>
                    <a:pt x="138" y="266"/>
                  </a:lnTo>
                  <a:lnTo>
                    <a:pt x="132" y="262"/>
                  </a:lnTo>
                  <a:lnTo>
                    <a:pt x="132" y="252"/>
                  </a:lnTo>
                  <a:lnTo>
                    <a:pt x="136" y="246"/>
                  </a:lnTo>
                  <a:lnTo>
                    <a:pt x="134" y="240"/>
                  </a:lnTo>
                  <a:lnTo>
                    <a:pt x="132" y="234"/>
                  </a:lnTo>
                  <a:lnTo>
                    <a:pt x="90" y="232"/>
                  </a:lnTo>
                  <a:lnTo>
                    <a:pt x="86" y="224"/>
                  </a:lnTo>
                  <a:lnTo>
                    <a:pt x="74" y="212"/>
                  </a:lnTo>
                  <a:lnTo>
                    <a:pt x="64" y="200"/>
                  </a:lnTo>
                  <a:lnTo>
                    <a:pt x="50" y="196"/>
                  </a:lnTo>
                  <a:lnTo>
                    <a:pt x="38" y="192"/>
                  </a:lnTo>
                  <a:lnTo>
                    <a:pt x="26" y="192"/>
                  </a:lnTo>
                  <a:lnTo>
                    <a:pt x="16" y="186"/>
                  </a:lnTo>
                  <a:lnTo>
                    <a:pt x="0" y="176"/>
                  </a:lnTo>
                  <a:lnTo>
                    <a:pt x="4" y="168"/>
                  </a:lnTo>
                  <a:lnTo>
                    <a:pt x="4" y="158"/>
                  </a:lnTo>
                  <a:lnTo>
                    <a:pt x="12" y="158"/>
                  </a:lnTo>
                  <a:lnTo>
                    <a:pt x="20" y="152"/>
                  </a:lnTo>
                  <a:lnTo>
                    <a:pt x="24" y="138"/>
                  </a:lnTo>
                  <a:lnTo>
                    <a:pt x="24" y="124"/>
                  </a:lnTo>
                  <a:lnTo>
                    <a:pt x="24" y="110"/>
                  </a:lnTo>
                  <a:lnTo>
                    <a:pt x="22" y="96"/>
                  </a:lnTo>
                  <a:lnTo>
                    <a:pt x="20" y="90"/>
                  </a:lnTo>
                  <a:lnTo>
                    <a:pt x="14" y="80"/>
                  </a:lnTo>
                  <a:lnTo>
                    <a:pt x="26" y="72"/>
                  </a:lnTo>
                  <a:lnTo>
                    <a:pt x="28" y="6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84" name="Freeform 200"/>
            <p:cNvSpPr>
              <a:spLocks/>
            </p:cNvSpPr>
            <p:nvPr/>
          </p:nvSpPr>
          <p:spPr bwMode="gray">
            <a:xfrm>
              <a:off x="4351338" y="3151188"/>
              <a:ext cx="242887" cy="207962"/>
            </a:xfrm>
            <a:custGeom>
              <a:avLst/>
              <a:gdLst>
                <a:gd name="T0" fmla="*/ 2147483647 w 204"/>
                <a:gd name="T1" fmla="*/ 2147483647 h 172"/>
                <a:gd name="T2" fmla="*/ 2147483647 w 204"/>
                <a:gd name="T3" fmla="*/ 2147483647 h 172"/>
                <a:gd name="T4" fmla="*/ 2147483647 w 204"/>
                <a:gd name="T5" fmla="*/ 2147483647 h 172"/>
                <a:gd name="T6" fmla="*/ 2147483647 w 204"/>
                <a:gd name="T7" fmla="*/ 2147483647 h 172"/>
                <a:gd name="T8" fmla="*/ 2147483647 w 204"/>
                <a:gd name="T9" fmla="*/ 2147483647 h 172"/>
                <a:gd name="T10" fmla="*/ 2147483647 w 204"/>
                <a:gd name="T11" fmla="*/ 2147483647 h 172"/>
                <a:gd name="T12" fmla="*/ 2147483647 w 204"/>
                <a:gd name="T13" fmla="*/ 2147483647 h 172"/>
                <a:gd name="T14" fmla="*/ 2147483647 w 204"/>
                <a:gd name="T15" fmla="*/ 2147483647 h 172"/>
                <a:gd name="T16" fmla="*/ 2147483647 w 204"/>
                <a:gd name="T17" fmla="*/ 2147483647 h 172"/>
                <a:gd name="T18" fmla="*/ 2147483647 w 204"/>
                <a:gd name="T19" fmla="*/ 2147483647 h 172"/>
                <a:gd name="T20" fmla="*/ 2147483647 w 204"/>
                <a:gd name="T21" fmla="*/ 2147483647 h 172"/>
                <a:gd name="T22" fmla="*/ 2147483647 w 204"/>
                <a:gd name="T23" fmla="*/ 2147483647 h 172"/>
                <a:gd name="T24" fmla="*/ 2147483647 w 204"/>
                <a:gd name="T25" fmla="*/ 2147483647 h 172"/>
                <a:gd name="T26" fmla="*/ 2147483647 w 204"/>
                <a:gd name="T27" fmla="*/ 2147483647 h 172"/>
                <a:gd name="T28" fmla="*/ 2147483647 w 204"/>
                <a:gd name="T29" fmla="*/ 2147483647 h 172"/>
                <a:gd name="T30" fmla="*/ 2147483647 w 204"/>
                <a:gd name="T31" fmla="*/ 2147483647 h 172"/>
                <a:gd name="T32" fmla="*/ 2147483647 w 204"/>
                <a:gd name="T33" fmla="*/ 2147483647 h 172"/>
                <a:gd name="T34" fmla="*/ 2147483647 w 204"/>
                <a:gd name="T35" fmla="*/ 2147483647 h 172"/>
                <a:gd name="T36" fmla="*/ 2147483647 w 204"/>
                <a:gd name="T37" fmla="*/ 2147483647 h 172"/>
                <a:gd name="T38" fmla="*/ 2147483647 w 204"/>
                <a:gd name="T39" fmla="*/ 2147483647 h 172"/>
                <a:gd name="T40" fmla="*/ 2147483647 w 204"/>
                <a:gd name="T41" fmla="*/ 2147483647 h 172"/>
                <a:gd name="T42" fmla="*/ 2147483647 w 204"/>
                <a:gd name="T43" fmla="*/ 2147483647 h 172"/>
                <a:gd name="T44" fmla="*/ 2147483647 w 204"/>
                <a:gd name="T45" fmla="*/ 2147483647 h 172"/>
                <a:gd name="T46" fmla="*/ 2147483647 w 204"/>
                <a:gd name="T47" fmla="*/ 2147483647 h 172"/>
                <a:gd name="T48" fmla="*/ 2147483647 w 204"/>
                <a:gd name="T49" fmla="*/ 2147483647 h 172"/>
                <a:gd name="T50" fmla="*/ 0 w 204"/>
                <a:gd name="T51" fmla="*/ 2147483647 h 172"/>
                <a:gd name="T52" fmla="*/ 2147483647 w 204"/>
                <a:gd name="T53" fmla="*/ 2147483647 h 172"/>
                <a:gd name="T54" fmla="*/ 2147483647 w 204"/>
                <a:gd name="T55" fmla="*/ 2147483647 h 172"/>
                <a:gd name="T56" fmla="*/ 2147483647 w 204"/>
                <a:gd name="T57" fmla="*/ 2147483647 h 172"/>
                <a:gd name="T58" fmla="*/ 2147483647 w 204"/>
                <a:gd name="T59" fmla="*/ 2147483647 h 172"/>
                <a:gd name="T60" fmla="*/ 2147483647 w 204"/>
                <a:gd name="T61" fmla="*/ 2147483647 h 172"/>
                <a:gd name="T62" fmla="*/ 2147483647 w 204"/>
                <a:gd name="T63" fmla="*/ 2147483647 h 172"/>
                <a:gd name="T64" fmla="*/ 2147483647 w 204"/>
                <a:gd name="T65" fmla="*/ 2147483647 h 172"/>
                <a:gd name="T66" fmla="*/ 2147483647 w 204"/>
                <a:gd name="T67" fmla="*/ 2147483647 h 172"/>
                <a:gd name="T68" fmla="*/ 2147483647 w 204"/>
                <a:gd name="T69" fmla="*/ 0 h 17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4"/>
                <a:gd name="T106" fmla="*/ 0 h 172"/>
                <a:gd name="T107" fmla="*/ 204 w 204"/>
                <a:gd name="T108" fmla="*/ 172 h 17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4" h="172">
                  <a:moveTo>
                    <a:pt x="116" y="0"/>
                  </a:moveTo>
                  <a:lnTo>
                    <a:pt x="126" y="8"/>
                  </a:lnTo>
                  <a:lnTo>
                    <a:pt x="140" y="20"/>
                  </a:lnTo>
                  <a:lnTo>
                    <a:pt x="152" y="24"/>
                  </a:lnTo>
                  <a:lnTo>
                    <a:pt x="154" y="28"/>
                  </a:lnTo>
                  <a:lnTo>
                    <a:pt x="162" y="32"/>
                  </a:lnTo>
                  <a:lnTo>
                    <a:pt x="174" y="32"/>
                  </a:lnTo>
                  <a:lnTo>
                    <a:pt x="180" y="36"/>
                  </a:lnTo>
                  <a:lnTo>
                    <a:pt x="184" y="40"/>
                  </a:lnTo>
                  <a:lnTo>
                    <a:pt x="202" y="40"/>
                  </a:lnTo>
                  <a:lnTo>
                    <a:pt x="204" y="44"/>
                  </a:lnTo>
                  <a:lnTo>
                    <a:pt x="198" y="56"/>
                  </a:lnTo>
                  <a:lnTo>
                    <a:pt x="194" y="64"/>
                  </a:lnTo>
                  <a:lnTo>
                    <a:pt x="194" y="70"/>
                  </a:lnTo>
                  <a:lnTo>
                    <a:pt x="192" y="74"/>
                  </a:lnTo>
                  <a:lnTo>
                    <a:pt x="188" y="74"/>
                  </a:lnTo>
                  <a:lnTo>
                    <a:pt x="178" y="84"/>
                  </a:lnTo>
                  <a:lnTo>
                    <a:pt x="170" y="96"/>
                  </a:lnTo>
                  <a:lnTo>
                    <a:pt x="186" y="96"/>
                  </a:lnTo>
                  <a:lnTo>
                    <a:pt x="186" y="106"/>
                  </a:lnTo>
                  <a:lnTo>
                    <a:pt x="186" y="112"/>
                  </a:lnTo>
                  <a:lnTo>
                    <a:pt x="188" y="116"/>
                  </a:lnTo>
                  <a:lnTo>
                    <a:pt x="184" y="124"/>
                  </a:lnTo>
                  <a:lnTo>
                    <a:pt x="186" y="140"/>
                  </a:lnTo>
                  <a:lnTo>
                    <a:pt x="194" y="140"/>
                  </a:lnTo>
                  <a:lnTo>
                    <a:pt x="194" y="148"/>
                  </a:lnTo>
                  <a:lnTo>
                    <a:pt x="186" y="150"/>
                  </a:lnTo>
                  <a:lnTo>
                    <a:pt x="182" y="158"/>
                  </a:lnTo>
                  <a:lnTo>
                    <a:pt x="172" y="162"/>
                  </a:lnTo>
                  <a:lnTo>
                    <a:pt x="160" y="156"/>
                  </a:lnTo>
                  <a:lnTo>
                    <a:pt x="150" y="154"/>
                  </a:lnTo>
                  <a:lnTo>
                    <a:pt x="138" y="152"/>
                  </a:lnTo>
                  <a:lnTo>
                    <a:pt x="128" y="156"/>
                  </a:lnTo>
                  <a:lnTo>
                    <a:pt x="122" y="162"/>
                  </a:lnTo>
                  <a:lnTo>
                    <a:pt x="122" y="172"/>
                  </a:lnTo>
                  <a:lnTo>
                    <a:pt x="106" y="172"/>
                  </a:lnTo>
                  <a:lnTo>
                    <a:pt x="92" y="166"/>
                  </a:lnTo>
                  <a:lnTo>
                    <a:pt x="80" y="168"/>
                  </a:lnTo>
                  <a:lnTo>
                    <a:pt x="64" y="162"/>
                  </a:lnTo>
                  <a:lnTo>
                    <a:pt x="50" y="156"/>
                  </a:lnTo>
                  <a:lnTo>
                    <a:pt x="50" y="144"/>
                  </a:lnTo>
                  <a:lnTo>
                    <a:pt x="56" y="128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56" y="98"/>
                  </a:lnTo>
                  <a:lnTo>
                    <a:pt x="44" y="90"/>
                  </a:lnTo>
                  <a:lnTo>
                    <a:pt x="42" y="82"/>
                  </a:lnTo>
                  <a:lnTo>
                    <a:pt x="36" y="76"/>
                  </a:lnTo>
                  <a:lnTo>
                    <a:pt x="26" y="70"/>
                  </a:lnTo>
                  <a:lnTo>
                    <a:pt x="18" y="66"/>
                  </a:lnTo>
                  <a:lnTo>
                    <a:pt x="6" y="66"/>
                  </a:lnTo>
                  <a:lnTo>
                    <a:pt x="0" y="60"/>
                  </a:lnTo>
                  <a:lnTo>
                    <a:pt x="2" y="52"/>
                  </a:lnTo>
                  <a:lnTo>
                    <a:pt x="8" y="50"/>
                  </a:lnTo>
                  <a:lnTo>
                    <a:pt x="18" y="48"/>
                  </a:lnTo>
                  <a:lnTo>
                    <a:pt x="26" y="48"/>
                  </a:lnTo>
                  <a:lnTo>
                    <a:pt x="32" y="54"/>
                  </a:lnTo>
                  <a:lnTo>
                    <a:pt x="40" y="50"/>
                  </a:lnTo>
                  <a:lnTo>
                    <a:pt x="48" y="52"/>
                  </a:lnTo>
                  <a:lnTo>
                    <a:pt x="54" y="46"/>
                  </a:lnTo>
                  <a:lnTo>
                    <a:pt x="50" y="36"/>
                  </a:lnTo>
                  <a:lnTo>
                    <a:pt x="48" y="30"/>
                  </a:lnTo>
                  <a:lnTo>
                    <a:pt x="54" y="30"/>
                  </a:lnTo>
                  <a:lnTo>
                    <a:pt x="62" y="36"/>
                  </a:lnTo>
                  <a:lnTo>
                    <a:pt x="76" y="34"/>
                  </a:lnTo>
                  <a:lnTo>
                    <a:pt x="84" y="28"/>
                  </a:lnTo>
                  <a:lnTo>
                    <a:pt x="96" y="22"/>
                  </a:lnTo>
                  <a:lnTo>
                    <a:pt x="106" y="18"/>
                  </a:lnTo>
                  <a:lnTo>
                    <a:pt x="106" y="4"/>
                  </a:lnTo>
                  <a:lnTo>
                    <a:pt x="116" y="0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85" name="Freeform 201"/>
            <p:cNvSpPr>
              <a:spLocks/>
            </p:cNvSpPr>
            <p:nvPr/>
          </p:nvSpPr>
          <p:spPr bwMode="gray">
            <a:xfrm>
              <a:off x="5419725" y="3749675"/>
              <a:ext cx="147638" cy="157163"/>
            </a:xfrm>
            <a:custGeom>
              <a:avLst/>
              <a:gdLst>
                <a:gd name="T0" fmla="*/ 2147483647 w 124"/>
                <a:gd name="T1" fmla="*/ 2147483647 h 130"/>
                <a:gd name="T2" fmla="*/ 2147483647 w 124"/>
                <a:gd name="T3" fmla="*/ 0 h 130"/>
                <a:gd name="T4" fmla="*/ 2147483647 w 124"/>
                <a:gd name="T5" fmla="*/ 2147483647 h 130"/>
                <a:gd name="T6" fmla="*/ 2147483647 w 124"/>
                <a:gd name="T7" fmla="*/ 2147483647 h 130"/>
                <a:gd name="T8" fmla="*/ 2147483647 w 124"/>
                <a:gd name="T9" fmla="*/ 2147483647 h 130"/>
                <a:gd name="T10" fmla="*/ 2147483647 w 124"/>
                <a:gd name="T11" fmla="*/ 2147483647 h 130"/>
                <a:gd name="T12" fmla="*/ 2147483647 w 124"/>
                <a:gd name="T13" fmla="*/ 2147483647 h 130"/>
                <a:gd name="T14" fmla="*/ 2147483647 w 124"/>
                <a:gd name="T15" fmla="*/ 2147483647 h 130"/>
                <a:gd name="T16" fmla="*/ 2147483647 w 124"/>
                <a:gd name="T17" fmla="*/ 2147483647 h 130"/>
                <a:gd name="T18" fmla="*/ 2147483647 w 124"/>
                <a:gd name="T19" fmla="*/ 2147483647 h 130"/>
                <a:gd name="T20" fmla="*/ 2147483647 w 124"/>
                <a:gd name="T21" fmla="*/ 2147483647 h 130"/>
                <a:gd name="T22" fmla="*/ 2147483647 w 124"/>
                <a:gd name="T23" fmla="*/ 2147483647 h 130"/>
                <a:gd name="T24" fmla="*/ 2147483647 w 124"/>
                <a:gd name="T25" fmla="*/ 2147483647 h 130"/>
                <a:gd name="T26" fmla="*/ 2147483647 w 124"/>
                <a:gd name="T27" fmla="*/ 2147483647 h 130"/>
                <a:gd name="T28" fmla="*/ 2147483647 w 124"/>
                <a:gd name="T29" fmla="*/ 2147483647 h 130"/>
                <a:gd name="T30" fmla="*/ 2147483647 w 124"/>
                <a:gd name="T31" fmla="*/ 2147483647 h 130"/>
                <a:gd name="T32" fmla="*/ 2147483647 w 124"/>
                <a:gd name="T33" fmla="*/ 2147483647 h 130"/>
                <a:gd name="T34" fmla="*/ 2147483647 w 124"/>
                <a:gd name="T35" fmla="*/ 2147483647 h 130"/>
                <a:gd name="T36" fmla="*/ 2147483647 w 124"/>
                <a:gd name="T37" fmla="*/ 2147483647 h 130"/>
                <a:gd name="T38" fmla="*/ 2147483647 w 124"/>
                <a:gd name="T39" fmla="*/ 2147483647 h 130"/>
                <a:gd name="T40" fmla="*/ 2147483647 w 124"/>
                <a:gd name="T41" fmla="*/ 2147483647 h 130"/>
                <a:gd name="T42" fmla="*/ 0 w 124"/>
                <a:gd name="T43" fmla="*/ 2147483647 h 130"/>
                <a:gd name="T44" fmla="*/ 2147483647 w 124"/>
                <a:gd name="T45" fmla="*/ 2147483647 h 130"/>
                <a:gd name="T46" fmla="*/ 2147483647 w 124"/>
                <a:gd name="T47" fmla="*/ 2147483647 h 130"/>
                <a:gd name="T48" fmla="*/ 2147483647 w 124"/>
                <a:gd name="T49" fmla="*/ 2147483647 h 130"/>
                <a:gd name="T50" fmla="*/ 2147483647 w 124"/>
                <a:gd name="T51" fmla="*/ 2147483647 h 130"/>
                <a:gd name="T52" fmla="*/ 2147483647 w 124"/>
                <a:gd name="T53" fmla="*/ 2147483647 h 13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24"/>
                <a:gd name="T82" fmla="*/ 0 h 130"/>
                <a:gd name="T83" fmla="*/ 124 w 124"/>
                <a:gd name="T84" fmla="*/ 130 h 13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24" h="130">
                  <a:moveTo>
                    <a:pt x="52" y="30"/>
                  </a:moveTo>
                  <a:lnTo>
                    <a:pt x="70" y="0"/>
                  </a:lnTo>
                  <a:lnTo>
                    <a:pt x="82" y="8"/>
                  </a:lnTo>
                  <a:lnTo>
                    <a:pt x="90" y="14"/>
                  </a:lnTo>
                  <a:lnTo>
                    <a:pt x="102" y="16"/>
                  </a:lnTo>
                  <a:lnTo>
                    <a:pt x="124" y="36"/>
                  </a:lnTo>
                  <a:lnTo>
                    <a:pt x="116" y="50"/>
                  </a:lnTo>
                  <a:lnTo>
                    <a:pt x="104" y="64"/>
                  </a:lnTo>
                  <a:lnTo>
                    <a:pt x="98" y="66"/>
                  </a:lnTo>
                  <a:lnTo>
                    <a:pt x="86" y="70"/>
                  </a:lnTo>
                  <a:lnTo>
                    <a:pt x="88" y="80"/>
                  </a:lnTo>
                  <a:lnTo>
                    <a:pt x="90" y="90"/>
                  </a:lnTo>
                  <a:lnTo>
                    <a:pt x="80" y="92"/>
                  </a:lnTo>
                  <a:lnTo>
                    <a:pt x="72" y="98"/>
                  </a:lnTo>
                  <a:lnTo>
                    <a:pt x="68" y="104"/>
                  </a:lnTo>
                  <a:lnTo>
                    <a:pt x="68" y="110"/>
                  </a:lnTo>
                  <a:lnTo>
                    <a:pt x="54" y="112"/>
                  </a:lnTo>
                  <a:lnTo>
                    <a:pt x="52" y="118"/>
                  </a:lnTo>
                  <a:lnTo>
                    <a:pt x="46" y="128"/>
                  </a:lnTo>
                  <a:lnTo>
                    <a:pt x="26" y="126"/>
                  </a:lnTo>
                  <a:lnTo>
                    <a:pt x="16" y="130"/>
                  </a:lnTo>
                  <a:lnTo>
                    <a:pt x="0" y="94"/>
                  </a:lnTo>
                  <a:lnTo>
                    <a:pt x="12" y="84"/>
                  </a:lnTo>
                  <a:lnTo>
                    <a:pt x="48" y="72"/>
                  </a:lnTo>
                  <a:lnTo>
                    <a:pt x="56" y="54"/>
                  </a:lnTo>
                  <a:lnTo>
                    <a:pt x="56" y="40"/>
                  </a:lnTo>
                  <a:lnTo>
                    <a:pt x="52" y="3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86" name="Freeform 202"/>
            <p:cNvSpPr>
              <a:spLocks/>
            </p:cNvSpPr>
            <p:nvPr/>
          </p:nvSpPr>
          <p:spPr bwMode="gray">
            <a:xfrm>
              <a:off x="4906963" y="3597275"/>
              <a:ext cx="203200" cy="207963"/>
            </a:xfrm>
            <a:custGeom>
              <a:avLst/>
              <a:gdLst>
                <a:gd name="T0" fmla="*/ 2147483647 w 172"/>
                <a:gd name="T1" fmla="*/ 0 h 172"/>
                <a:gd name="T2" fmla="*/ 2147483647 w 172"/>
                <a:gd name="T3" fmla="*/ 2147483647 h 172"/>
                <a:gd name="T4" fmla="*/ 2147483647 w 172"/>
                <a:gd name="T5" fmla="*/ 2147483647 h 172"/>
                <a:gd name="T6" fmla="*/ 2147483647 w 172"/>
                <a:gd name="T7" fmla="*/ 2147483647 h 172"/>
                <a:gd name="T8" fmla="*/ 2147483647 w 172"/>
                <a:gd name="T9" fmla="*/ 2147483647 h 172"/>
                <a:gd name="T10" fmla="*/ 2147483647 w 172"/>
                <a:gd name="T11" fmla="*/ 2147483647 h 172"/>
                <a:gd name="T12" fmla="*/ 2147483647 w 172"/>
                <a:gd name="T13" fmla="*/ 2147483647 h 172"/>
                <a:gd name="T14" fmla="*/ 2147483647 w 172"/>
                <a:gd name="T15" fmla="*/ 2147483647 h 172"/>
                <a:gd name="T16" fmla="*/ 2147483647 w 172"/>
                <a:gd name="T17" fmla="*/ 2147483647 h 172"/>
                <a:gd name="T18" fmla="*/ 2147483647 w 172"/>
                <a:gd name="T19" fmla="*/ 2147483647 h 172"/>
                <a:gd name="T20" fmla="*/ 2147483647 w 172"/>
                <a:gd name="T21" fmla="*/ 2147483647 h 172"/>
                <a:gd name="T22" fmla="*/ 2147483647 w 172"/>
                <a:gd name="T23" fmla="*/ 2147483647 h 172"/>
                <a:gd name="T24" fmla="*/ 2147483647 w 172"/>
                <a:gd name="T25" fmla="*/ 2147483647 h 172"/>
                <a:gd name="T26" fmla="*/ 2147483647 w 172"/>
                <a:gd name="T27" fmla="*/ 2147483647 h 172"/>
                <a:gd name="T28" fmla="*/ 2147483647 w 172"/>
                <a:gd name="T29" fmla="*/ 2147483647 h 172"/>
                <a:gd name="T30" fmla="*/ 2147483647 w 172"/>
                <a:gd name="T31" fmla="*/ 2147483647 h 172"/>
                <a:gd name="T32" fmla="*/ 2147483647 w 172"/>
                <a:gd name="T33" fmla="*/ 2147483647 h 172"/>
                <a:gd name="T34" fmla="*/ 2147483647 w 172"/>
                <a:gd name="T35" fmla="*/ 2147483647 h 172"/>
                <a:gd name="T36" fmla="*/ 2147483647 w 172"/>
                <a:gd name="T37" fmla="*/ 2147483647 h 172"/>
                <a:gd name="T38" fmla="*/ 2147483647 w 172"/>
                <a:gd name="T39" fmla="*/ 2147483647 h 172"/>
                <a:gd name="T40" fmla="*/ 2147483647 w 172"/>
                <a:gd name="T41" fmla="*/ 2147483647 h 172"/>
                <a:gd name="T42" fmla="*/ 2147483647 w 172"/>
                <a:gd name="T43" fmla="*/ 2147483647 h 172"/>
                <a:gd name="T44" fmla="*/ 2147483647 w 172"/>
                <a:gd name="T45" fmla="*/ 2147483647 h 172"/>
                <a:gd name="T46" fmla="*/ 2147483647 w 172"/>
                <a:gd name="T47" fmla="*/ 2147483647 h 172"/>
                <a:gd name="T48" fmla="*/ 2147483647 w 172"/>
                <a:gd name="T49" fmla="*/ 2147483647 h 172"/>
                <a:gd name="T50" fmla="*/ 2147483647 w 172"/>
                <a:gd name="T51" fmla="*/ 2147483647 h 172"/>
                <a:gd name="T52" fmla="*/ 2147483647 w 172"/>
                <a:gd name="T53" fmla="*/ 2147483647 h 172"/>
                <a:gd name="T54" fmla="*/ 2147483647 w 172"/>
                <a:gd name="T55" fmla="*/ 2147483647 h 172"/>
                <a:gd name="T56" fmla="*/ 2147483647 w 172"/>
                <a:gd name="T57" fmla="*/ 2147483647 h 172"/>
                <a:gd name="T58" fmla="*/ 2147483647 w 172"/>
                <a:gd name="T59" fmla="*/ 2147483647 h 172"/>
                <a:gd name="T60" fmla="*/ 2147483647 w 172"/>
                <a:gd name="T61" fmla="*/ 2147483647 h 172"/>
                <a:gd name="T62" fmla="*/ 2147483647 w 172"/>
                <a:gd name="T63" fmla="*/ 2147483647 h 172"/>
                <a:gd name="T64" fmla="*/ 2147483647 w 172"/>
                <a:gd name="T65" fmla="*/ 2147483647 h 172"/>
                <a:gd name="T66" fmla="*/ 2147483647 w 172"/>
                <a:gd name="T67" fmla="*/ 2147483647 h 172"/>
                <a:gd name="T68" fmla="*/ 2147483647 w 172"/>
                <a:gd name="T69" fmla="*/ 2147483647 h 172"/>
                <a:gd name="T70" fmla="*/ 2147483647 w 172"/>
                <a:gd name="T71" fmla="*/ 2147483647 h 172"/>
                <a:gd name="T72" fmla="*/ 2147483647 w 172"/>
                <a:gd name="T73" fmla="*/ 2147483647 h 172"/>
                <a:gd name="T74" fmla="*/ 0 w 172"/>
                <a:gd name="T75" fmla="*/ 2147483647 h 172"/>
                <a:gd name="T76" fmla="*/ 2147483647 w 172"/>
                <a:gd name="T77" fmla="*/ 2147483647 h 172"/>
                <a:gd name="T78" fmla="*/ 2147483647 w 172"/>
                <a:gd name="T79" fmla="*/ 0 h 17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172"/>
                <a:gd name="T121" fmla="*/ 0 h 172"/>
                <a:gd name="T122" fmla="*/ 172 w 172"/>
                <a:gd name="T123" fmla="*/ 172 h 17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172" h="172">
                  <a:moveTo>
                    <a:pt x="6" y="0"/>
                  </a:moveTo>
                  <a:lnTo>
                    <a:pt x="16" y="4"/>
                  </a:lnTo>
                  <a:lnTo>
                    <a:pt x="24" y="2"/>
                  </a:lnTo>
                  <a:lnTo>
                    <a:pt x="48" y="12"/>
                  </a:lnTo>
                  <a:lnTo>
                    <a:pt x="66" y="16"/>
                  </a:lnTo>
                  <a:lnTo>
                    <a:pt x="80" y="14"/>
                  </a:lnTo>
                  <a:lnTo>
                    <a:pt x="90" y="8"/>
                  </a:lnTo>
                  <a:lnTo>
                    <a:pt x="112" y="6"/>
                  </a:lnTo>
                  <a:lnTo>
                    <a:pt x="122" y="12"/>
                  </a:lnTo>
                  <a:lnTo>
                    <a:pt x="134" y="10"/>
                  </a:lnTo>
                  <a:lnTo>
                    <a:pt x="150" y="12"/>
                  </a:lnTo>
                  <a:lnTo>
                    <a:pt x="154" y="20"/>
                  </a:lnTo>
                  <a:lnTo>
                    <a:pt x="162" y="40"/>
                  </a:lnTo>
                  <a:lnTo>
                    <a:pt x="158" y="44"/>
                  </a:lnTo>
                  <a:lnTo>
                    <a:pt x="152" y="56"/>
                  </a:lnTo>
                  <a:lnTo>
                    <a:pt x="150" y="66"/>
                  </a:lnTo>
                  <a:lnTo>
                    <a:pt x="146" y="70"/>
                  </a:lnTo>
                  <a:lnTo>
                    <a:pt x="140" y="60"/>
                  </a:lnTo>
                  <a:lnTo>
                    <a:pt x="136" y="48"/>
                  </a:lnTo>
                  <a:lnTo>
                    <a:pt x="130" y="40"/>
                  </a:lnTo>
                  <a:lnTo>
                    <a:pt x="126" y="28"/>
                  </a:lnTo>
                  <a:lnTo>
                    <a:pt x="122" y="16"/>
                  </a:lnTo>
                  <a:lnTo>
                    <a:pt x="122" y="24"/>
                  </a:lnTo>
                  <a:lnTo>
                    <a:pt x="124" y="42"/>
                  </a:lnTo>
                  <a:lnTo>
                    <a:pt x="128" y="54"/>
                  </a:lnTo>
                  <a:lnTo>
                    <a:pt x="136" y="64"/>
                  </a:lnTo>
                  <a:lnTo>
                    <a:pt x="142" y="72"/>
                  </a:lnTo>
                  <a:lnTo>
                    <a:pt x="150" y="96"/>
                  </a:lnTo>
                  <a:lnTo>
                    <a:pt x="170" y="130"/>
                  </a:lnTo>
                  <a:lnTo>
                    <a:pt x="172" y="136"/>
                  </a:lnTo>
                  <a:lnTo>
                    <a:pt x="172" y="152"/>
                  </a:lnTo>
                  <a:lnTo>
                    <a:pt x="164" y="152"/>
                  </a:lnTo>
                  <a:lnTo>
                    <a:pt x="144" y="172"/>
                  </a:lnTo>
                  <a:lnTo>
                    <a:pt x="134" y="166"/>
                  </a:lnTo>
                  <a:lnTo>
                    <a:pt x="6" y="164"/>
                  </a:lnTo>
                  <a:lnTo>
                    <a:pt x="6" y="38"/>
                  </a:lnTo>
                  <a:lnTo>
                    <a:pt x="2" y="36"/>
                  </a:lnTo>
                  <a:lnTo>
                    <a:pt x="0" y="24"/>
                  </a:lnTo>
                  <a:lnTo>
                    <a:pt x="6" y="2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87" name="Freeform 203"/>
            <p:cNvSpPr>
              <a:spLocks/>
            </p:cNvSpPr>
            <p:nvPr/>
          </p:nvSpPr>
          <p:spPr bwMode="gray">
            <a:xfrm>
              <a:off x="5095875" y="3589338"/>
              <a:ext cx="390525" cy="323850"/>
            </a:xfrm>
            <a:custGeom>
              <a:avLst/>
              <a:gdLst>
                <a:gd name="T0" fmla="*/ 0 w 330"/>
                <a:gd name="T1" fmla="*/ 2147483647 h 268"/>
                <a:gd name="T2" fmla="*/ 2147483647 w 330"/>
                <a:gd name="T3" fmla="*/ 2147483647 h 268"/>
                <a:gd name="T4" fmla="*/ 2147483647 w 330"/>
                <a:gd name="T5" fmla="*/ 2147483647 h 268"/>
                <a:gd name="T6" fmla="*/ 2147483647 w 330"/>
                <a:gd name="T7" fmla="*/ 2147483647 h 268"/>
                <a:gd name="T8" fmla="*/ 2147483647 w 330"/>
                <a:gd name="T9" fmla="*/ 2147483647 h 268"/>
                <a:gd name="T10" fmla="*/ 2147483647 w 330"/>
                <a:gd name="T11" fmla="*/ 2147483647 h 268"/>
                <a:gd name="T12" fmla="*/ 2147483647 w 330"/>
                <a:gd name="T13" fmla="*/ 2147483647 h 268"/>
                <a:gd name="T14" fmla="*/ 2147483647 w 330"/>
                <a:gd name="T15" fmla="*/ 2147483647 h 268"/>
                <a:gd name="T16" fmla="*/ 2147483647 w 330"/>
                <a:gd name="T17" fmla="*/ 2147483647 h 268"/>
                <a:gd name="T18" fmla="*/ 2147483647 w 330"/>
                <a:gd name="T19" fmla="*/ 2147483647 h 268"/>
                <a:gd name="T20" fmla="*/ 2147483647 w 330"/>
                <a:gd name="T21" fmla="*/ 0 h 268"/>
                <a:gd name="T22" fmla="*/ 2147483647 w 330"/>
                <a:gd name="T23" fmla="*/ 2147483647 h 268"/>
                <a:gd name="T24" fmla="*/ 2147483647 w 330"/>
                <a:gd name="T25" fmla="*/ 2147483647 h 268"/>
                <a:gd name="T26" fmla="*/ 2147483647 w 330"/>
                <a:gd name="T27" fmla="*/ 2147483647 h 268"/>
                <a:gd name="T28" fmla="*/ 2147483647 w 330"/>
                <a:gd name="T29" fmla="*/ 2147483647 h 268"/>
                <a:gd name="T30" fmla="*/ 2147483647 w 330"/>
                <a:gd name="T31" fmla="*/ 2147483647 h 268"/>
                <a:gd name="T32" fmla="*/ 2147483647 w 330"/>
                <a:gd name="T33" fmla="*/ 2147483647 h 268"/>
                <a:gd name="T34" fmla="*/ 2147483647 w 330"/>
                <a:gd name="T35" fmla="*/ 2147483647 h 268"/>
                <a:gd name="T36" fmla="*/ 2147483647 w 330"/>
                <a:gd name="T37" fmla="*/ 2147483647 h 268"/>
                <a:gd name="T38" fmla="*/ 2147483647 w 330"/>
                <a:gd name="T39" fmla="*/ 2147483647 h 268"/>
                <a:gd name="T40" fmla="*/ 2147483647 w 330"/>
                <a:gd name="T41" fmla="*/ 2147483647 h 268"/>
                <a:gd name="T42" fmla="*/ 2147483647 w 330"/>
                <a:gd name="T43" fmla="*/ 2147483647 h 268"/>
                <a:gd name="T44" fmla="*/ 2147483647 w 330"/>
                <a:gd name="T45" fmla="*/ 2147483647 h 268"/>
                <a:gd name="T46" fmla="*/ 2147483647 w 330"/>
                <a:gd name="T47" fmla="*/ 2147483647 h 268"/>
                <a:gd name="T48" fmla="*/ 2147483647 w 330"/>
                <a:gd name="T49" fmla="*/ 2147483647 h 268"/>
                <a:gd name="T50" fmla="*/ 2147483647 w 330"/>
                <a:gd name="T51" fmla="*/ 2147483647 h 268"/>
                <a:gd name="T52" fmla="*/ 2147483647 w 330"/>
                <a:gd name="T53" fmla="*/ 2147483647 h 268"/>
                <a:gd name="T54" fmla="*/ 2147483647 w 330"/>
                <a:gd name="T55" fmla="*/ 2147483647 h 268"/>
                <a:gd name="T56" fmla="*/ 2147483647 w 330"/>
                <a:gd name="T57" fmla="*/ 2147483647 h 268"/>
                <a:gd name="T58" fmla="*/ 2147483647 w 330"/>
                <a:gd name="T59" fmla="*/ 2147483647 h 268"/>
                <a:gd name="T60" fmla="*/ 2147483647 w 330"/>
                <a:gd name="T61" fmla="*/ 2147483647 h 268"/>
                <a:gd name="T62" fmla="*/ 2147483647 w 330"/>
                <a:gd name="T63" fmla="*/ 2147483647 h 268"/>
                <a:gd name="T64" fmla="*/ 2147483647 w 330"/>
                <a:gd name="T65" fmla="*/ 2147483647 h 268"/>
                <a:gd name="T66" fmla="*/ 2147483647 w 330"/>
                <a:gd name="T67" fmla="*/ 2147483647 h 268"/>
                <a:gd name="T68" fmla="*/ 2147483647 w 330"/>
                <a:gd name="T69" fmla="*/ 2147483647 h 268"/>
                <a:gd name="T70" fmla="*/ 2147483647 w 330"/>
                <a:gd name="T71" fmla="*/ 2147483647 h 268"/>
                <a:gd name="T72" fmla="*/ 2147483647 w 330"/>
                <a:gd name="T73" fmla="*/ 2147483647 h 268"/>
                <a:gd name="T74" fmla="*/ 2147483647 w 330"/>
                <a:gd name="T75" fmla="*/ 2147483647 h 268"/>
                <a:gd name="T76" fmla="*/ 2147483647 w 330"/>
                <a:gd name="T77" fmla="*/ 2147483647 h 268"/>
                <a:gd name="T78" fmla="*/ 2147483647 w 330"/>
                <a:gd name="T79" fmla="*/ 2147483647 h 268"/>
                <a:gd name="T80" fmla="*/ 2147483647 w 330"/>
                <a:gd name="T81" fmla="*/ 2147483647 h 268"/>
                <a:gd name="T82" fmla="*/ 2147483647 w 330"/>
                <a:gd name="T83" fmla="*/ 2147483647 h 268"/>
                <a:gd name="T84" fmla="*/ 2147483647 w 330"/>
                <a:gd name="T85" fmla="*/ 2147483647 h 268"/>
                <a:gd name="T86" fmla="*/ 2147483647 w 330"/>
                <a:gd name="T87" fmla="*/ 2147483647 h 268"/>
                <a:gd name="T88" fmla="*/ 2147483647 w 330"/>
                <a:gd name="T89" fmla="*/ 2147483647 h 268"/>
                <a:gd name="T90" fmla="*/ 2147483647 w 330"/>
                <a:gd name="T91" fmla="*/ 2147483647 h 268"/>
                <a:gd name="T92" fmla="*/ 2147483647 w 330"/>
                <a:gd name="T93" fmla="*/ 2147483647 h 268"/>
                <a:gd name="T94" fmla="*/ 2147483647 w 330"/>
                <a:gd name="T95" fmla="*/ 2147483647 h 268"/>
                <a:gd name="T96" fmla="*/ 2147483647 w 330"/>
                <a:gd name="T97" fmla="*/ 2147483647 h 268"/>
                <a:gd name="T98" fmla="*/ 2147483647 w 330"/>
                <a:gd name="T99" fmla="*/ 2147483647 h 268"/>
                <a:gd name="T100" fmla="*/ 2147483647 w 330"/>
                <a:gd name="T101" fmla="*/ 2147483647 h 268"/>
                <a:gd name="T102" fmla="*/ 2147483647 w 330"/>
                <a:gd name="T103" fmla="*/ 2147483647 h 268"/>
                <a:gd name="T104" fmla="*/ 2147483647 w 330"/>
                <a:gd name="T105" fmla="*/ 2147483647 h 268"/>
                <a:gd name="T106" fmla="*/ 2147483647 w 330"/>
                <a:gd name="T107" fmla="*/ 2147483647 h 268"/>
                <a:gd name="T108" fmla="*/ 2147483647 w 330"/>
                <a:gd name="T109" fmla="*/ 2147483647 h 268"/>
                <a:gd name="T110" fmla="*/ 2147483647 w 330"/>
                <a:gd name="T111" fmla="*/ 2147483647 h 268"/>
                <a:gd name="T112" fmla="*/ 2147483647 w 330"/>
                <a:gd name="T113" fmla="*/ 2147483647 h 268"/>
                <a:gd name="T114" fmla="*/ 2147483647 w 330"/>
                <a:gd name="T115" fmla="*/ 2147483647 h 268"/>
                <a:gd name="T116" fmla="*/ 2147483647 w 330"/>
                <a:gd name="T117" fmla="*/ 2147483647 h 268"/>
                <a:gd name="T118" fmla="*/ 0 w 330"/>
                <a:gd name="T119" fmla="*/ 2147483647 h 26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30"/>
                <a:gd name="T181" fmla="*/ 0 h 268"/>
                <a:gd name="T182" fmla="*/ 330 w 330"/>
                <a:gd name="T183" fmla="*/ 268 h 26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30" h="268">
                  <a:moveTo>
                    <a:pt x="0" y="68"/>
                  </a:moveTo>
                  <a:lnTo>
                    <a:pt x="4" y="46"/>
                  </a:lnTo>
                  <a:lnTo>
                    <a:pt x="22" y="52"/>
                  </a:lnTo>
                  <a:lnTo>
                    <a:pt x="26" y="48"/>
                  </a:lnTo>
                  <a:lnTo>
                    <a:pt x="32" y="40"/>
                  </a:lnTo>
                  <a:lnTo>
                    <a:pt x="44" y="38"/>
                  </a:lnTo>
                  <a:lnTo>
                    <a:pt x="46" y="32"/>
                  </a:lnTo>
                  <a:lnTo>
                    <a:pt x="52" y="26"/>
                  </a:lnTo>
                  <a:lnTo>
                    <a:pt x="40" y="10"/>
                  </a:lnTo>
                  <a:lnTo>
                    <a:pt x="68" y="6"/>
                  </a:lnTo>
                  <a:lnTo>
                    <a:pt x="70" y="0"/>
                  </a:lnTo>
                  <a:lnTo>
                    <a:pt x="90" y="4"/>
                  </a:lnTo>
                  <a:lnTo>
                    <a:pt x="126" y="24"/>
                  </a:lnTo>
                  <a:lnTo>
                    <a:pt x="134" y="36"/>
                  </a:lnTo>
                  <a:lnTo>
                    <a:pt x="136" y="40"/>
                  </a:lnTo>
                  <a:lnTo>
                    <a:pt x="144" y="42"/>
                  </a:lnTo>
                  <a:lnTo>
                    <a:pt x="158" y="52"/>
                  </a:lnTo>
                  <a:lnTo>
                    <a:pt x="174" y="52"/>
                  </a:lnTo>
                  <a:lnTo>
                    <a:pt x="190" y="52"/>
                  </a:lnTo>
                  <a:lnTo>
                    <a:pt x="200" y="54"/>
                  </a:lnTo>
                  <a:lnTo>
                    <a:pt x="208" y="62"/>
                  </a:lnTo>
                  <a:lnTo>
                    <a:pt x="216" y="62"/>
                  </a:lnTo>
                  <a:lnTo>
                    <a:pt x="226" y="82"/>
                  </a:lnTo>
                  <a:lnTo>
                    <a:pt x="234" y="88"/>
                  </a:lnTo>
                  <a:lnTo>
                    <a:pt x="242" y="96"/>
                  </a:lnTo>
                  <a:lnTo>
                    <a:pt x="244" y="110"/>
                  </a:lnTo>
                  <a:lnTo>
                    <a:pt x="248" y="118"/>
                  </a:lnTo>
                  <a:lnTo>
                    <a:pt x="256" y="128"/>
                  </a:lnTo>
                  <a:lnTo>
                    <a:pt x="260" y="132"/>
                  </a:lnTo>
                  <a:lnTo>
                    <a:pt x="282" y="158"/>
                  </a:lnTo>
                  <a:lnTo>
                    <a:pt x="290" y="160"/>
                  </a:lnTo>
                  <a:lnTo>
                    <a:pt x="302" y="164"/>
                  </a:lnTo>
                  <a:lnTo>
                    <a:pt x="308" y="166"/>
                  </a:lnTo>
                  <a:lnTo>
                    <a:pt x="326" y="164"/>
                  </a:lnTo>
                  <a:lnTo>
                    <a:pt x="330" y="172"/>
                  </a:lnTo>
                  <a:lnTo>
                    <a:pt x="330" y="186"/>
                  </a:lnTo>
                  <a:lnTo>
                    <a:pt x="322" y="204"/>
                  </a:lnTo>
                  <a:lnTo>
                    <a:pt x="306" y="208"/>
                  </a:lnTo>
                  <a:lnTo>
                    <a:pt x="290" y="216"/>
                  </a:lnTo>
                  <a:lnTo>
                    <a:pt x="274" y="226"/>
                  </a:lnTo>
                  <a:lnTo>
                    <a:pt x="258" y="224"/>
                  </a:lnTo>
                  <a:lnTo>
                    <a:pt x="226" y="230"/>
                  </a:lnTo>
                  <a:lnTo>
                    <a:pt x="200" y="254"/>
                  </a:lnTo>
                  <a:lnTo>
                    <a:pt x="170" y="248"/>
                  </a:lnTo>
                  <a:lnTo>
                    <a:pt x="136" y="250"/>
                  </a:lnTo>
                  <a:lnTo>
                    <a:pt x="128" y="268"/>
                  </a:lnTo>
                  <a:lnTo>
                    <a:pt x="120" y="250"/>
                  </a:lnTo>
                  <a:lnTo>
                    <a:pt x="106" y="232"/>
                  </a:lnTo>
                  <a:lnTo>
                    <a:pt x="96" y="212"/>
                  </a:lnTo>
                  <a:lnTo>
                    <a:pt x="88" y="202"/>
                  </a:lnTo>
                  <a:lnTo>
                    <a:pt x="76" y="200"/>
                  </a:lnTo>
                  <a:lnTo>
                    <a:pt x="68" y="184"/>
                  </a:lnTo>
                  <a:lnTo>
                    <a:pt x="68" y="160"/>
                  </a:lnTo>
                  <a:lnTo>
                    <a:pt x="56" y="142"/>
                  </a:lnTo>
                  <a:lnTo>
                    <a:pt x="42" y="136"/>
                  </a:lnTo>
                  <a:lnTo>
                    <a:pt x="38" y="126"/>
                  </a:lnTo>
                  <a:lnTo>
                    <a:pt x="38" y="114"/>
                  </a:lnTo>
                  <a:lnTo>
                    <a:pt x="18" y="90"/>
                  </a:lnTo>
                  <a:lnTo>
                    <a:pt x="8" y="70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88" name="Freeform 204"/>
            <p:cNvSpPr>
              <a:spLocks/>
            </p:cNvSpPr>
            <p:nvPr/>
          </p:nvSpPr>
          <p:spPr bwMode="gray">
            <a:xfrm>
              <a:off x="6326188" y="4100513"/>
              <a:ext cx="77787" cy="100012"/>
            </a:xfrm>
            <a:custGeom>
              <a:avLst/>
              <a:gdLst>
                <a:gd name="T0" fmla="*/ 0 w 64"/>
                <a:gd name="T1" fmla="*/ 0 h 82"/>
                <a:gd name="T2" fmla="*/ 2147483647 w 64"/>
                <a:gd name="T3" fmla="*/ 2147483647 h 82"/>
                <a:gd name="T4" fmla="*/ 2147483647 w 64"/>
                <a:gd name="T5" fmla="*/ 2147483647 h 82"/>
                <a:gd name="T6" fmla="*/ 2147483647 w 64"/>
                <a:gd name="T7" fmla="*/ 2147483647 h 82"/>
                <a:gd name="T8" fmla="*/ 2147483647 w 64"/>
                <a:gd name="T9" fmla="*/ 2147483647 h 82"/>
                <a:gd name="T10" fmla="*/ 2147483647 w 64"/>
                <a:gd name="T11" fmla="*/ 2147483647 h 82"/>
                <a:gd name="T12" fmla="*/ 2147483647 w 64"/>
                <a:gd name="T13" fmla="*/ 2147483647 h 82"/>
                <a:gd name="T14" fmla="*/ 2147483647 w 64"/>
                <a:gd name="T15" fmla="*/ 2147483647 h 82"/>
                <a:gd name="T16" fmla="*/ 2147483647 w 64"/>
                <a:gd name="T17" fmla="*/ 2147483647 h 82"/>
                <a:gd name="T18" fmla="*/ 2147483647 w 64"/>
                <a:gd name="T19" fmla="*/ 2147483647 h 82"/>
                <a:gd name="T20" fmla="*/ 2147483647 w 64"/>
                <a:gd name="T21" fmla="*/ 2147483647 h 82"/>
                <a:gd name="T22" fmla="*/ 2147483647 w 64"/>
                <a:gd name="T23" fmla="*/ 2147483647 h 82"/>
                <a:gd name="T24" fmla="*/ 2147483647 w 64"/>
                <a:gd name="T25" fmla="*/ 2147483647 h 82"/>
                <a:gd name="T26" fmla="*/ 2147483647 w 64"/>
                <a:gd name="T27" fmla="*/ 2147483647 h 82"/>
                <a:gd name="T28" fmla="*/ 2147483647 w 64"/>
                <a:gd name="T29" fmla="*/ 2147483647 h 82"/>
                <a:gd name="T30" fmla="*/ 2147483647 w 64"/>
                <a:gd name="T31" fmla="*/ 2147483647 h 82"/>
                <a:gd name="T32" fmla="*/ 2147483647 w 64"/>
                <a:gd name="T33" fmla="*/ 2147483647 h 82"/>
                <a:gd name="T34" fmla="*/ 2147483647 w 64"/>
                <a:gd name="T35" fmla="*/ 2147483647 h 82"/>
                <a:gd name="T36" fmla="*/ 2147483647 w 64"/>
                <a:gd name="T37" fmla="*/ 2147483647 h 82"/>
                <a:gd name="T38" fmla="*/ 2147483647 w 64"/>
                <a:gd name="T39" fmla="*/ 2147483647 h 82"/>
                <a:gd name="T40" fmla="*/ 2147483647 w 64"/>
                <a:gd name="T41" fmla="*/ 2147483647 h 82"/>
                <a:gd name="T42" fmla="*/ 0 w 64"/>
                <a:gd name="T43" fmla="*/ 0 h 8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4"/>
                <a:gd name="T67" fmla="*/ 0 h 82"/>
                <a:gd name="T68" fmla="*/ 64 w 64"/>
                <a:gd name="T69" fmla="*/ 82 h 8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4" h="82">
                  <a:moveTo>
                    <a:pt x="0" y="0"/>
                  </a:moveTo>
                  <a:lnTo>
                    <a:pt x="10" y="2"/>
                  </a:lnTo>
                  <a:lnTo>
                    <a:pt x="16" y="6"/>
                  </a:lnTo>
                  <a:lnTo>
                    <a:pt x="14" y="14"/>
                  </a:lnTo>
                  <a:lnTo>
                    <a:pt x="24" y="16"/>
                  </a:lnTo>
                  <a:lnTo>
                    <a:pt x="26" y="10"/>
                  </a:lnTo>
                  <a:lnTo>
                    <a:pt x="30" y="6"/>
                  </a:lnTo>
                  <a:lnTo>
                    <a:pt x="40" y="14"/>
                  </a:lnTo>
                  <a:lnTo>
                    <a:pt x="52" y="30"/>
                  </a:lnTo>
                  <a:lnTo>
                    <a:pt x="52" y="40"/>
                  </a:lnTo>
                  <a:lnTo>
                    <a:pt x="54" y="62"/>
                  </a:lnTo>
                  <a:lnTo>
                    <a:pt x="60" y="70"/>
                  </a:lnTo>
                  <a:lnTo>
                    <a:pt x="64" y="78"/>
                  </a:lnTo>
                  <a:lnTo>
                    <a:pt x="64" y="82"/>
                  </a:lnTo>
                  <a:lnTo>
                    <a:pt x="54" y="82"/>
                  </a:lnTo>
                  <a:lnTo>
                    <a:pt x="36" y="72"/>
                  </a:lnTo>
                  <a:lnTo>
                    <a:pt x="16" y="60"/>
                  </a:lnTo>
                  <a:lnTo>
                    <a:pt x="18" y="52"/>
                  </a:lnTo>
                  <a:lnTo>
                    <a:pt x="10" y="42"/>
                  </a:lnTo>
                  <a:lnTo>
                    <a:pt x="4" y="26"/>
                  </a:lnTo>
                  <a:lnTo>
                    <a:pt x="4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89" name="Freeform 205"/>
            <p:cNvSpPr>
              <a:spLocks/>
            </p:cNvSpPr>
            <p:nvPr/>
          </p:nvSpPr>
          <p:spPr bwMode="gray">
            <a:xfrm>
              <a:off x="2071688" y="2433638"/>
              <a:ext cx="195262" cy="125412"/>
            </a:xfrm>
            <a:custGeom>
              <a:avLst/>
              <a:gdLst>
                <a:gd name="T0" fmla="*/ 2147483647 w 166"/>
                <a:gd name="T1" fmla="*/ 2147483647 h 104"/>
                <a:gd name="T2" fmla="*/ 2147483647 w 166"/>
                <a:gd name="T3" fmla="*/ 2147483647 h 104"/>
                <a:gd name="T4" fmla="*/ 2147483647 w 166"/>
                <a:gd name="T5" fmla="*/ 2147483647 h 104"/>
                <a:gd name="T6" fmla="*/ 2147483647 w 166"/>
                <a:gd name="T7" fmla="*/ 2147483647 h 104"/>
                <a:gd name="T8" fmla="*/ 2147483647 w 166"/>
                <a:gd name="T9" fmla="*/ 2147483647 h 104"/>
                <a:gd name="T10" fmla="*/ 2147483647 w 166"/>
                <a:gd name="T11" fmla="*/ 2147483647 h 104"/>
                <a:gd name="T12" fmla="*/ 2147483647 w 166"/>
                <a:gd name="T13" fmla="*/ 2147483647 h 104"/>
                <a:gd name="T14" fmla="*/ 2147483647 w 166"/>
                <a:gd name="T15" fmla="*/ 2147483647 h 104"/>
                <a:gd name="T16" fmla="*/ 0 w 166"/>
                <a:gd name="T17" fmla="*/ 2147483647 h 104"/>
                <a:gd name="T18" fmla="*/ 2147483647 w 166"/>
                <a:gd name="T19" fmla="*/ 2147483647 h 104"/>
                <a:gd name="T20" fmla="*/ 2147483647 w 166"/>
                <a:gd name="T21" fmla="*/ 2147483647 h 104"/>
                <a:gd name="T22" fmla="*/ 2147483647 w 166"/>
                <a:gd name="T23" fmla="*/ 2147483647 h 104"/>
                <a:gd name="T24" fmla="*/ 2147483647 w 166"/>
                <a:gd name="T25" fmla="*/ 2147483647 h 104"/>
                <a:gd name="T26" fmla="*/ 2147483647 w 166"/>
                <a:gd name="T27" fmla="*/ 2147483647 h 104"/>
                <a:gd name="T28" fmla="*/ 2147483647 w 166"/>
                <a:gd name="T29" fmla="*/ 2147483647 h 104"/>
                <a:gd name="T30" fmla="*/ 2147483647 w 166"/>
                <a:gd name="T31" fmla="*/ 2147483647 h 104"/>
                <a:gd name="T32" fmla="*/ 2147483647 w 166"/>
                <a:gd name="T33" fmla="*/ 2147483647 h 104"/>
                <a:gd name="T34" fmla="*/ 2147483647 w 166"/>
                <a:gd name="T35" fmla="*/ 2147483647 h 104"/>
                <a:gd name="T36" fmla="*/ 2147483647 w 166"/>
                <a:gd name="T37" fmla="*/ 2147483647 h 104"/>
                <a:gd name="T38" fmla="*/ 2147483647 w 166"/>
                <a:gd name="T39" fmla="*/ 2147483647 h 104"/>
                <a:gd name="T40" fmla="*/ 2147483647 w 166"/>
                <a:gd name="T41" fmla="*/ 2147483647 h 104"/>
                <a:gd name="T42" fmla="*/ 2147483647 w 166"/>
                <a:gd name="T43" fmla="*/ 2147483647 h 104"/>
                <a:gd name="T44" fmla="*/ 2147483647 w 166"/>
                <a:gd name="T45" fmla="*/ 2147483647 h 104"/>
                <a:gd name="T46" fmla="*/ 2147483647 w 166"/>
                <a:gd name="T47" fmla="*/ 2147483647 h 104"/>
                <a:gd name="T48" fmla="*/ 2147483647 w 166"/>
                <a:gd name="T49" fmla="*/ 2147483647 h 104"/>
                <a:gd name="T50" fmla="*/ 2147483647 w 166"/>
                <a:gd name="T51" fmla="*/ 2147483647 h 104"/>
                <a:gd name="T52" fmla="*/ 2147483647 w 166"/>
                <a:gd name="T53" fmla="*/ 2147483647 h 104"/>
                <a:gd name="T54" fmla="*/ 2147483647 w 166"/>
                <a:gd name="T55" fmla="*/ 2147483647 h 104"/>
                <a:gd name="T56" fmla="*/ 2147483647 w 166"/>
                <a:gd name="T57" fmla="*/ 2147483647 h 104"/>
                <a:gd name="T58" fmla="*/ 2147483647 w 166"/>
                <a:gd name="T59" fmla="*/ 2147483647 h 104"/>
                <a:gd name="T60" fmla="*/ 2147483647 w 166"/>
                <a:gd name="T61" fmla="*/ 0 h 104"/>
                <a:gd name="T62" fmla="*/ 2147483647 w 166"/>
                <a:gd name="T63" fmla="*/ 0 h 104"/>
                <a:gd name="T64" fmla="*/ 2147483647 w 166"/>
                <a:gd name="T65" fmla="*/ 2147483647 h 104"/>
                <a:gd name="T66" fmla="*/ 2147483647 w 166"/>
                <a:gd name="T67" fmla="*/ 2147483647 h 104"/>
                <a:gd name="T68" fmla="*/ 2147483647 w 166"/>
                <a:gd name="T69" fmla="*/ 2147483647 h 10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66"/>
                <a:gd name="T106" fmla="*/ 0 h 104"/>
                <a:gd name="T107" fmla="*/ 166 w 166"/>
                <a:gd name="T108" fmla="*/ 104 h 10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66" h="104">
                  <a:moveTo>
                    <a:pt x="20" y="6"/>
                  </a:moveTo>
                  <a:lnTo>
                    <a:pt x="20" y="14"/>
                  </a:lnTo>
                  <a:lnTo>
                    <a:pt x="28" y="22"/>
                  </a:lnTo>
                  <a:lnTo>
                    <a:pt x="28" y="28"/>
                  </a:lnTo>
                  <a:lnTo>
                    <a:pt x="24" y="34"/>
                  </a:lnTo>
                  <a:lnTo>
                    <a:pt x="20" y="44"/>
                  </a:lnTo>
                  <a:lnTo>
                    <a:pt x="12" y="54"/>
                  </a:lnTo>
                  <a:lnTo>
                    <a:pt x="8" y="68"/>
                  </a:lnTo>
                  <a:lnTo>
                    <a:pt x="0" y="76"/>
                  </a:lnTo>
                  <a:lnTo>
                    <a:pt x="12" y="80"/>
                  </a:lnTo>
                  <a:lnTo>
                    <a:pt x="20" y="84"/>
                  </a:lnTo>
                  <a:lnTo>
                    <a:pt x="32" y="92"/>
                  </a:lnTo>
                  <a:lnTo>
                    <a:pt x="42" y="104"/>
                  </a:lnTo>
                  <a:lnTo>
                    <a:pt x="54" y="100"/>
                  </a:lnTo>
                  <a:lnTo>
                    <a:pt x="68" y="92"/>
                  </a:lnTo>
                  <a:lnTo>
                    <a:pt x="80" y="92"/>
                  </a:lnTo>
                  <a:lnTo>
                    <a:pt x="86" y="82"/>
                  </a:lnTo>
                  <a:lnTo>
                    <a:pt x="90" y="72"/>
                  </a:lnTo>
                  <a:lnTo>
                    <a:pt x="102" y="66"/>
                  </a:lnTo>
                  <a:lnTo>
                    <a:pt x="106" y="58"/>
                  </a:lnTo>
                  <a:lnTo>
                    <a:pt x="120" y="50"/>
                  </a:lnTo>
                  <a:lnTo>
                    <a:pt x="140" y="40"/>
                  </a:lnTo>
                  <a:lnTo>
                    <a:pt x="166" y="32"/>
                  </a:lnTo>
                  <a:lnTo>
                    <a:pt x="158" y="26"/>
                  </a:lnTo>
                  <a:lnTo>
                    <a:pt x="142" y="16"/>
                  </a:lnTo>
                  <a:lnTo>
                    <a:pt x="128" y="8"/>
                  </a:lnTo>
                  <a:lnTo>
                    <a:pt x="114" y="10"/>
                  </a:lnTo>
                  <a:lnTo>
                    <a:pt x="106" y="16"/>
                  </a:lnTo>
                  <a:lnTo>
                    <a:pt x="94" y="14"/>
                  </a:lnTo>
                  <a:lnTo>
                    <a:pt x="74" y="6"/>
                  </a:lnTo>
                  <a:lnTo>
                    <a:pt x="72" y="0"/>
                  </a:lnTo>
                  <a:lnTo>
                    <a:pt x="54" y="0"/>
                  </a:lnTo>
                  <a:lnTo>
                    <a:pt x="52" y="6"/>
                  </a:lnTo>
                  <a:lnTo>
                    <a:pt x="34" y="4"/>
                  </a:lnTo>
                  <a:lnTo>
                    <a:pt x="20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90" name="Freeform 206"/>
            <p:cNvSpPr>
              <a:spLocks/>
            </p:cNvSpPr>
            <p:nvPr/>
          </p:nvSpPr>
          <p:spPr bwMode="gray">
            <a:xfrm>
              <a:off x="2201863" y="2478088"/>
              <a:ext cx="336550" cy="166687"/>
            </a:xfrm>
            <a:custGeom>
              <a:avLst/>
              <a:gdLst>
                <a:gd name="T0" fmla="*/ 2147483647 w 284"/>
                <a:gd name="T1" fmla="*/ 2147483647 h 136"/>
                <a:gd name="T2" fmla="*/ 2147483647 w 284"/>
                <a:gd name="T3" fmla="*/ 2147483647 h 136"/>
                <a:gd name="T4" fmla="*/ 2147483647 w 284"/>
                <a:gd name="T5" fmla="*/ 2147483647 h 136"/>
                <a:gd name="T6" fmla="*/ 2147483647 w 284"/>
                <a:gd name="T7" fmla="*/ 2147483647 h 136"/>
                <a:gd name="T8" fmla="*/ 2147483647 w 284"/>
                <a:gd name="T9" fmla="*/ 2147483647 h 136"/>
                <a:gd name="T10" fmla="*/ 2147483647 w 284"/>
                <a:gd name="T11" fmla="*/ 2147483647 h 136"/>
                <a:gd name="T12" fmla="*/ 2147483647 w 284"/>
                <a:gd name="T13" fmla="*/ 2147483647 h 136"/>
                <a:gd name="T14" fmla="*/ 0 w 284"/>
                <a:gd name="T15" fmla="*/ 2147483647 h 136"/>
                <a:gd name="T16" fmla="*/ 2147483647 w 284"/>
                <a:gd name="T17" fmla="*/ 2147483647 h 136"/>
                <a:gd name="T18" fmla="*/ 2147483647 w 284"/>
                <a:gd name="T19" fmla="*/ 2147483647 h 136"/>
                <a:gd name="T20" fmla="*/ 2147483647 w 284"/>
                <a:gd name="T21" fmla="*/ 0 h 136"/>
                <a:gd name="T22" fmla="*/ 2147483647 w 284"/>
                <a:gd name="T23" fmla="*/ 2147483647 h 136"/>
                <a:gd name="T24" fmla="*/ 2147483647 w 284"/>
                <a:gd name="T25" fmla="*/ 2147483647 h 136"/>
                <a:gd name="T26" fmla="*/ 2147483647 w 284"/>
                <a:gd name="T27" fmla="*/ 2147483647 h 136"/>
                <a:gd name="T28" fmla="*/ 2147483647 w 284"/>
                <a:gd name="T29" fmla="*/ 2147483647 h 136"/>
                <a:gd name="T30" fmla="*/ 2147483647 w 284"/>
                <a:gd name="T31" fmla="*/ 2147483647 h 136"/>
                <a:gd name="T32" fmla="*/ 2147483647 w 284"/>
                <a:gd name="T33" fmla="*/ 2147483647 h 136"/>
                <a:gd name="T34" fmla="*/ 2147483647 w 284"/>
                <a:gd name="T35" fmla="*/ 2147483647 h 136"/>
                <a:gd name="T36" fmla="*/ 2147483647 w 284"/>
                <a:gd name="T37" fmla="*/ 2147483647 h 136"/>
                <a:gd name="T38" fmla="*/ 2147483647 w 284"/>
                <a:gd name="T39" fmla="*/ 2147483647 h 136"/>
                <a:gd name="T40" fmla="*/ 2147483647 w 284"/>
                <a:gd name="T41" fmla="*/ 2147483647 h 136"/>
                <a:gd name="T42" fmla="*/ 2147483647 w 284"/>
                <a:gd name="T43" fmla="*/ 2147483647 h 136"/>
                <a:gd name="T44" fmla="*/ 2147483647 w 284"/>
                <a:gd name="T45" fmla="*/ 2147483647 h 136"/>
                <a:gd name="T46" fmla="*/ 2147483647 w 284"/>
                <a:gd name="T47" fmla="*/ 2147483647 h 136"/>
                <a:gd name="T48" fmla="*/ 2147483647 w 284"/>
                <a:gd name="T49" fmla="*/ 2147483647 h 136"/>
                <a:gd name="T50" fmla="*/ 2147483647 w 284"/>
                <a:gd name="T51" fmla="*/ 2147483647 h 136"/>
                <a:gd name="T52" fmla="*/ 2147483647 w 284"/>
                <a:gd name="T53" fmla="*/ 2147483647 h 136"/>
                <a:gd name="T54" fmla="*/ 2147483647 w 284"/>
                <a:gd name="T55" fmla="*/ 2147483647 h 136"/>
                <a:gd name="T56" fmla="*/ 2147483647 w 284"/>
                <a:gd name="T57" fmla="*/ 2147483647 h 136"/>
                <a:gd name="T58" fmla="*/ 2147483647 w 284"/>
                <a:gd name="T59" fmla="*/ 2147483647 h 136"/>
                <a:gd name="T60" fmla="*/ 2147483647 w 284"/>
                <a:gd name="T61" fmla="*/ 2147483647 h 136"/>
                <a:gd name="T62" fmla="*/ 2147483647 w 284"/>
                <a:gd name="T63" fmla="*/ 2147483647 h 136"/>
                <a:gd name="T64" fmla="*/ 2147483647 w 284"/>
                <a:gd name="T65" fmla="*/ 2147483647 h 136"/>
                <a:gd name="T66" fmla="*/ 2147483647 w 284"/>
                <a:gd name="T67" fmla="*/ 2147483647 h 136"/>
                <a:gd name="T68" fmla="*/ 2147483647 w 284"/>
                <a:gd name="T69" fmla="*/ 2147483647 h 136"/>
                <a:gd name="T70" fmla="*/ 2147483647 w 284"/>
                <a:gd name="T71" fmla="*/ 2147483647 h 136"/>
                <a:gd name="T72" fmla="*/ 2147483647 w 284"/>
                <a:gd name="T73" fmla="*/ 2147483647 h 136"/>
                <a:gd name="T74" fmla="*/ 2147483647 w 284"/>
                <a:gd name="T75" fmla="*/ 2147483647 h 136"/>
                <a:gd name="T76" fmla="*/ 2147483647 w 284"/>
                <a:gd name="T77" fmla="*/ 2147483647 h 136"/>
                <a:gd name="T78" fmla="*/ 2147483647 w 284"/>
                <a:gd name="T79" fmla="*/ 2147483647 h 136"/>
                <a:gd name="T80" fmla="*/ 2147483647 w 284"/>
                <a:gd name="T81" fmla="*/ 2147483647 h 1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84"/>
                <a:gd name="T124" fmla="*/ 0 h 136"/>
                <a:gd name="T125" fmla="*/ 284 w 284"/>
                <a:gd name="T126" fmla="*/ 136 h 1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84" h="136">
                  <a:moveTo>
                    <a:pt x="110" y="90"/>
                  </a:moveTo>
                  <a:lnTo>
                    <a:pt x="104" y="82"/>
                  </a:lnTo>
                  <a:lnTo>
                    <a:pt x="86" y="76"/>
                  </a:lnTo>
                  <a:lnTo>
                    <a:pt x="52" y="78"/>
                  </a:lnTo>
                  <a:lnTo>
                    <a:pt x="28" y="80"/>
                  </a:lnTo>
                  <a:lnTo>
                    <a:pt x="10" y="74"/>
                  </a:lnTo>
                  <a:lnTo>
                    <a:pt x="14" y="62"/>
                  </a:lnTo>
                  <a:lnTo>
                    <a:pt x="30" y="62"/>
                  </a:lnTo>
                  <a:lnTo>
                    <a:pt x="46" y="58"/>
                  </a:lnTo>
                  <a:lnTo>
                    <a:pt x="56" y="54"/>
                  </a:lnTo>
                  <a:lnTo>
                    <a:pt x="46" y="52"/>
                  </a:lnTo>
                  <a:lnTo>
                    <a:pt x="34" y="56"/>
                  </a:lnTo>
                  <a:lnTo>
                    <a:pt x="20" y="56"/>
                  </a:lnTo>
                  <a:lnTo>
                    <a:pt x="14" y="52"/>
                  </a:lnTo>
                  <a:lnTo>
                    <a:pt x="0" y="50"/>
                  </a:lnTo>
                  <a:lnTo>
                    <a:pt x="0" y="42"/>
                  </a:lnTo>
                  <a:lnTo>
                    <a:pt x="8" y="36"/>
                  </a:lnTo>
                  <a:lnTo>
                    <a:pt x="12" y="30"/>
                  </a:lnTo>
                  <a:lnTo>
                    <a:pt x="10" y="22"/>
                  </a:lnTo>
                  <a:lnTo>
                    <a:pt x="26" y="14"/>
                  </a:lnTo>
                  <a:lnTo>
                    <a:pt x="50" y="4"/>
                  </a:lnTo>
                  <a:lnTo>
                    <a:pt x="74" y="0"/>
                  </a:lnTo>
                  <a:lnTo>
                    <a:pt x="76" y="8"/>
                  </a:lnTo>
                  <a:lnTo>
                    <a:pt x="74" y="12"/>
                  </a:lnTo>
                  <a:lnTo>
                    <a:pt x="70" y="18"/>
                  </a:lnTo>
                  <a:lnTo>
                    <a:pt x="84" y="22"/>
                  </a:lnTo>
                  <a:lnTo>
                    <a:pt x="90" y="8"/>
                  </a:lnTo>
                  <a:lnTo>
                    <a:pt x="106" y="12"/>
                  </a:lnTo>
                  <a:lnTo>
                    <a:pt x="122" y="18"/>
                  </a:lnTo>
                  <a:lnTo>
                    <a:pt x="118" y="24"/>
                  </a:lnTo>
                  <a:lnTo>
                    <a:pt x="120" y="28"/>
                  </a:lnTo>
                  <a:lnTo>
                    <a:pt x="128" y="26"/>
                  </a:lnTo>
                  <a:lnTo>
                    <a:pt x="142" y="26"/>
                  </a:lnTo>
                  <a:lnTo>
                    <a:pt x="144" y="18"/>
                  </a:lnTo>
                  <a:lnTo>
                    <a:pt x="136" y="12"/>
                  </a:lnTo>
                  <a:lnTo>
                    <a:pt x="142" y="10"/>
                  </a:lnTo>
                  <a:lnTo>
                    <a:pt x="154" y="16"/>
                  </a:lnTo>
                  <a:lnTo>
                    <a:pt x="162" y="26"/>
                  </a:lnTo>
                  <a:lnTo>
                    <a:pt x="166" y="38"/>
                  </a:lnTo>
                  <a:lnTo>
                    <a:pt x="172" y="48"/>
                  </a:lnTo>
                  <a:lnTo>
                    <a:pt x="182" y="44"/>
                  </a:lnTo>
                  <a:lnTo>
                    <a:pt x="176" y="34"/>
                  </a:lnTo>
                  <a:lnTo>
                    <a:pt x="172" y="16"/>
                  </a:lnTo>
                  <a:lnTo>
                    <a:pt x="170" y="4"/>
                  </a:lnTo>
                  <a:lnTo>
                    <a:pt x="178" y="0"/>
                  </a:lnTo>
                  <a:lnTo>
                    <a:pt x="192" y="4"/>
                  </a:lnTo>
                  <a:lnTo>
                    <a:pt x="206" y="12"/>
                  </a:lnTo>
                  <a:lnTo>
                    <a:pt x="216" y="24"/>
                  </a:lnTo>
                  <a:lnTo>
                    <a:pt x="222" y="40"/>
                  </a:lnTo>
                  <a:lnTo>
                    <a:pt x="230" y="52"/>
                  </a:lnTo>
                  <a:lnTo>
                    <a:pt x="230" y="60"/>
                  </a:lnTo>
                  <a:lnTo>
                    <a:pt x="228" y="66"/>
                  </a:lnTo>
                  <a:lnTo>
                    <a:pt x="238" y="78"/>
                  </a:lnTo>
                  <a:lnTo>
                    <a:pt x="248" y="82"/>
                  </a:lnTo>
                  <a:lnTo>
                    <a:pt x="260" y="84"/>
                  </a:lnTo>
                  <a:lnTo>
                    <a:pt x="268" y="90"/>
                  </a:lnTo>
                  <a:lnTo>
                    <a:pt x="284" y="100"/>
                  </a:lnTo>
                  <a:lnTo>
                    <a:pt x="280" y="104"/>
                  </a:lnTo>
                  <a:lnTo>
                    <a:pt x="264" y="104"/>
                  </a:lnTo>
                  <a:lnTo>
                    <a:pt x="254" y="106"/>
                  </a:lnTo>
                  <a:lnTo>
                    <a:pt x="256" y="112"/>
                  </a:lnTo>
                  <a:lnTo>
                    <a:pt x="268" y="116"/>
                  </a:lnTo>
                  <a:lnTo>
                    <a:pt x="272" y="126"/>
                  </a:lnTo>
                  <a:lnTo>
                    <a:pt x="262" y="128"/>
                  </a:lnTo>
                  <a:lnTo>
                    <a:pt x="240" y="130"/>
                  </a:lnTo>
                  <a:lnTo>
                    <a:pt x="216" y="128"/>
                  </a:lnTo>
                  <a:lnTo>
                    <a:pt x="212" y="122"/>
                  </a:lnTo>
                  <a:lnTo>
                    <a:pt x="202" y="122"/>
                  </a:lnTo>
                  <a:lnTo>
                    <a:pt x="196" y="108"/>
                  </a:lnTo>
                  <a:lnTo>
                    <a:pt x="184" y="122"/>
                  </a:lnTo>
                  <a:lnTo>
                    <a:pt x="168" y="126"/>
                  </a:lnTo>
                  <a:lnTo>
                    <a:pt x="152" y="134"/>
                  </a:lnTo>
                  <a:lnTo>
                    <a:pt x="90" y="136"/>
                  </a:lnTo>
                  <a:lnTo>
                    <a:pt x="84" y="130"/>
                  </a:lnTo>
                  <a:lnTo>
                    <a:pt x="82" y="118"/>
                  </a:lnTo>
                  <a:lnTo>
                    <a:pt x="40" y="118"/>
                  </a:lnTo>
                  <a:lnTo>
                    <a:pt x="22" y="100"/>
                  </a:lnTo>
                  <a:lnTo>
                    <a:pt x="30" y="92"/>
                  </a:lnTo>
                  <a:lnTo>
                    <a:pt x="48" y="90"/>
                  </a:lnTo>
                  <a:lnTo>
                    <a:pt x="80" y="88"/>
                  </a:lnTo>
                  <a:lnTo>
                    <a:pt x="98" y="90"/>
                  </a:lnTo>
                  <a:lnTo>
                    <a:pt x="110" y="9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91" name="Freeform 207"/>
            <p:cNvSpPr>
              <a:spLocks/>
            </p:cNvSpPr>
            <p:nvPr/>
          </p:nvSpPr>
          <p:spPr bwMode="gray">
            <a:xfrm>
              <a:off x="2228850" y="2341563"/>
              <a:ext cx="223838" cy="98425"/>
            </a:xfrm>
            <a:custGeom>
              <a:avLst/>
              <a:gdLst>
                <a:gd name="T0" fmla="*/ 2147483647 w 190"/>
                <a:gd name="T1" fmla="*/ 2147483647 h 82"/>
                <a:gd name="T2" fmla="*/ 2147483647 w 190"/>
                <a:gd name="T3" fmla="*/ 2147483647 h 82"/>
                <a:gd name="T4" fmla="*/ 2147483647 w 190"/>
                <a:gd name="T5" fmla="*/ 2147483647 h 82"/>
                <a:gd name="T6" fmla="*/ 2147483647 w 190"/>
                <a:gd name="T7" fmla="*/ 2147483647 h 82"/>
                <a:gd name="T8" fmla="*/ 2147483647 w 190"/>
                <a:gd name="T9" fmla="*/ 2147483647 h 82"/>
                <a:gd name="T10" fmla="*/ 2147483647 w 190"/>
                <a:gd name="T11" fmla="*/ 2147483647 h 82"/>
                <a:gd name="T12" fmla="*/ 2147483647 w 190"/>
                <a:gd name="T13" fmla="*/ 2147483647 h 82"/>
                <a:gd name="T14" fmla="*/ 2147483647 w 190"/>
                <a:gd name="T15" fmla="*/ 2147483647 h 82"/>
                <a:gd name="T16" fmla="*/ 2147483647 w 190"/>
                <a:gd name="T17" fmla="*/ 2147483647 h 82"/>
                <a:gd name="T18" fmla="*/ 0 w 190"/>
                <a:gd name="T19" fmla="*/ 2147483647 h 82"/>
                <a:gd name="T20" fmla="*/ 2147483647 w 190"/>
                <a:gd name="T21" fmla="*/ 2147483647 h 82"/>
                <a:gd name="T22" fmla="*/ 2147483647 w 190"/>
                <a:gd name="T23" fmla="*/ 2147483647 h 82"/>
                <a:gd name="T24" fmla="*/ 2147483647 w 190"/>
                <a:gd name="T25" fmla="*/ 2147483647 h 82"/>
                <a:gd name="T26" fmla="*/ 2147483647 w 190"/>
                <a:gd name="T27" fmla="*/ 2147483647 h 82"/>
                <a:gd name="T28" fmla="*/ 2147483647 w 190"/>
                <a:gd name="T29" fmla="*/ 2147483647 h 82"/>
                <a:gd name="T30" fmla="*/ 2147483647 w 190"/>
                <a:gd name="T31" fmla="*/ 2147483647 h 82"/>
                <a:gd name="T32" fmla="*/ 2147483647 w 190"/>
                <a:gd name="T33" fmla="*/ 2147483647 h 82"/>
                <a:gd name="T34" fmla="*/ 2147483647 w 190"/>
                <a:gd name="T35" fmla="*/ 2147483647 h 82"/>
                <a:gd name="T36" fmla="*/ 2147483647 w 190"/>
                <a:gd name="T37" fmla="*/ 2147483647 h 82"/>
                <a:gd name="T38" fmla="*/ 2147483647 w 190"/>
                <a:gd name="T39" fmla="*/ 2147483647 h 82"/>
                <a:gd name="T40" fmla="*/ 2147483647 w 190"/>
                <a:gd name="T41" fmla="*/ 2147483647 h 82"/>
                <a:gd name="T42" fmla="*/ 2147483647 w 190"/>
                <a:gd name="T43" fmla="*/ 2147483647 h 82"/>
                <a:gd name="T44" fmla="*/ 2147483647 w 190"/>
                <a:gd name="T45" fmla="*/ 2147483647 h 82"/>
                <a:gd name="T46" fmla="*/ 2147483647 w 190"/>
                <a:gd name="T47" fmla="*/ 2147483647 h 82"/>
                <a:gd name="T48" fmla="*/ 2147483647 w 190"/>
                <a:gd name="T49" fmla="*/ 2147483647 h 82"/>
                <a:gd name="T50" fmla="*/ 2147483647 w 190"/>
                <a:gd name="T51" fmla="*/ 2147483647 h 82"/>
                <a:gd name="T52" fmla="*/ 2147483647 w 190"/>
                <a:gd name="T53" fmla="*/ 2147483647 h 82"/>
                <a:gd name="T54" fmla="*/ 2147483647 w 190"/>
                <a:gd name="T55" fmla="*/ 2147483647 h 82"/>
                <a:gd name="T56" fmla="*/ 2147483647 w 190"/>
                <a:gd name="T57" fmla="*/ 2147483647 h 82"/>
                <a:gd name="T58" fmla="*/ 2147483647 w 190"/>
                <a:gd name="T59" fmla="*/ 2147483647 h 82"/>
                <a:gd name="T60" fmla="*/ 2147483647 w 190"/>
                <a:gd name="T61" fmla="*/ 2147483647 h 82"/>
                <a:gd name="T62" fmla="*/ 2147483647 w 190"/>
                <a:gd name="T63" fmla="*/ 2147483647 h 82"/>
                <a:gd name="T64" fmla="*/ 2147483647 w 190"/>
                <a:gd name="T65" fmla="*/ 2147483647 h 82"/>
                <a:gd name="T66" fmla="*/ 2147483647 w 190"/>
                <a:gd name="T67" fmla="*/ 2147483647 h 82"/>
                <a:gd name="T68" fmla="*/ 2147483647 w 190"/>
                <a:gd name="T69" fmla="*/ 0 h 82"/>
                <a:gd name="T70" fmla="*/ 2147483647 w 190"/>
                <a:gd name="T71" fmla="*/ 2147483647 h 82"/>
                <a:gd name="T72" fmla="*/ 2147483647 w 190"/>
                <a:gd name="T73" fmla="*/ 2147483647 h 82"/>
                <a:gd name="T74" fmla="*/ 2147483647 w 190"/>
                <a:gd name="T75" fmla="*/ 2147483647 h 82"/>
                <a:gd name="T76" fmla="*/ 2147483647 w 190"/>
                <a:gd name="T77" fmla="*/ 2147483647 h 82"/>
                <a:gd name="T78" fmla="*/ 2147483647 w 190"/>
                <a:gd name="T79" fmla="*/ 2147483647 h 82"/>
                <a:gd name="T80" fmla="*/ 2147483647 w 190"/>
                <a:gd name="T81" fmla="*/ 2147483647 h 82"/>
                <a:gd name="T82" fmla="*/ 2147483647 w 190"/>
                <a:gd name="T83" fmla="*/ 2147483647 h 82"/>
                <a:gd name="T84" fmla="*/ 2147483647 w 190"/>
                <a:gd name="T85" fmla="*/ 2147483647 h 82"/>
                <a:gd name="T86" fmla="*/ 2147483647 w 190"/>
                <a:gd name="T87" fmla="*/ 2147483647 h 82"/>
                <a:gd name="T88" fmla="*/ 2147483647 w 190"/>
                <a:gd name="T89" fmla="*/ 2147483647 h 82"/>
                <a:gd name="T90" fmla="*/ 2147483647 w 190"/>
                <a:gd name="T91" fmla="*/ 2147483647 h 82"/>
                <a:gd name="T92" fmla="*/ 2147483647 w 190"/>
                <a:gd name="T93" fmla="*/ 2147483647 h 82"/>
                <a:gd name="T94" fmla="*/ 2147483647 w 190"/>
                <a:gd name="T95" fmla="*/ 2147483647 h 82"/>
                <a:gd name="T96" fmla="*/ 2147483647 w 190"/>
                <a:gd name="T97" fmla="*/ 2147483647 h 82"/>
                <a:gd name="T98" fmla="*/ 2147483647 w 190"/>
                <a:gd name="T99" fmla="*/ 2147483647 h 82"/>
                <a:gd name="T100" fmla="*/ 2147483647 w 190"/>
                <a:gd name="T101" fmla="*/ 2147483647 h 82"/>
                <a:gd name="T102" fmla="*/ 2147483647 w 190"/>
                <a:gd name="T103" fmla="*/ 2147483647 h 82"/>
                <a:gd name="T104" fmla="*/ 2147483647 w 190"/>
                <a:gd name="T105" fmla="*/ 2147483647 h 82"/>
                <a:gd name="T106" fmla="*/ 2147483647 w 190"/>
                <a:gd name="T107" fmla="*/ 2147483647 h 82"/>
                <a:gd name="T108" fmla="*/ 2147483647 w 190"/>
                <a:gd name="T109" fmla="*/ 2147483647 h 82"/>
                <a:gd name="T110" fmla="*/ 2147483647 w 190"/>
                <a:gd name="T111" fmla="*/ 2147483647 h 82"/>
                <a:gd name="T112" fmla="*/ 2147483647 w 190"/>
                <a:gd name="T113" fmla="*/ 2147483647 h 82"/>
                <a:gd name="T114" fmla="*/ 2147483647 w 190"/>
                <a:gd name="T115" fmla="*/ 2147483647 h 82"/>
                <a:gd name="T116" fmla="*/ 2147483647 w 190"/>
                <a:gd name="T117" fmla="*/ 2147483647 h 8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90"/>
                <a:gd name="T178" fmla="*/ 0 h 82"/>
                <a:gd name="T179" fmla="*/ 190 w 190"/>
                <a:gd name="T180" fmla="*/ 82 h 8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90" h="82">
                  <a:moveTo>
                    <a:pt x="98" y="56"/>
                  </a:moveTo>
                  <a:lnTo>
                    <a:pt x="80" y="56"/>
                  </a:lnTo>
                  <a:lnTo>
                    <a:pt x="58" y="56"/>
                  </a:lnTo>
                  <a:lnTo>
                    <a:pt x="62" y="48"/>
                  </a:lnTo>
                  <a:lnTo>
                    <a:pt x="52" y="50"/>
                  </a:lnTo>
                  <a:lnTo>
                    <a:pt x="48" y="58"/>
                  </a:lnTo>
                  <a:lnTo>
                    <a:pt x="30" y="62"/>
                  </a:lnTo>
                  <a:lnTo>
                    <a:pt x="20" y="58"/>
                  </a:lnTo>
                  <a:lnTo>
                    <a:pt x="2" y="56"/>
                  </a:lnTo>
                  <a:lnTo>
                    <a:pt x="0" y="48"/>
                  </a:lnTo>
                  <a:lnTo>
                    <a:pt x="18" y="46"/>
                  </a:lnTo>
                  <a:lnTo>
                    <a:pt x="4" y="42"/>
                  </a:lnTo>
                  <a:lnTo>
                    <a:pt x="10" y="36"/>
                  </a:lnTo>
                  <a:lnTo>
                    <a:pt x="34" y="34"/>
                  </a:lnTo>
                  <a:lnTo>
                    <a:pt x="16" y="30"/>
                  </a:lnTo>
                  <a:lnTo>
                    <a:pt x="18" y="24"/>
                  </a:lnTo>
                  <a:lnTo>
                    <a:pt x="26" y="20"/>
                  </a:lnTo>
                  <a:lnTo>
                    <a:pt x="34" y="16"/>
                  </a:lnTo>
                  <a:lnTo>
                    <a:pt x="50" y="14"/>
                  </a:lnTo>
                  <a:lnTo>
                    <a:pt x="58" y="22"/>
                  </a:lnTo>
                  <a:lnTo>
                    <a:pt x="66" y="20"/>
                  </a:lnTo>
                  <a:lnTo>
                    <a:pt x="74" y="20"/>
                  </a:lnTo>
                  <a:lnTo>
                    <a:pt x="88" y="28"/>
                  </a:lnTo>
                  <a:lnTo>
                    <a:pt x="98" y="36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100" y="44"/>
                  </a:lnTo>
                  <a:lnTo>
                    <a:pt x="136" y="44"/>
                  </a:lnTo>
                  <a:lnTo>
                    <a:pt x="136" y="38"/>
                  </a:lnTo>
                  <a:lnTo>
                    <a:pt x="118" y="34"/>
                  </a:lnTo>
                  <a:lnTo>
                    <a:pt x="130" y="28"/>
                  </a:lnTo>
                  <a:lnTo>
                    <a:pt x="128" y="24"/>
                  </a:lnTo>
                  <a:lnTo>
                    <a:pt x="116" y="20"/>
                  </a:lnTo>
                  <a:lnTo>
                    <a:pt x="122" y="10"/>
                  </a:lnTo>
                  <a:lnTo>
                    <a:pt x="130" y="0"/>
                  </a:lnTo>
                  <a:lnTo>
                    <a:pt x="140" y="2"/>
                  </a:lnTo>
                  <a:lnTo>
                    <a:pt x="142" y="8"/>
                  </a:lnTo>
                  <a:lnTo>
                    <a:pt x="148" y="16"/>
                  </a:lnTo>
                  <a:lnTo>
                    <a:pt x="146" y="22"/>
                  </a:lnTo>
                  <a:lnTo>
                    <a:pt x="148" y="30"/>
                  </a:lnTo>
                  <a:lnTo>
                    <a:pt x="162" y="34"/>
                  </a:lnTo>
                  <a:lnTo>
                    <a:pt x="168" y="34"/>
                  </a:lnTo>
                  <a:lnTo>
                    <a:pt x="172" y="28"/>
                  </a:lnTo>
                  <a:lnTo>
                    <a:pt x="184" y="28"/>
                  </a:lnTo>
                  <a:lnTo>
                    <a:pt x="190" y="34"/>
                  </a:lnTo>
                  <a:lnTo>
                    <a:pt x="190" y="48"/>
                  </a:lnTo>
                  <a:lnTo>
                    <a:pt x="182" y="58"/>
                  </a:lnTo>
                  <a:lnTo>
                    <a:pt x="168" y="64"/>
                  </a:lnTo>
                  <a:lnTo>
                    <a:pt x="148" y="58"/>
                  </a:lnTo>
                  <a:lnTo>
                    <a:pt x="134" y="64"/>
                  </a:lnTo>
                  <a:lnTo>
                    <a:pt x="114" y="66"/>
                  </a:lnTo>
                  <a:lnTo>
                    <a:pt x="96" y="76"/>
                  </a:lnTo>
                  <a:lnTo>
                    <a:pt x="74" y="82"/>
                  </a:lnTo>
                  <a:lnTo>
                    <a:pt x="58" y="78"/>
                  </a:lnTo>
                  <a:lnTo>
                    <a:pt x="50" y="70"/>
                  </a:lnTo>
                  <a:lnTo>
                    <a:pt x="62" y="64"/>
                  </a:lnTo>
                  <a:lnTo>
                    <a:pt x="80" y="64"/>
                  </a:lnTo>
                  <a:lnTo>
                    <a:pt x="96" y="62"/>
                  </a:lnTo>
                  <a:lnTo>
                    <a:pt x="98" y="5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92" name="Freeform 208"/>
            <p:cNvSpPr>
              <a:spLocks/>
            </p:cNvSpPr>
            <p:nvPr/>
          </p:nvSpPr>
          <p:spPr bwMode="gray">
            <a:xfrm>
              <a:off x="2452688" y="2236788"/>
              <a:ext cx="127000" cy="68262"/>
            </a:xfrm>
            <a:custGeom>
              <a:avLst/>
              <a:gdLst>
                <a:gd name="T0" fmla="*/ 0 w 106"/>
                <a:gd name="T1" fmla="*/ 2147483647 h 56"/>
                <a:gd name="T2" fmla="*/ 2147483647 w 106"/>
                <a:gd name="T3" fmla="*/ 2147483647 h 56"/>
                <a:gd name="T4" fmla="*/ 2147483647 w 106"/>
                <a:gd name="T5" fmla="*/ 2147483647 h 56"/>
                <a:gd name="T6" fmla="*/ 2147483647 w 106"/>
                <a:gd name="T7" fmla="*/ 2147483647 h 56"/>
                <a:gd name="T8" fmla="*/ 2147483647 w 106"/>
                <a:gd name="T9" fmla="*/ 2147483647 h 56"/>
                <a:gd name="T10" fmla="*/ 2147483647 w 106"/>
                <a:gd name="T11" fmla="*/ 2147483647 h 56"/>
                <a:gd name="T12" fmla="*/ 2147483647 w 106"/>
                <a:gd name="T13" fmla="*/ 2147483647 h 56"/>
                <a:gd name="T14" fmla="*/ 2147483647 w 106"/>
                <a:gd name="T15" fmla="*/ 2147483647 h 56"/>
                <a:gd name="T16" fmla="*/ 2147483647 w 106"/>
                <a:gd name="T17" fmla="*/ 2147483647 h 56"/>
                <a:gd name="T18" fmla="*/ 2147483647 w 106"/>
                <a:gd name="T19" fmla="*/ 2147483647 h 56"/>
                <a:gd name="T20" fmla="*/ 2147483647 w 106"/>
                <a:gd name="T21" fmla="*/ 2147483647 h 56"/>
                <a:gd name="T22" fmla="*/ 2147483647 w 106"/>
                <a:gd name="T23" fmla="*/ 2147483647 h 56"/>
                <a:gd name="T24" fmla="*/ 2147483647 w 106"/>
                <a:gd name="T25" fmla="*/ 2147483647 h 56"/>
                <a:gd name="T26" fmla="*/ 2147483647 w 106"/>
                <a:gd name="T27" fmla="*/ 2147483647 h 56"/>
                <a:gd name="T28" fmla="*/ 2147483647 w 106"/>
                <a:gd name="T29" fmla="*/ 2147483647 h 56"/>
                <a:gd name="T30" fmla="*/ 2147483647 w 106"/>
                <a:gd name="T31" fmla="*/ 2147483647 h 56"/>
                <a:gd name="T32" fmla="*/ 2147483647 w 106"/>
                <a:gd name="T33" fmla="*/ 2147483647 h 56"/>
                <a:gd name="T34" fmla="*/ 2147483647 w 106"/>
                <a:gd name="T35" fmla="*/ 2147483647 h 56"/>
                <a:gd name="T36" fmla="*/ 2147483647 w 106"/>
                <a:gd name="T37" fmla="*/ 2147483647 h 56"/>
                <a:gd name="T38" fmla="*/ 2147483647 w 106"/>
                <a:gd name="T39" fmla="*/ 2147483647 h 56"/>
                <a:gd name="T40" fmla="*/ 2147483647 w 106"/>
                <a:gd name="T41" fmla="*/ 2147483647 h 56"/>
                <a:gd name="T42" fmla="*/ 2147483647 w 106"/>
                <a:gd name="T43" fmla="*/ 2147483647 h 56"/>
                <a:gd name="T44" fmla="*/ 2147483647 w 106"/>
                <a:gd name="T45" fmla="*/ 2147483647 h 56"/>
                <a:gd name="T46" fmla="*/ 2147483647 w 106"/>
                <a:gd name="T47" fmla="*/ 2147483647 h 56"/>
                <a:gd name="T48" fmla="*/ 2147483647 w 106"/>
                <a:gd name="T49" fmla="*/ 2147483647 h 56"/>
                <a:gd name="T50" fmla="*/ 2147483647 w 106"/>
                <a:gd name="T51" fmla="*/ 0 h 56"/>
                <a:gd name="T52" fmla="*/ 0 w 106"/>
                <a:gd name="T53" fmla="*/ 2147483647 h 56"/>
                <a:gd name="T54" fmla="*/ 0 w 106"/>
                <a:gd name="T55" fmla="*/ 2147483647 h 5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06"/>
                <a:gd name="T85" fmla="*/ 0 h 56"/>
                <a:gd name="T86" fmla="*/ 106 w 106"/>
                <a:gd name="T87" fmla="*/ 56 h 5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06" h="56">
                  <a:moveTo>
                    <a:pt x="0" y="12"/>
                  </a:moveTo>
                  <a:lnTo>
                    <a:pt x="16" y="16"/>
                  </a:lnTo>
                  <a:lnTo>
                    <a:pt x="26" y="20"/>
                  </a:lnTo>
                  <a:lnTo>
                    <a:pt x="34" y="28"/>
                  </a:lnTo>
                  <a:lnTo>
                    <a:pt x="32" y="30"/>
                  </a:lnTo>
                  <a:lnTo>
                    <a:pt x="18" y="28"/>
                  </a:lnTo>
                  <a:lnTo>
                    <a:pt x="10" y="30"/>
                  </a:lnTo>
                  <a:lnTo>
                    <a:pt x="8" y="40"/>
                  </a:lnTo>
                  <a:lnTo>
                    <a:pt x="20" y="42"/>
                  </a:lnTo>
                  <a:lnTo>
                    <a:pt x="34" y="40"/>
                  </a:lnTo>
                  <a:lnTo>
                    <a:pt x="50" y="38"/>
                  </a:lnTo>
                  <a:lnTo>
                    <a:pt x="66" y="40"/>
                  </a:lnTo>
                  <a:lnTo>
                    <a:pt x="74" y="46"/>
                  </a:lnTo>
                  <a:lnTo>
                    <a:pt x="82" y="56"/>
                  </a:lnTo>
                  <a:lnTo>
                    <a:pt x="98" y="56"/>
                  </a:lnTo>
                  <a:lnTo>
                    <a:pt x="106" y="48"/>
                  </a:lnTo>
                  <a:lnTo>
                    <a:pt x="94" y="38"/>
                  </a:lnTo>
                  <a:lnTo>
                    <a:pt x="90" y="28"/>
                  </a:lnTo>
                  <a:lnTo>
                    <a:pt x="80" y="20"/>
                  </a:lnTo>
                  <a:lnTo>
                    <a:pt x="70" y="18"/>
                  </a:lnTo>
                  <a:lnTo>
                    <a:pt x="64" y="12"/>
                  </a:lnTo>
                  <a:lnTo>
                    <a:pt x="50" y="10"/>
                  </a:lnTo>
                  <a:lnTo>
                    <a:pt x="44" y="20"/>
                  </a:lnTo>
                  <a:lnTo>
                    <a:pt x="42" y="10"/>
                  </a:lnTo>
                  <a:lnTo>
                    <a:pt x="40" y="2"/>
                  </a:lnTo>
                  <a:lnTo>
                    <a:pt x="18" y="0"/>
                  </a:lnTo>
                  <a:lnTo>
                    <a:pt x="0" y="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93" name="Freeform 209"/>
            <p:cNvSpPr>
              <a:spLocks/>
            </p:cNvSpPr>
            <p:nvPr/>
          </p:nvSpPr>
          <p:spPr bwMode="gray">
            <a:xfrm>
              <a:off x="2471738" y="2347913"/>
              <a:ext cx="133350" cy="69850"/>
            </a:xfrm>
            <a:custGeom>
              <a:avLst/>
              <a:gdLst>
                <a:gd name="T0" fmla="*/ 2147483647 w 112"/>
                <a:gd name="T1" fmla="*/ 2147483647 h 56"/>
                <a:gd name="T2" fmla="*/ 2147483647 w 112"/>
                <a:gd name="T3" fmla="*/ 2147483647 h 56"/>
                <a:gd name="T4" fmla="*/ 2147483647 w 112"/>
                <a:gd name="T5" fmla="*/ 2147483647 h 56"/>
                <a:gd name="T6" fmla="*/ 2147483647 w 112"/>
                <a:gd name="T7" fmla="*/ 2147483647 h 56"/>
                <a:gd name="T8" fmla="*/ 2147483647 w 112"/>
                <a:gd name="T9" fmla="*/ 2147483647 h 56"/>
                <a:gd name="T10" fmla="*/ 2147483647 w 112"/>
                <a:gd name="T11" fmla="*/ 2147483647 h 56"/>
                <a:gd name="T12" fmla="*/ 2147483647 w 112"/>
                <a:gd name="T13" fmla="*/ 2147483647 h 56"/>
                <a:gd name="T14" fmla="*/ 2147483647 w 112"/>
                <a:gd name="T15" fmla="*/ 2147483647 h 56"/>
                <a:gd name="T16" fmla="*/ 2147483647 w 112"/>
                <a:gd name="T17" fmla="*/ 2147483647 h 56"/>
                <a:gd name="T18" fmla="*/ 2147483647 w 112"/>
                <a:gd name="T19" fmla="*/ 2147483647 h 56"/>
                <a:gd name="T20" fmla="*/ 2147483647 w 112"/>
                <a:gd name="T21" fmla="*/ 2147483647 h 56"/>
                <a:gd name="T22" fmla="*/ 0 w 112"/>
                <a:gd name="T23" fmla="*/ 2147483647 h 56"/>
                <a:gd name="T24" fmla="*/ 2147483647 w 112"/>
                <a:gd name="T25" fmla="*/ 0 h 56"/>
                <a:gd name="T26" fmla="*/ 2147483647 w 112"/>
                <a:gd name="T27" fmla="*/ 2147483647 h 56"/>
                <a:gd name="T28" fmla="*/ 2147483647 w 112"/>
                <a:gd name="T29" fmla="*/ 2147483647 h 56"/>
                <a:gd name="T30" fmla="*/ 2147483647 w 112"/>
                <a:gd name="T31" fmla="*/ 2147483647 h 56"/>
                <a:gd name="T32" fmla="*/ 2147483647 w 112"/>
                <a:gd name="T33" fmla="*/ 2147483647 h 56"/>
                <a:gd name="T34" fmla="*/ 2147483647 w 112"/>
                <a:gd name="T35" fmla="*/ 2147483647 h 56"/>
                <a:gd name="T36" fmla="*/ 2147483647 w 112"/>
                <a:gd name="T37" fmla="*/ 2147483647 h 56"/>
                <a:gd name="T38" fmla="*/ 2147483647 w 112"/>
                <a:gd name="T39" fmla="*/ 2147483647 h 56"/>
                <a:gd name="T40" fmla="*/ 2147483647 w 112"/>
                <a:gd name="T41" fmla="*/ 2147483647 h 56"/>
                <a:gd name="T42" fmla="*/ 2147483647 w 112"/>
                <a:gd name="T43" fmla="*/ 2147483647 h 56"/>
                <a:gd name="T44" fmla="*/ 2147483647 w 112"/>
                <a:gd name="T45" fmla="*/ 2147483647 h 56"/>
                <a:gd name="T46" fmla="*/ 2147483647 w 112"/>
                <a:gd name="T47" fmla="*/ 2147483647 h 56"/>
                <a:gd name="T48" fmla="*/ 2147483647 w 112"/>
                <a:gd name="T49" fmla="*/ 2147483647 h 56"/>
                <a:gd name="T50" fmla="*/ 2147483647 w 112"/>
                <a:gd name="T51" fmla="*/ 0 h 56"/>
                <a:gd name="T52" fmla="*/ 2147483647 w 112"/>
                <a:gd name="T53" fmla="*/ 2147483647 h 56"/>
                <a:gd name="T54" fmla="*/ 2147483647 w 112"/>
                <a:gd name="T55" fmla="*/ 2147483647 h 56"/>
                <a:gd name="T56" fmla="*/ 2147483647 w 112"/>
                <a:gd name="T57" fmla="*/ 2147483647 h 56"/>
                <a:gd name="T58" fmla="*/ 2147483647 w 112"/>
                <a:gd name="T59" fmla="*/ 2147483647 h 56"/>
                <a:gd name="T60" fmla="*/ 2147483647 w 112"/>
                <a:gd name="T61" fmla="*/ 2147483647 h 56"/>
                <a:gd name="T62" fmla="*/ 2147483647 w 112"/>
                <a:gd name="T63" fmla="*/ 2147483647 h 56"/>
                <a:gd name="T64" fmla="*/ 2147483647 w 112"/>
                <a:gd name="T65" fmla="*/ 2147483647 h 56"/>
                <a:gd name="T66" fmla="*/ 2147483647 w 112"/>
                <a:gd name="T67" fmla="*/ 2147483647 h 56"/>
                <a:gd name="T68" fmla="*/ 2147483647 w 112"/>
                <a:gd name="T69" fmla="*/ 2147483647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12"/>
                <a:gd name="T106" fmla="*/ 0 h 56"/>
                <a:gd name="T107" fmla="*/ 112 w 112"/>
                <a:gd name="T108" fmla="*/ 56 h 5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12" h="56">
                  <a:moveTo>
                    <a:pt x="104" y="52"/>
                  </a:moveTo>
                  <a:lnTo>
                    <a:pt x="92" y="54"/>
                  </a:lnTo>
                  <a:lnTo>
                    <a:pt x="70" y="56"/>
                  </a:lnTo>
                  <a:lnTo>
                    <a:pt x="66" y="44"/>
                  </a:lnTo>
                  <a:lnTo>
                    <a:pt x="74" y="36"/>
                  </a:lnTo>
                  <a:lnTo>
                    <a:pt x="68" y="36"/>
                  </a:lnTo>
                  <a:lnTo>
                    <a:pt x="58" y="34"/>
                  </a:lnTo>
                  <a:lnTo>
                    <a:pt x="48" y="34"/>
                  </a:lnTo>
                  <a:lnTo>
                    <a:pt x="36" y="38"/>
                  </a:lnTo>
                  <a:lnTo>
                    <a:pt x="26" y="34"/>
                  </a:lnTo>
                  <a:lnTo>
                    <a:pt x="8" y="20"/>
                  </a:lnTo>
                  <a:lnTo>
                    <a:pt x="0" y="4"/>
                  </a:lnTo>
                  <a:lnTo>
                    <a:pt x="8" y="0"/>
                  </a:lnTo>
                  <a:lnTo>
                    <a:pt x="18" y="6"/>
                  </a:lnTo>
                  <a:lnTo>
                    <a:pt x="26" y="14"/>
                  </a:lnTo>
                  <a:lnTo>
                    <a:pt x="40" y="26"/>
                  </a:lnTo>
                  <a:lnTo>
                    <a:pt x="48" y="24"/>
                  </a:lnTo>
                  <a:lnTo>
                    <a:pt x="40" y="16"/>
                  </a:lnTo>
                  <a:lnTo>
                    <a:pt x="40" y="10"/>
                  </a:lnTo>
                  <a:lnTo>
                    <a:pt x="48" y="8"/>
                  </a:lnTo>
                  <a:lnTo>
                    <a:pt x="58" y="16"/>
                  </a:lnTo>
                  <a:lnTo>
                    <a:pt x="70" y="26"/>
                  </a:lnTo>
                  <a:lnTo>
                    <a:pt x="74" y="20"/>
                  </a:lnTo>
                  <a:lnTo>
                    <a:pt x="68" y="12"/>
                  </a:lnTo>
                  <a:lnTo>
                    <a:pt x="62" y="4"/>
                  </a:lnTo>
                  <a:lnTo>
                    <a:pt x="64" y="0"/>
                  </a:lnTo>
                  <a:lnTo>
                    <a:pt x="78" y="2"/>
                  </a:lnTo>
                  <a:lnTo>
                    <a:pt x="84" y="8"/>
                  </a:lnTo>
                  <a:lnTo>
                    <a:pt x="92" y="4"/>
                  </a:lnTo>
                  <a:lnTo>
                    <a:pt x="104" y="4"/>
                  </a:lnTo>
                  <a:lnTo>
                    <a:pt x="108" y="10"/>
                  </a:lnTo>
                  <a:lnTo>
                    <a:pt x="110" y="28"/>
                  </a:lnTo>
                  <a:lnTo>
                    <a:pt x="112" y="36"/>
                  </a:lnTo>
                  <a:lnTo>
                    <a:pt x="104" y="40"/>
                  </a:lnTo>
                  <a:lnTo>
                    <a:pt x="104" y="5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94" name="Freeform 210"/>
            <p:cNvSpPr>
              <a:spLocks/>
            </p:cNvSpPr>
            <p:nvPr/>
          </p:nvSpPr>
          <p:spPr bwMode="gray">
            <a:xfrm>
              <a:off x="2620963" y="2332038"/>
              <a:ext cx="322262" cy="101600"/>
            </a:xfrm>
            <a:custGeom>
              <a:avLst/>
              <a:gdLst>
                <a:gd name="T0" fmla="*/ 2147483647 w 270"/>
                <a:gd name="T1" fmla="*/ 2147483647 h 84"/>
                <a:gd name="T2" fmla="*/ 2147483647 w 270"/>
                <a:gd name="T3" fmla="*/ 2147483647 h 84"/>
                <a:gd name="T4" fmla="*/ 2147483647 w 270"/>
                <a:gd name="T5" fmla="*/ 2147483647 h 84"/>
                <a:gd name="T6" fmla="*/ 2147483647 w 270"/>
                <a:gd name="T7" fmla="*/ 2147483647 h 84"/>
                <a:gd name="T8" fmla="*/ 0 w 270"/>
                <a:gd name="T9" fmla="*/ 2147483647 h 84"/>
                <a:gd name="T10" fmla="*/ 2147483647 w 270"/>
                <a:gd name="T11" fmla="*/ 2147483647 h 84"/>
                <a:gd name="T12" fmla="*/ 2147483647 w 270"/>
                <a:gd name="T13" fmla="*/ 0 h 84"/>
                <a:gd name="T14" fmla="*/ 2147483647 w 270"/>
                <a:gd name="T15" fmla="*/ 2147483647 h 84"/>
                <a:gd name="T16" fmla="*/ 2147483647 w 270"/>
                <a:gd name="T17" fmla="*/ 2147483647 h 84"/>
                <a:gd name="T18" fmla="*/ 2147483647 w 270"/>
                <a:gd name="T19" fmla="*/ 2147483647 h 84"/>
                <a:gd name="T20" fmla="*/ 2147483647 w 270"/>
                <a:gd name="T21" fmla="*/ 2147483647 h 84"/>
                <a:gd name="T22" fmla="*/ 2147483647 w 270"/>
                <a:gd name="T23" fmla="*/ 2147483647 h 84"/>
                <a:gd name="T24" fmla="*/ 2147483647 w 270"/>
                <a:gd name="T25" fmla="*/ 2147483647 h 84"/>
                <a:gd name="T26" fmla="*/ 2147483647 w 270"/>
                <a:gd name="T27" fmla="*/ 2147483647 h 84"/>
                <a:gd name="T28" fmla="*/ 2147483647 w 270"/>
                <a:gd name="T29" fmla="*/ 2147483647 h 84"/>
                <a:gd name="T30" fmla="*/ 2147483647 w 270"/>
                <a:gd name="T31" fmla="*/ 2147483647 h 84"/>
                <a:gd name="T32" fmla="*/ 2147483647 w 270"/>
                <a:gd name="T33" fmla="*/ 2147483647 h 84"/>
                <a:gd name="T34" fmla="*/ 2147483647 w 270"/>
                <a:gd name="T35" fmla="*/ 2147483647 h 84"/>
                <a:gd name="T36" fmla="*/ 2147483647 w 270"/>
                <a:gd name="T37" fmla="*/ 2147483647 h 84"/>
                <a:gd name="T38" fmla="*/ 2147483647 w 270"/>
                <a:gd name="T39" fmla="*/ 2147483647 h 84"/>
                <a:gd name="T40" fmla="*/ 2147483647 w 270"/>
                <a:gd name="T41" fmla="*/ 2147483647 h 84"/>
                <a:gd name="T42" fmla="*/ 2147483647 w 270"/>
                <a:gd name="T43" fmla="*/ 2147483647 h 84"/>
                <a:gd name="T44" fmla="*/ 2147483647 w 270"/>
                <a:gd name="T45" fmla="*/ 2147483647 h 84"/>
                <a:gd name="T46" fmla="*/ 2147483647 w 270"/>
                <a:gd name="T47" fmla="*/ 2147483647 h 84"/>
                <a:gd name="T48" fmla="*/ 2147483647 w 270"/>
                <a:gd name="T49" fmla="*/ 2147483647 h 84"/>
                <a:gd name="T50" fmla="*/ 2147483647 w 270"/>
                <a:gd name="T51" fmla="*/ 2147483647 h 84"/>
                <a:gd name="T52" fmla="*/ 2147483647 w 270"/>
                <a:gd name="T53" fmla="*/ 2147483647 h 84"/>
                <a:gd name="T54" fmla="*/ 2147483647 w 270"/>
                <a:gd name="T55" fmla="*/ 2147483647 h 84"/>
                <a:gd name="T56" fmla="*/ 2147483647 w 270"/>
                <a:gd name="T57" fmla="*/ 2147483647 h 84"/>
                <a:gd name="T58" fmla="*/ 2147483647 w 270"/>
                <a:gd name="T59" fmla="*/ 2147483647 h 84"/>
                <a:gd name="T60" fmla="*/ 2147483647 w 270"/>
                <a:gd name="T61" fmla="*/ 2147483647 h 84"/>
                <a:gd name="T62" fmla="*/ 2147483647 w 270"/>
                <a:gd name="T63" fmla="*/ 2147483647 h 84"/>
                <a:gd name="T64" fmla="*/ 2147483647 w 270"/>
                <a:gd name="T65" fmla="*/ 2147483647 h 84"/>
                <a:gd name="T66" fmla="*/ 2147483647 w 270"/>
                <a:gd name="T67" fmla="*/ 2147483647 h 84"/>
                <a:gd name="T68" fmla="*/ 2147483647 w 270"/>
                <a:gd name="T69" fmla="*/ 2147483647 h 84"/>
                <a:gd name="T70" fmla="*/ 2147483647 w 270"/>
                <a:gd name="T71" fmla="*/ 2147483647 h 84"/>
                <a:gd name="T72" fmla="*/ 2147483647 w 270"/>
                <a:gd name="T73" fmla="*/ 2147483647 h 84"/>
                <a:gd name="T74" fmla="*/ 2147483647 w 270"/>
                <a:gd name="T75" fmla="*/ 2147483647 h 84"/>
                <a:gd name="T76" fmla="*/ 2147483647 w 270"/>
                <a:gd name="T77" fmla="*/ 2147483647 h 84"/>
                <a:gd name="T78" fmla="*/ 2147483647 w 270"/>
                <a:gd name="T79" fmla="*/ 2147483647 h 84"/>
                <a:gd name="T80" fmla="*/ 2147483647 w 270"/>
                <a:gd name="T81" fmla="*/ 2147483647 h 84"/>
                <a:gd name="T82" fmla="*/ 2147483647 w 270"/>
                <a:gd name="T83" fmla="*/ 2147483647 h 84"/>
                <a:gd name="T84" fmla="*/ 2147483647 w 270"/>
                <a:gd name="T85" fmla="*/ 2147483647 h 84"/>
                <a:gd name="T86" fmla="*/ 2147483647 w 270"/>
                <a:gd name="T87" fmla="*/ 2147483647 h 8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70"/>
                <a:gd name="T133" fmla="*/ 0 h 84"/>
                <a:gd name="T134" fmla="*/ 270 w 270"/>
                <a:gd name="T135" fmla="*/ 84 h 8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70" h="84">
                  <a:moveTo>
                    <a:pt x="48" y="26"/>
                  </a:moveTo>
                  <a:lnTo>
                    <a:pt x="34" y="28"/>
                  </a:lnTo>
                  <a:lnTo>
                    <a:pt x="20" y="26"/>
                  </a:lnTo>
                  <a:lnTo>
                    <a:pt x="6" y="20"/>
                  </a:lnTo>
                  <a:lnTo>
                    <a:pt x="0" y="14"/>
                  </a:lnTo>
                  <a:lnTo>
                    <a:pt x="2" y="4"/>
                  </a:lnTo>
                  <a:lnTo>
                    <a:pt x="14" y="0"/>
                  </a:lnTo>
                  <a:lnTo>
                    <a:pt x="32" y="6"/>
                  </a:lnTo>
                  <a:lnTo>
                    <a:pt x="48" y="10"/>
                  </a:lnTo>
                  <a:lnTo>
                    <a:pt x="54" y="18"/>
                  </a:lnTo>
                  <a:lnTo>
                    <a:pt x="70" y="18"/>
                  </a:lnTo>
                  <a:lnTo>
                    <a:pt x="88" y="14"/>
                  </a:lnTo>
                  <a:lnTo>
                    <a:pt x="96" y="24"/>
                  </a:lnTo>
                  <a:lnTo>
                    <a:pt x="96" y="34"/>
                  </a:lnTo>
                  <a:lnTo>
                    <a:pt x="100" y="40"/>
                  </a:lnTo>
                  <a:lnTo>
                    <a:pt x="120" y="52"/>
                  </a:lnTo>
                  <a:lnTo>
                    <a:pt x="150" y="52"/>
                  </a:lnTo>
                  <a:lnTo>
                    <a:pt x="172" y="54"/>
                  </a:lnTo>
                  <a:lnTo>
                    <a:pt x="198" y="44"/>
                  </a:lnTo>
                  <a:lnTo>
                    <a:pt x="236" y="46"/>
                  </a:lnTo>
                  <a:lnTo>
                    <a:pt x="256" y="50"/>
                  </a:lnTo>
                  <a:lnTo>
                    <a:pt x="270" y="56"/>
                  </a:lnTo>
                  <a:lnTo>
                    <a:pt x="268" y="66"/>
                  </a:lnTo>
                  <a:lnTo>
                    <a:pt x="262" y="70"/>
                  </a:lnTo>
                  <a:lnTo>
                    <a:pt x="260" y="82"/>
                  </a:lnTo>
                  <a:lnTo>
                    <a:pt x="222" y="84"/>
                  </a:lnTo>
                  <a:lnTo>
                    <a:pt x="212" y="76"/>
                  </a:lnTo>
                  <a:lnTo>
                    <a:pt x="206" y="84"/>
                  </a:lnTo>
                  <a:lnTo>
                    <a:pt x="132" y="84"/>
                  </a:lnTo>
                  <a:lnTo>
                    <a:pt x="130" y="74"/>
                  </a:lnTo>
                  <a:lnTo>
                    <a:pt x="126" y="72"/>
                  </a:lnTo>
                  <a:lnTo>
                    <a:pt x="120" y="78"/>
                  </a:lnTo>
                  <a:lnTo>
                    <a:pt x="116" y="84"/>
                  </a:lnTo>
                  <a:lnTo>
                    <a:pt x="92" y="80"/>
                  </a:lnTo>
                  <a:lnTo>
                    <a:pt x="88" y="74"/>
                  </a:lnTo>
                  <a:lnTo>
                    <a:pt x="84" y="78"/>
                  </a:lnTo>
                  <a:lnTo>
                    <a:pt x="78" y="78"/>
                  </a:lnTo>
                  <a:lnTo>
                    <a:pt x="72" y="70"/>
                  </a:lnTo>
                  <a:lnTo>
                    <a:pt x="68" y="58"/>
                  </a:lnTo>
                  <a:lnTo>
                    <a:pt x="68" y="54"/>
                  </a:lnTo>
                  <a:lnTo>
                    <a:pt x="72" y="48"/>
                  </a:lnTo>
                  <a:lnTo>
                    <a:pt x="64" y="38"/>
                  </a:lnTo>
                  <a:lnTo>
                    <a:pt x="58" y="28"/>
                  </a:lnTo>
                  <a:lnTo>
                    <a:pt x="48" y="2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95" name="Freeform 211"/>
            <p:cNvSpPr>
              <a:spLocks/>
            </p:cNvSpPr>
            <p:nvPr/>
          </p:nvSpPr>
          <p:spPr bwMode="gray">
            <a:xfrm>
              <a:off x="2638425" y="2449513"/>
              <a:ext cx="106363" cy="79375"/>
            </a:xfrm>
            <a:custGeom>
              <a:avLst/>
              <a:gdLst>
                <a:gd name="T0" fmla="*/ 2147483647 w 90"/>
                <a:gd name="T1" fmla="*/ 2147483647 h 64"/>
                <a:gd name="T2" fmla="*/ 0 w 90"/>
                <a:gd name="T3" fmla="*/ 2147483647 h 64"/>
                <a:gd name="T4" fmla="*/ 2147483647 w 90"/>
                <a:gd name="T5" fmla="*/ 2147483647 h 64"/>
                <a:gd name="T6" fmla="*/ 2147483647 w 90"/>
                <a:gd name="T7" fmla="*/ 2147483647 h 64"/>
                <a:gd name="T8" fmla="*/ 2147483647 w 90"/>
                <a:gd name="T9" fmla="*/ 2147483647 h 64"/>
                <a:gd name="T10" fmla="*/ 2147483647 w 90"/>
                <a:gd name="T11" fmla="*/ 2147483647 h 64"/>
                <a:gd name="T12" fmla="*/ 2147483647 w 90"/>
                <a:gd name="T13" fmla="*/ 2147483647 h 64"/>
                <a:gd name="T14" fmla="*/ 2147483647 w 90"/>
                <a:gd name="T15" fmla="*/ 2147483647 h 64"/>
                <a:gd name="T16" fmla="*/ 2147483647 w 90"/>
                <a:gd name="T17" fmla="*/ 2147483647 h 64"/>
                <a:gd name="T18" fmla="*/ 2147483647 w 90"/>
                <a:gd name="T19" fmla="*/ 2147483647 h 64"/>
                <a:gd name="T20" fmla="*/ 2147483647 w 90"/>
                <a:gd name="T21" fmla="*/ 2147483647 h 64"/>
                <a:gd name="T22" fmla="*/ 2147483647 w 90"/>
                <a:gd name="T23" fmla="*/ 2147483647 h 64"/>
                <a:gd name="T24" fmla="*/ 2147483647 w 90"/>
                <a:gd name="T25" fmla="*/ 2147483647 h 64"/>
                <a:gd name="T26" fmla="*/ 2147483647 w 90"/>
                <a:gd name="T27" fmla="*/ 0 h 64"/>
                <a:gd name="T28" fmla="*/ 2147483647 w 90"/>
                <a:gd name="T29" fmla="*/ 0 h 64"/>
                <a:gd name="T30" fmla="*/ 2147483647 w 90"/>
                <a:gd name="T31" fmla="*/ 2147483647 h 6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0"/>
                <a:gd name="T49" fmla="*/ 0 h 64"/>
                <a:gd name="T50" fmla="*/ 90 w 90"/>
                <a:gd name="T51" fmla="*/ 64 h 6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0" h="64">
                  <a:moveTo>
                    <a:pt x="8" y="2"/>
                  </a:moveTo>
                  <a:lnTo>
                    <a:pt x="0" y="14"/>
                  </a:lnTo>
                  <a:lnTo>
                    <a:pt x="4" y="36"/>
                  </a:lnTo>
                  <a:lnTo>
                    <a:pt x="8" y="50"/>
                  </a:lnTo>
                  <a:lnTo>
                    <a:pt x="12" y="62"/>
                  </a:lnTo>
                  <a:lnTo>
                    <a:pt x="24" y="64"/>
                  </a:lnTo>
                  <a:lnTo>
                    <a:pt x="34" y="52"/>
                  </a:lnTo>
                  <a:lnTo>
                    <a:pt x="30" y="42"/>
                  </a:lnTo>
                  <a:lnTo>
                    <a:pt x="42" y="40"/>
                  </a:lnTo>
                  <a:lnTo>
                    <a:pt x="60" y="40"/>
                  </a:lnTo>
                  <a:lnTo>
                    <a:pt x="78" y="18"/>
                  </a:lnTo>
                  <a:lnTo>
                    <a:pt x="90" y="2"/>
                  </a:lnTo>
                  <a:lnTo>
                    <a:pt x="60" y="2"/>
                  </a:lnTo>
                  <a:lnTo>
                    <a:pt x="42" y="0"/>
                  </a:lnTo>
                  <a:lnTo>
                    <a:pt x="20" y="0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96" name="Freeform 212"/>
            <p:cNvSpPr>
              <a:spLocks/>
            </p:cNvSpPr>
            <p:nvPr/>
          </p:nvSpPr>
          <p:spPr bwMode="gray">
            <a:xfrm>
              <a:off x="2709863" y="2063750"/>
              <a:ext cx="579437" cy="306388"/>
            </a:xfrm>
            <a:custGeom>
              <a:avLst/>
              <a:gdLst>
                <a:gd name="T0" fmla="*/ 2147483647 w 490"/>
                <a:gd name="T1" fmla="*/ 2147483647 h 252"/>
                <a:gd name="T2" fmla="*/ 2147483647 w 490"/>
                <a:gd name="T3" fmla="*/ 2147483647 h 252"/>
                <a:gd name="T4" fmla="*/ 2147483647 w 490"/>
                <a:gd name="T5" fmla="*/ 2147483647 h 252"/>
                <a:gd name="T6" fmla="*/ 2147483647 w 490"/>
                <a:gd name="T7" fmla="*/ 2147483647 h 252"/>
                <a:gd name="T8" fmla="*/ 2147483647 w 490"/>
                <a:gd name="T9" fmla="*/ 2147483647 h 252"/>
                <a:gd name="T10" fmla="*/ 2147483647 w 490"/>
                <a:gd name="T11" fmla="*/ 2147483647 h 252"/>
                <a:gd name="T12" fmla="*/ 2147483647 w 490"/>
                <a:gd name="T13" fmla="*/ 2147483647 h 252"/>
                <a:gd name="T14" fmla="*/ 2147483647 w 490"/>
                <a:gd name="T15" fmla="*/ 2147483647 h 252"/>
                <a:gd name="T16" fmla="*/ 2147483647 w 490"/>
                <a:gd name="T17" fmla="*/ 2147483647 h 252"/>
                <a:gd name="T18" fmla="*/ 2147483647 w 490"/>
                <a:gd name="T19" fmla="*/ 2147483647 h 252"/>
                <a:gd name="T20" fmla="*/ 2147483647 w 490"/>
                <a:gd name="T21" fmla="*/ 2147483647 h 252"/>
                <a:gd name="T22" fmla="*/ 2147483647 w 490"/>
                <a:gd name="T23" fmla="*/ 2147483647 h 252"/>
                <a:gd name="T24" fmla="*/ 2147483647 w 490"/>
                <a:gd name="T25" fmla="*/ 2147483647 h 252"/>
                <a:gd name="T26" fmla="*/ 2147483647 w 490"/>
                <a:gd name="T27" fmla="*/ 2147483647 h 252"/>
                <a:gd name="T28" fmla="*/ 2147483647 w 490"/>
                <a:gd name="T29" fmla="*/ 2147483647 h 252"/>
                <a:gd name="T30" fmla="*/ 2147483647 w 490"/>
                <a:gd name="T31" fmla="*/ 2147483647 h 252"/>
                <a:gd name="T32" fmla="*/ 2147483647 w 490"/>
                <a:gd name="T33" fmla="*/ 2147483647 h 252"/>
                <a:gd name="T34" fmla="*/ 2147483647 w 490"/>
                <a:gd name="T35" fmla="*/ 2147483647 h 252"/>
                <a:gd name="T36" fmla="*/ 2147483647 w 490"/>
                <a:gd name="T37" fmla="*/ 2147483647 h 252"/>
                <a:gd name="T38" fmla="*/ 2147483647 w 490"/>
                <a:gd name="T39" fmla="*/ 2147483647 h 252"/>
                <a:gd name="T40" fmla="*/ 2147483647 w 490"/>
                <a:gd name="T41" fmla="*/ 2147483647 h 252"/>
                <a:gd name="T42" fmla="*/ 2147483647 w 490"/>
                <a:gd name="T43" fmla="*/ 2147483647 h 252"/>
                <a:gd name="T44" fmla="*/ 2147483647 w 490"/>
                <a:gd name="T45" fmla="*/ 2147483647 h 252"/>
                <a:gd name="T46" fmla="*/ 2147483647 w 490"/>
                <a:gd name="T47" fmla="*/ 2147483647 h 252"/>
                <a:gd name="T48" fmla="*/ 2147483647 w 490"/>
                <a:gd name="T49" fmla="*/ 2147483647 h 252"/>
                <a:gd name="T50" fmla="*/ 2147483647 w 490"/>
                <a:gd name="T51" fmla="*/ 2147483647 h 252"/>
                <a:gd name="T52" fmla="*/ 2147483647 w 490"/>
                <a:gd name="T53" fmla="*/ 2147483647 h 252"/>
                <a:gd name="T54" fmla="*/ 2147483647 w 490"/>
                <a:gd name="T55" fmla="*/ 2147483647 h 252"/>
                <a:gd name="T56" fmla="*/ 2147483647 w 490"/>
                <a:gd name="T57" fmla="*/ 2147483647 h 252"/>
                <a:gd name="T58" fmla="*/ 2147483647 w 490"/>
                <a:gd name="T59" fmla="*/ 2147483647 h 252"/>
                <a:gd name="T60" fmla="*/ 2147483647 w 490"/>
                <a:gd name="T61" fmla="*/ 2147483647 h 252"/>
                <a:gd name="T62" fmla="*/ 2147483647 w 490"/>
                <a:gd name="T63" fmla="*/ 2147483647 h 252"/>
                <a:gd name="T64" fmla="*/ 2147483647 w 490"/>
                <a:gd name="T65" fmla="*/ 2147483647 h 252"/>
                <a:gd name="T66" fmla="*/ 2147483647 w 490"/>
                <a:gd name="T67" fmla="*/ 2147483647 h 252"/>
                <a:gd name="T68" fmla="*/ 2147483647 w 490"/>
                <a:gd name="T69" fmla="*/ 2147483647 h 252"/>
                <a:gd name="T70" fmla="*/ 2147483647 w 490"/>
                <a:gd name="T71" fmla="*/ 2147483647 h 252"/>
                <a:gd name="T72" fmla="*/ 2147483647 w 490"/>
                <a:gd name="T73" fmla="*/ 2147483647 h 252"/>
                <a:gd name="T74" fmla="*/ 2147483647 w 490"/>
                <a:gd name="T75" fmla="*/ 2147483647 h 252"/>
                <a:gd name="T76" fmla="*/ 2147483647 w 490"/>
                <a:gd name="T77" fmla="*/ 2147483647 h 252"/>
                <a:gd name="T78" fmla="*/ 2147483647 w 490"/>
                <a:gd name="T79" fmla="*/ 2147483647 h 252"/>
                <a:gd name="T80" fmla="*/ 2147483647 w 490"/>
                <a:gd name="T81" fmla="*/ 2147483647 h 252"/>
                <a:gd name="T82" fmla="*/ 2147483647 w 490"/>
                <a:gd name="T83" fmla="*/ 2147483647 h 252"/>
                <a:gd name="T84" fmla="*/ 2147483647 w 490"/>
                <a:gd name="T85" fmla="*/ 2147483647 h 252"/>
                <a:gd name="T86" fmla="*/ 2147483647 w 490"/>
                <a:gd name="T87" fmla="*/ 2147483647 h 252"/>
                <a:gd name="T88" fmla="*/ 2147483647 w 490"/>
                <a:gd name="T89" fmla="*/ 2147483647 h 252"/>
                <a:gd name="T90" fmla="*/ 2147483647 w 490"/>
                <a:gd name="T91" fmla="*/ 2147483647 h 252"/>
                <a:gd name="T92" fmla="*/ 2147483647 w 490"/>
                <a:gd name="T93" fmla="*/ 2147483647 h 252"/>
                <a:gd name="T94" fmla="*/ 2147483647 w 490"/>
                <a:gd name="T95" fmla="*/ 2147483647 h 252"/>
                <a:gd name="T96" fmla="*/ 2147483647 w 490"/>
                <a:gd name="T97" fmla="*/ 2147483647 h 252"/>
                <a:gd name="T98" fmla="*/ 2147483647 w 490"/>
                <a:gd name="T99" fmla="*/ 2147483647 h 252"/>
                <a:gd name="T100" fmla="*/ 2147483647 w 490"/>
                <a:gd name="T101" fmla="*/ 2147483647 h 252"/>
                <a:gd name="T102" fmla="*/ 2147483647 w 490"/>
                <a:gd name="T103" fmla="*/ 2147483647 h 252"/>
                <a:gd name="T104" fmla="*/ 2147483647 w 490"/>
                <a:gd name="T105" fmla="*/ 2147483647 h 252"/>
                <a:gd name="T106" fmla="*/ 2147483647 w 490"/>
                <a:gd name="T107" fmla="*/ 2147483647 h 252"/>
                <a:gd name="T108" fmla="*/ 2147483647 w 490"/>
                <a:gd name="T109" fmla="*/ 2147483647 h 252"/>
                <a:gd name="T110" fmla="*/ 2147483647 w 490"/>
                <a:gd name="T111" fmla="*/ 2147483647 h 25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90"/>
                <a:gd name="T169" fmla="*/ 0 h 252"/>
                <a:gd name="T170" fmla="*/ 490 w 490"/>
                <a:gd name="T171" fmla="*/ 252 h 25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90" h="252">
                  <a:moveTo>
                    <a:pt x="434" y="68"/>
                  </a:moveTo>
                  <a:lnTo>
                    <a:pt x="412" y="76"/>
                  </a:lnTo>
                  <a:lnTo>
                    <a:pt x="396" y="86"/>
                  </a:lnTo>
                  <a:lnTo>
                    <a:pt x="370" y="94"/>
                  </a:lnTo>
                  <a:lnTo>
                    <a:pt x="352" y="108"/>
                  </a:lnTo>
                  <a:lnTo>
                    <a:pt x="340" y="108"/>
                  </a:lnTo>
                  <a:lnTo>
                    <a:pt x="336" y="120"/>
                  </a:lnTo>
                  <a:lnTo>
                    <a:pt x="324" y="130"/>
                  </a:lnTo>
                  <a:lnTo>
                    <a:pt x="308" y="134"/>
                  </a:lnTo>
                  <a:lnTo>
                    <a:pt x="300" y="128"/>
                  </a:lnTo>
                  <a:lnTo>
                    <a:pt x="286" y="124"/>
                  </a:lnTo>
                  <a:lnTo>
                    <a:pt x="280" y="126"/>
                  </a:lnTo>
                  <a:lnTo>
                    <a:pt x="288" y="130"/>
                  </a:lnTo>
                  <a:lnTo>
                    <a:pt x="296" y="132"/>
                  </a:lnTo>
                  <a:lnTo>
                    <a:pt x="296" y="136"/>
                  </a:lnTo>
                  <a:lnTo>
                    <a:pt x="296" y="138"/>
                  </a:lnTo>
                  <a:lnTo>
                    <a:pt x="294" y="138"/>
                  </a:lnTo>
                  <a:lnTo>
                    <a:pt x="286" y="138"/>
                  </a:lnTo>
                  <a:lnTo>
                    <a:pt x="276" y="142"/>
                  </a:lnTo>
                  <a:lnTo>
                    <a:pt x="264" y="140"/>
                  </a:lnTo>
                  <a:lnTo>
                    <a:pt x="246" y="138"/>
                  </a:lnTo>
                  <a:lnTo>
                    <a:pt x="234" y="142"/>
                  </a:lnTo>
                  <a:lnTo>
                    <a:pt x="240" y="148"/>
                  </a:lnTo>
                  <a:lnTo>
                    <a:pt x="254" y="148"/>
                  </a:lnTo>
                  <a:lnTo>
                    <a:pt x="272" y="148"/>
                  </a:lnTo>
                  <a:lnTo>
                    <a:pt x="276" y="154"/>
                  </a:lnTo>
                  <a:lnTo>
                    <a:pt x="268" y="154"/>
                  </a:lnTo>
                  <a:lnTo>
                    <a:pt x="254" y="154"/>
                  </a:lnTo>
                  <a:lnTo>
                    <a:pt x="256" y="160"/>
                  </a:lnTo>
                  <a:lnTo>
                    <a:pt x="272" y="162"/>
                  </a:lnTo>
                  <a:lnTo>
                    <a:pt x="272" y="168"/>
                  </a:lnTo>
                  <a:lnTo>
                    <a:pt x="268" y="170"/>
                  </a:lnTo>
                  <a:lnTo>
                    <a:pt x="250" y="168"/>
                  </a:lnTo>
                  <a:lnTo>
                    <a:pt x="254" y="174"/>
                  </a:lnTo>
                  <a:lnTo>
                    <a:pt x="266" y="180"/>
                  </a:lnTo>
                  <a:lnTo>
                    <a:pt x="260" y="184"/>
                  </a:lnTo>
                  <a:lnTo>
                    <a:pt x="258" y="188"/>
                  </a:lnTo>
                  <a:lnTo>
                    <a:pt x="254" y="192"/>
                  </a:lnTo>
                  <a:lnTo>
                    <a:pt x="224" y="194"/>
                  </a:lnTo>
                  <a:lnTo>
                    <a:pt x="220" y="206"/>
                  </a:lnTo>
                  <a:lnTo>
                    <a:pt x="210" y="212"/>
                  </a:lnTo>
                  <a:lnTo>
                    <a:pt x="186" y="212"/>
                  </a:lnTo>
                  <a:lnTo>
                    <a:pt x="166" y="208"/>
                  </a:lnTo>
                  <a:lnTo>
                    <a:pt x="164" y="216"/>
                  </a:lnTo>
                  <a:lnTo>
                    <a:pt x="180" y="220"/>
                  </a:lnTo>
                  <a:lnTo>
                    <a:pt x="202" y="220"/>
                  </a:lnTo>
                  <a:lnTo>
                    <a:pt x="204" y="226"/>
                  </a:lnTo>
                  <a:lnTo>
                    <a:pt x="206" y="232"/>
                  </a:lnTo>
                  <a:lnTo>
                    <a:pt x="214" y="226"/>
                  </a:lnTo>
                  <a:lnTo>
                    <a:pt x="218" y="222"/>
                  </a:lnTo>
                  <a:lnTo>
                    <a:pt x="222" y="226"/>
                  </a:lnTo>
                  <a:lnTo>
                    <a:pt x="224" y="236"/>
                  </a:lnTo>
                  <a:lnTo>
                    <a:pt x="218" y="240"/>
                  </a:lnTo>
                  <a:lnTo>
                    <a:pt x="204" y="244"/>
                  </a:lnTo>
                  <a:lnTo>
                    <a:pt x="188" y="250"/>
                  </a:lnTo>
                  <a:lnTo>
                    <a:pt x="172" y="252"/>
                  </a:lnTo>
                  <a:lnTo>
                    <a:pt x="172" y="244"/>
                  </a:lnTo>
                  <a:lnTo>
                    <a:pt x="162" y="240"/>
                  </a:lnTo>
                  <a:lnTo>
                    <a:pt x="150" y="242"/>
                  </a:lnTo>
                  <a:lnTo>
                    <a:pt x="138" y="238"/>
                  </a:lnTo>
                  <a:lnTo>
                    <a:pt x="132" y="244"/>
                  </a:lnTo>
                  <a:lnTo>
                    <a:pt x="124" y="238"/>
                  </a:lnTo>
                  <a:lnTo>
                    <a:pt x="120" y="244"/>
                  </a:lnTo>
                  <a:lnTo>
                    <a:pt x="88" y="244"/>
                  </a:lnTo>
                  <a:lnTo>
                    <a:pt x="82" y="238"/>
                  </a:lnTo>
                  <a:lnTo>
                    <a:pt x="72" y="244"/>
                  </a:lnTo>
                  <a:lnTo>
                    <a:pt x="68" y="240"/>
                  </a:lnTo>
                  <a:lnTo>
                    <a:pt x="62" y="244"/>
                  </a:lnTo>
                  <a:lnTo>
                    <a:pt x="56" y="236"/>
                  </a:lnTo>
                  <a:lnTo>
                    <a:pt x="46" y="244"/>
                  </a:lnTo>
                  <a:lnTo>
                    <a:pt x="38" y="236"/>
                  </a:lnTo>
                  <a:lnTo>
                    <a:pt x="42" y="224"/>
                  </a:lnTo>
                  <a:lnTo>
                    <a:pt x="56" y="220"/>
                  </a:lnTo>
                  <a:lnTo>
                    <a:pt x="72" y="220"/>
                  </a:lnTo>
                  <a:lnTo>
                    <a:pt x="84" y="220"/>
                  </a:lnTo>
                  <a:lnTo>
                    <a:pt x="80" y="212"/>
                  </a:lnTo>
                  <a:lnTo>
                    <a:pt x="70" y="212"/>
                  </a:lnTo>
                  <a:lnTo>
                    <a:pt x="62" y="204"/>
                  </a:lnTo>
                  <a:lnTo>
                    <a:pt x="62" y="196"/>
                  </a:lnTo>
                  <a:lnTo>
                    <a:pt x="88" y="196"/>
                  </a:lnTo>
                  <a:lnTo>
                    <a:pt x="94" y="204"/>
                  </a:lnTo>
                  <a:lnTo>
                    <a:pt x="102" y="210"/>
                  </a:lnTo>
                  <a:lnTo>
                    <a:pt x="120" y="212"/>
                  </a:lnTo>
                  <a:lnTo>
                    <a:pt x="132" y="212"/>
                  </a:lnTo>
                  <a:lnTo>
                    <a:pt x="146" y="202"/>
                  </a:lnTo>
                  <a:lnTo>
                    <a:pt x="152" y="190"/>
                  </a:lnTo>
                  <a:lnTo>
                    <a:pt x="148" y="188"/>
                  </a:lnTo>
                  <a:lnTo>
                    <a:pt x="140" y="194"/>
                  </a:lnTo>
                  <a:lnTo>
                    <a:pt x="132" y="202"/>
                  </a:lnTo>
                  <a:lnTo>
                    <a:pt x="122" y="206"/>
                  </a:lnTo>
                  <a:lnTo>
                    <a:pt x="104" y="200"/>
                  </a:lnTo>
                  <a:lnTo>
                    <a:pt x="108" y="194"/>
                  </a:lnTo>
                  <a:lnTo>
                    <a:pt x="118" y="186"/>
                  </a:lnTo>
                  <a:lnTo>
                    <a:pt x="116" y="182"/>
                  </a:lnTo>
                  <a:lnTo>
                    <a:pt x="114" y="174"/>
                  </a:lnTo>
                  <a:lnTo>
                    <a:pt x="106" y="180"/>
                  </a:lnTo>
                  <a:lnTo>
                    <a:pt x="100" y="186"/>
                  </a:lnTo>
                  <a:lnTo>
                    <a:pt x="88" y="182"/>
                  </a:lnTo>
                  <a:lnTo>
                    <a:pt x="76" y="184"/>
                  </a:lnTo>
                  <a:lnTo>
                    <a:pt x="68" y="176"/>
                  </a:lnTo>
                  <a:lnTo>
                    <a:pt x="78" y="166"/>
                  </a:lnTo>
                  <a:lnTo>
                    <a:pt x="86" y="162"/>
                  </a:lnTo>
                  <a:lnTo>
                    <a:pt x="104" y="162"/>
                  </a:lnTo>
                  <a:lnTo>
                    <a:pt x="114" y="160"/>
                  </a:lnTo>
                  <a:lnTo>
                    <a:pt x="126" y="162"/>
                  </a:lnTo>
                  <a:lnTo>
                    <a:pt x="138" y="166"/>
                  </a:lnTo>
                  <a:lnTo>
                    <a:pt x="150" y="166"/>
                  </a:lnTo>
                  <a:lnTo>
                    <a:pt x="160" y="158"/>
                  </a:lnTo>
                  <a:lnTo>
                    <a:pt x="154" y="156"/>
                  </a:lnTo>
                  <a:lnTo>
                    <a:pt x="142" y="158"/>
                  </a:lnTo>
                  <a:lnTo>
                    <a:pt x="126" y="154"/>
                  </a:lnTo>
                  <a:lnTo>
                    <a:pt x="114" y="138"/>
                  </a:lnTo>
                  <a:lnTo>
                    <a:pt x="106" y="130"/>
                  </a:lnTo>
                  <a:lnTo>
                    <a:pt x="94" y="130"/>
                  </a:lnTo>
                  <a:lnTo>
                    <a:pt x="86" y="128"/>
                  </a:lnTo>
                  <a:lnTo>
                    <a:pt x="86" y="114"/>
                  </a:lnTo>
                  <a:lnTo>
                    <a:pt x="90" y="106"/>
                  </a:lnTo>
                  <a:lnTo>
                    <a:pt x="108" y="112"/>
                  </a:lnTo>
                  <a:lnTo>
                    <a:pt x="130" y="110"/>
                  </a:lnTo>
                  <a:lnTo>
                    <a:pt x="144" y="120"/>
                  </a:lnTo>
                  <a:lnTo>
                    <a:pt x="156" y="128"/>
                  </a:lnTo>
                  <a:lnTo>
                    <a:pt x="166" y="134"/>
                  </a:lnTo>
                  <a:lnTo>
                    <a:pt x="180" y="130"/>
                  </a:lnTo>
                  <a:lnTo>
                    <a:pt x="166" y="126"/>
                  </a:lnTo>
                  <a:lnTo>
                    <a:pt x="156" y="118"/>
                  </a:lnTo>
                  <a:lnTo>
                    <a:pt x="140" y="110"/>
                  </a:lnTo>
                  <a:lnTo>
                    <a:pt x="146" y="104"/>
                  </a:lnTo>
                  <a:lnTo>
                    <a:pt x="168" y="104"/>
                  </a:lnTo>
                  <a:lnTo>
                    <a:pt x="194" y="102"/>
                  </a:lnTo>
                  <a:lnTo>
                    <a:pt x="206" y="94"/>
                  </a:lnTo>
                  <a:lnTo>
                    <a:pt x="216" y="88"/>
                  </a:lnTo>
                  <a:lnTo>
                    <a:pt x="208" y="86"/>
                  </a:lnTo>
                  <a:lnTo>
                    <a:pt x="216" y="80"/>
                  </a:lnTo>
                  <a:lnTo>
                    <a:pt x="224" y="74"/>
                  </a:lnTo>
                  <a:lnTo>
                    <a:pt x="232" y="70"/>
                  </a:lnTo>
                  <a:lnTo>
                    <a:pt x="226" y="68"/>
                  </a:lnTo>
                  <a:lnTo>
                    <a:pt x="206" y="76"/>
                  </a:lnTo>
                  <a:lnTo>
                    <a:pt x="196" y="86"/>
                  </a:lnTo>
                  <a:lnTo>
                    <a:pt x="182" y="96"/>
                  </a:lnTo>
                  <a:lnTo>
                    <a:pt x="162" y="96"/>
                  </a:lnTo>
                  <a:lnTo>
                    <a:pt x="144" y="98"/>
                  </a:lnTo>
                  <a:lnTo>
                    <a:pt x="138" y="92"/>
                  </a:lnTo>
                  <a:lnTo>
                    <a:pt x="132" y="92"/>
                  </a:lnTo>
                  <a:lnTo>
                    <a:pt x="128" y="100"/>
                  </a:lnTo>
                  <a:lnTo>
                    <a:pt x="110" y="102"/>
                  </a:lnTo>
                  <a:lnTo>
                    <a:pt x="84" y="98"/>
                  </a:lnTo>
                  <a:lnTo>
                    <a:pt x="90" y="88"/>
                  </a:lnTo>
                  <a:lnTo>
                    <a:pt x="98" y="82"/>
                  </a:lnTo>
                  <a:lnTo>
                    <a:pt x="104" y="76"/>
                  </a:lnTo>
                  <a:lnTo>
                    <a:pt x="96" y="72"/>
                  </a:lnTo>
                  <a:lnTo>
                    <a:pt x="80" y="78"/>
                  </a:lnTo>
                  <a:lnTo>
                    <a:pt x="62" y="78"/>
                  </a:lnTo>
                  <a:lnTo>
                    <a:pt x="38" y="80"/>
                  </a:lnTo>
                  <a:lnTo>
                    <a:pt x="26" y="76"/>
                  </a:lnTo>
                  <a:lnTo>
                    <a:pt x="34" y="72"/>
                  </a:lnTo>
                  <a:lnTo>
                    <a:pt x="48" y="66"/>
                  </a:lnTo>
                  <a:lnTo>
                    <a:pt x="60" y="64"/>
                  </a:lnTo>
                  <a:lnTo>
                    <a:pt x="52" y="62"/>
                  </a:lnTo>
                  <a:lnTo>
                    <a:pt x="40" y="62"/>
                  </a:lnTo>
                  <a:lnTo>
                    <a:pt x="32" y="66"/>
                  </a:lnTo>
                  <a:lnTo>
                    <a:pt x="20" y="70"/>
                  </a:lnTo>
                  <a:lnTo>
                    <a:pt x="22" y="64"/>
                  </a:lnTo>
                  <a:lnTo>
                    <a:pt x="28" y="60"/>
                  </a:lnTo>
                  <a:lnTo>
                    <a:pt x="20" y="56"/>
                  </a:lnTo>
                  <a:lnTo>
                    <a:pt x="14" y="60"/>
                  </a:lnTo>
                  <a:lnTo>
                    <a:pt x="0" y="60"/>
                  </a:lnTo>
                  <a:lnTo>
                    <a:pt x="12" y="50"/>
                  </a:lnTo>
                  <a:lnTo>
                    <a:pt x="36" y="50"/>
                  </a:lnTo>
                  <a:lnTo>
                    <a:pt x="46" y="46"/>
                  </a:lnTo>
                  <a:lnTo>
                    <a:pt x="54" y="42"/>
                  </a:lnTo>
                  <a:lnTo>
                    <a:pt x="72" y="42"/>
                  </a:lnTo>
                  <a:lnTo>
                    <a:pt x="80" y="46"/>
                  </a:lnTo>
                  <a:lnTo>
                    <a:pt x="94" y="46"/>
                  </a:lnTo>
                  <a:lnTo>
                    <a:pt x="106" y="46"/>
                  </a:lnTo>
                  <a:lnTo>
                    <a:pt x="98" y="36"/>
                  </a:lnTo>
                  <a:lnTo>
                    <a:pt x="102" y="28"/>
                  </a:lnTo>
                  <a:lnTo>
                    <a:pt x="118" y="28"/>
                  </a:lnTo>
                  <a:lnTo>
                    <a:pt x="130" y="34"/>
                  </a:lnTo>
                  <a:lnTo>
                    <a:pt x="148" y="38"/>
                  </a:lnTo>
                  <a:lnTo>
                    <a:pt x="168" y="40"/>
                  </a:lnTo>
                  <a:lnTo>
                    <a:pt x="156" y="32"/>
                  </a:lnTo>
                  <a:lnTo>
                    <a:pt x="146" y="26"/>
                  </a:lnTo>
                  <a:lnTo>
                    <a:pt x="150" y="20"/>
                  </a:lnTo>
                  <a:lnTo>
                    <a:pt x="164" y="18"/>
                  </a:lnTo>
                  <a:lnTo>
                    <a:pt x="170" y="14"/>
                  </a:lnTo>
                  <a:lnTo>
                    <a:pt x="184" y="14"/>
                  </a:lnTo>
                  <a:lnTo>
                    <a:pt x="198" y="8"/>
                  </a:lnTo>
                  <a:lnTo>
                    <a:pt x="216" y="10"/>
                  </a:lnTo>
                  <a:lnTo>
                    <a:pt x="228" y="14"/>
                  </a:lnTo>
                  <a:lnTo>
                    <a:pt x="236" y="18"/>
                  </a:lnTo>
                  <a:lnTo>
                    <a:pt x="246" y="26"/>
                  </a:lnTo>
                  <a:lnTo>
                    <a:pt x="254" y="22"/>
                  </a:lnTo>
                  <a:lnTo>
                    <a:pt x="246" y="14"/>
                  </a:lnTo>
                  <a:lnTo>
                    <a:pt x="238" y="6"/>
                  </a:lnTo>
                  <a:lnTo>
                    <a:pt x="236" y="0"/>
                  </a:lnTo>
                  <a:lnTo>
                    <a:pt x="278" y="4"/>
                  </a:lnTo>
                  <a:lnTo>
                    <a:pt x="284" y="12"/>
                  </a:lnTo>
                  <a:lnTo>
                    <a:pt x="304" y="18"/>
                  </a:lnTo>
                  <a:lnTo>
                    <a:pt x="296" y="10"/>
                  </a:lnTo>
                  <a:lnTo>
                    <a:pt x="298" y="2"/>
                  </a:lnTo>
                  <a:lnTo>
                    <a:pt x="318" y="4"/>
                  </a:lnTo>
                  <a:lnTo>
                    <a:pt x="326" y="10"/>
                  </a:lnTo>
                  <a:lnTo>
                    <a:pt x="330" y="4"/>
                  </a:lnTo>
                  <a:lnTo>
                    <a:pt x="350" y="2"/>
                  </a:lnTo>
                  <a:lnTo>
                    <a:pt x="366" y="6"/>
                  </a:lnTo>
                  <a:lnTo>
                    <a:pt x="406" y="8"/>
                  </a:lnTo>
                  <a:lnTo>
                    <a:pt x="404" y="12"/>
                  </a:lnTo>
                  <a:lnTo>
                    <a:pt x="388" y="16"/>
                  </a:lnTo>
                  <a:lnTo>
                    <a:pt x="388" y="20"/>
                  </a:lnTo>
                  <a:lnTo>
                    <a:pt x="410" y="14"/>
                  </a:lnTo>
                  <a:lnTo>
                    <a:pt x="434" y="14"/>
                  </a:lnTo>
                  <a:lnTo>
                    <a:pt x="452" y="14"/>
                  </a:lnTo>
                  <a:lnTo>
                    <a:pt x="460" y="26"/>
                  </a:lnTo>
                  <a:lnTo>
                    <a:pt x="484" y="26"/>
                  </a:lnTo>
                  <a:lnTo>
                    <a:pt x="490" y="36"/>
                  </a:lnTo>
                  <a:lnTo>
                    <a:pt x="482" y="40"/>
                  </a:lnTo>
                  <a:lnTo>
                    <a:pt x="458" y="48"/>
                  </a:lnTo>
                  <a:lnTo>
                    <a:pt x="442" y="56"/>
                  </a:lnTo>
                  <a:lnTo>
                    <a:pt x="382" y="58"/>
                  </a:lnTo>
                  <a:lnTo>
                    <a:pt x="376" y="62"/>
                  </a:lnTo>
                  <a:lnTo>
                    <a:pt x="398" y="64"/>
                  </a:lnTo>
                  <a:lnTo>
                    <a:pt x="388" y="66"/>
                  </a:lnTo>
                  <a:lnTo>
                    <a:pt x="368" y="74"/>
                  </a:lnTo>
                  <a:lnTo>
                    <a:pt x="398" y="70"/>
                  </a:lnTo>
                  <a:lnTo>
                    <a:pt x="418" y="64"/>
                  </a:lnTo>
                  <a:lnTo>
                    <a:pt x="432" y="64"/>
                  </a:lnTo>
                  <a:lnTo>
                    <a:pt x="434" y="6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97" name="Freeform 213"/>
            <p:cNvSpPr>
              <a:spLocks/>
            </p:cNvSpPr>
            <p:nvPr/>
          </p:nvSpPr>
          <p:spPr bwMode="gray">
            <a:xfrm>
              <a:off x="1785938" y="2535238"/>
              <a:ext cx="1603375" cy="835025"/>
            </a:xfrm>
            <a:custGeom>
              <a:avLst/>
              <a:gdLst>
                <a:gd name="T0" fmla="*/ 2147483647 w 1350"/>
                <a:gd name="T1" fmla="*/ 2147483647 h 690"/>
                <a:gd name="T2" fmla="*/ 2147483647 w 1350"/>
                <a:gd name="T3" fmla="*/ 2147483647 h 690"/>
                <a:gd name="T4" fmla="*/ 2147483647 w 1350"/>
                <a:gd name="T5" fmla="*/ 2147483647 h 690"/>
                <a:gd name="T6" fmla="*/ 2147483647 w 1350"/>
                <a:gd name="T7" fmla="*/ 2147483647 h 690"/>
                <a:gd name="T8" fmla="*/ 2147483647 w 1350"/>
                <a:gd name="T9" fmla="*/ 2147483647 h 690"/>
                <a:gd name="T10" fmla="*/ 2147483647 w 1350"/>
                <a:gd name="T11" fmla="*/ 2147483647 h 690"/>
                <a:gd name="T12" fmla="*/ 2147483647 w 1350"/>
                <a:gd name="T13" fmla="*/ 2147483647 h 690"/>
                <a:gd name="T14" fmla="*/ 2147483647 w 1350"/>
                <a:gd name="T15" fmla="*/ 2147483647 h 690"/>
                <a:gd name="T16" fmla="*/ 2147483647 w 1350"/>
                <a:gd name="T17" fmla="*/ 2147483647 h 690"/>
                <a:gd name="T18" fmla="*/ 2147483647 w 1350"/>
                <a:gd name="T19" fmla="*/ 2147483647 h 690"/>
                <a:gd name="T20" fmla="*/ 2147483647 w 1350"/>
                <a:gd name="T21" fmla="*/ 2147483647 h 690"/>
                <a:gd name="T22" fmla="*/ 2147483647 w 1350"/>
                <a:gd name="T23" fmla="*/ 2147483647 h 690"/>
                <a:gd name="T24" fmla="*/ 2147483647 w 1350"/>
                <a:gd name="T25" fmla="*/ 2147483647 h 690"/>
                <a:gd name="T26" fmla="*/ 2147483647 w 1350"/>
                <a:gd name="T27" fmla="*/ 2147483647 h 690"/>
                <a:gd name="T28" fmla="*/ 2147483647 w 1350"/>
                <a:gd name="T29" fmla="*/ 2147483647 h 690"/>
                <a:gd name="T30" fmla="*/ 2147483647 w 1350"/>
                <a:gd name="T31" fmla="*/ 2147483647 h 690"/>
                <a:gd name="T32" fmla="*/ 2147483647 w 1350"/>
                <a:gd name="T33" fmla="*/ 2147483647 h 690"/>
                <a:gd name="T34" fmla="*/ 2147483647 w 1350"/>
                <a:gd name="T35" fmla="*/ 2147483647 h 690"/>
                <a:gd name="T36" fmla="*/ 2147483647 w 1350"/>
                <a:gd name="T37" fmla="*/ 2147483647 h 690"/>
                <a:gd name="T38" fmla="*/ 2147483647 w 1350"/>
                <a:gd name="T39" fmla="*/ 2147483647 h 690"/>
                <a:gd name="T40" fmla="*/ 2147483647 w 1350"/>
                <a:gd name="T41" fmla="*/ 2147483647 h 690"/>
                <a:gd name="T42" fmla="*/ 2147483647 w 1350"/>
                <a:gd name="T43" fmla="*/ 2147483647 h 690"/>
                <a:gd name="T44" fmla="*/ 2147483647 w 1350"/>
                <a:gd name="T45" fmla="*/ 2147483647 h 690"/>
                <a:gd name="T46" fmla="*/ 2147483647 w 1350"/>
                <a:gd name="T47" fmla="*/ 2147483647 h 690"/>
                <a:gd name="T48" fmla="*/ 2147483647 w 1350"/>
                <a:gd name="T49" fmla="*/ 2147483647 h 690"/>
                <a:gd name="T50" fmla="*/ 2147483647 w 1350"/>
                <a:gd name="T51" fmla="*/ 2147483647 h 690"/>
                <a:gd name="T52" fmla="*/ 2147483647 w 1350"/>
                <a:gd name="T53" fmla="*/ 2147483647 h 690"/>
                <a:gd name="T54" fmla="*/ 2147483647 w 1350"/>
                <a:gd name="T55" fmla="*/ 2147483647 h 690"/>
                <a:gd name="T56" fmla="*/ 2147483647 w 1350"/>
                <a:gd name="T57" fmla="*/ 2147483647 h 690"/>
                <a:gd name="T58" fmla="*/ 2147483647 w 1350"/>
                <a:gd name="T59" fmla="*/ 2147483647 h 690"/>
                <a:gd name="T60" fmla="*/ 2147483647 w 1350"/>
                <a:gd name="T61" fmla="*/ 2147483647 h 690"/>
                <a:gd name="T62" fmla="*/ 2147483647 w 1350"/>
                <a:gd name="T63" fmla="*/ 2147483647 h 690"/>
                <a:gd name="T64" fmla="*/ 2147483647 w 1350"/>
                <a:gd name="T65" fmla="*/ 2147483647 h 690"/>
                <a:gd name="T66" fmla="*/ 2147483647 w 1350"/>
                <a:gd name="T67" fmla="*/ 2147483647 h 690"/>
                <a:gd name="T68" fmla="*/ 2147483647 w 1350"/>
                <a:gd name="T69" fmla="*/ 2147483647 h 690"/>
                <a:gd name="T70" fmla="*/ 2147483647 w 1350"/>
                <a:gd name="T71" fmla="*/ 2147483647 h 690"/>
                <a:gd name="T72" fmla="*/ 2147483647 w 1350"/>
                <a:gd name="T73" fmla="*/ 2147483647 h 690"/>
                <a:gd name="T74" fmla="*/ 2147483647 w 1350"/>
                <a:gd name="T75" fmla="*/ 2147483647 h 690"/>
                <a:gd name="T76" fmla="*/ 2147483647 w 1350"/>
                <a:gd name="T77" fmla="*/ 2147483647 h 690"/>
                <a:gd name="T78" fmla="*/ 2147483647 w 1350"/>
                <a:gd name="T79" fmla="*/ 2147483647 h 690"/>
                <a:gd name="T80" fmla="*/ 2147483647 w 1350"/>
                <a:gd name="T81" fmla="*/ 2147483647 h 690"/>
                <a:gd name="T82" fmla="*/ 2147483647 w 1350"/>
                <a:gd name="T83" fmla="*/ 2147483647 h 690"/>
                <a:gd name="T84" fmla="*/ 2147483647 w 1350"/>
                <a:gd name="T85" fmla="*/ 2147483647 h 690"/>
                <a:gd name="T86" fmla="*/ 2147483647 w 1350"/>
                <a:gd name="T87" fmla="*/ 2147483647 h 690"/>
                <a:gd name="T88" fmla="*/ 2147483647 w 1350"/>
                <a:gd name="T89" fmla="*/ 2147483647 h 690"/>
                <a:gd name="T90" fmla="*/ 2147483647 w 1350"/>
                <a:gd name="T91" fmla="*/ 2147483647 h 690"/>
                <a:gd name="T92" fmla="*/ 2147483647 w 1350"/>
                <a:gd name="T93" fmla="*/ 2147483647 h 690"/>
                <a:gd name="T94" fmla="*/ 2147483647 w 1350"/>
                <a:gd name="T95" fmla="*/ 2147483647 h 690"/>
                <a:gd name="T96" fmla="*/ 2147483647 w 1350"/>
                <a:gd name="T97" fmla="*/ 2147483647 h 690"/>
                <a:gd name="T98" fmla="*/ 2147483647 w 1350"/>
                <a:gd name="T99" fmla="*/ 2147483647 h 690"/>
                <a:gd name="T100" fmla="*/ 2147483647 w 1350"/>
                <a:gd name="T101" fmla="*/ 2147483647 h 690"/>
                <a:gd name="T102" fmla="*/ 2147483647 w 1350"/>
                <a:gd name="T103" fmla="*/ 2147483647 h 690"/>
                <a:gd name="T104" fmla="*/ 2147483647 w 1350"/>
                <a:gd name="T105" fmla="*/ 2147483647 h 690"/>
                <a:gd name="T106" fmla="*/ 2147483647 w 1350"/>
                <a:gd name="T107" fmla="*/ 2147483647 h 690"/>
                <a:gd name="T108" fmla="*/ 2147483647 w 1350"/>
                <a:gd name="T109" fmla="*/ 2147483647 h 690"/>
                <a:gd name="T110" fmla="*/ 2147483647 w 1350"/>
                <a:gd name="T111" fmla="*/ 2147483647 h 690"/>
                <a:gd name="T112" fmla="*/ 2147483647 w 1350"/>
                <a:gd name="T113" fmla="*/ 2147483647 h 690"/>
                <a:gd name="T114" fmla="*/ 2147483647 w 1350"/>
                <a:gd name="T115" fmla="*/ 2147483647 h 690"/>
                <a:gd name="T116" fmla="*/ 2147483647 w 1350"/>
                <a:gd name="T117" fmla="*/ 2147483647 h 690"/>
                <a:gd name="T118" fmla="*/ 2147483647 w 1350"/>
                <a:gd name="T119" fmla="*/ 2147483647 h 690"/>
                <a:gd name="T120" fmla="*/ 2147483647 w 1350"/>
                <a:gd name="T121" fmla="*/ 2147483647 h 690"/>
                <a:gd name="T122" fmla="*/ 2147483647 w 1350"/>
                <a:gd name="T123" fmla="*/ 2147483647 h 69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350"/>
                <a:gd name="T187" fmla="*/ 0 h 690"/>
                <a:gd name="T188" fmla="*/ 1350 w 1350"/>
                <a:gd name="T189" fmla="*/ 690 h 69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350" h="690">
                  <a:moveTo>
                    <a:pt x="1218" y="562"/>
                  </a:moveTo>
                  <a:lnTo>
                    <a:pt x="1214" y="568"/>
                  </a:lnTo>
                  <a:lnTo>
                    <a:pt x="1204" y="570"/>
                  </a:lnTo>
                  <a:lnTo>
                    <a:pt x="1208" y="580"/>
                  </a:lnTo>
                  <a:lnTo>
                    <a:pt x="1204" y="588"/>
                  </a:lnTo>
                  <a:lnTo>
                    <a:pt x="1206" y="594"/>
                  </a:lnTo>
                  <a:lnTo>
                    <a:pt x="1210" y="602"/>
                  </a:lnTo>
                  <a:lnTo>
                    <a:pt x="1222" y="610"/>
                  </a:lnTo>
                  <a:lnTo>
                    <a:pt x="1236" y="614"/>
                  </a:lnTo>
                  <a:lnTo>
                    <a:pt x="1254" y="614"/>
                  </a:lnTo>
                  <a:lnTo>
                    <a:pt x="1262" y="612"/>
                  </a:lnTo>
                  <a:lnTo>
                    <a:pt x="1266" y="604"/>
                  </a:lnTo>
                  <a:lnTo>
                    <a:pt x="1270" y="596"/>
                  </a:lnTo>
                  <a:lnTo>
                    <a:pt x="1278" y="596"/>
                  </a:lnTo>
                  <a:lnTo>
                    <a:pt x="1278" y="604"/>
                  </a:lnTo>
                  <a:lnTo>
                    <a:pt x="1284" y="608"/>
                  </a:lnTo>
                  <a:lnTo>
                    <a:pt x="1284" y="616"/>
                  </a:lnTo>
                  <a:lnTo>
                    <a:pt x="1274" y="616"/>
                  </a:lnTo>
                  <a:lnTo>
                    <a:pt x="1268" y="616"/>
                  </a:lnTo>
                  <a:lnTo>
                    <a:pt x="1262" y="626"/>
                  </a:lnTo>
                  <a:lnTo>
                    <a:pt x="1258" y="630"/>
                  </a:lnTo>
                  <a:lnTo>
                    <a:pt x="1246" y="634"/>
                  </a:lnTo>
                  <a:lnTo>
                    <a:pt x="1230" y="640"/>
                  </a:lnTo>
                  <a:lnTo>
                    <a:pt x="1220" y="640"/>
                  </a:lnTo>
                  <a:lnTo>
                    <a:pt x="1212" y="648"/>
                  </a:lnTo>
                  <a:lnTo>
                    <a:pt x="1204" y="656"/>
                  </a:lnTo>
                  <a:lnTo>
                    <a:pt x="1198" y="662"/>
                  </a:lnTo>
                  <a:lnTo>
                    <a:pt x="1188" y="656"/>
                  </a:lnTo>
                  <a:lnTo>
                    <a:pt x="1186" y="648"/>
                  </a:lnTo>
                  <a:lnTo>
                    <a:pt x="1190" y="640"/>
                  </a:lnTo>
                  <a:lnTo>
                    <a:pt x="1202" y="632"/>
                  </a:lnTo>
                  <a:lnTo>
                    <a:pt x="1214" y="628"/>
                  </a:lnTo>
                  <a:lnTo>
                    <a:pt x="1216" y="626"/>
                  </a:lnTo>
                  <a:lnTo>
                    <a:pt x="1216" y="624"/>
                  </a:lnTo>
                  <a:lnTo>
                    <a:pt x="1214" y="620"/>
                  </a:lnTo>
                  <a:lnTo>
                    <a:pt x="1210" y="618"/>
                  </a:lnTo>
                  <a:lnTo>
                    <a:pt x="1198" y="624"/>
                  </a:lnTo>
                  <a:lnTo>
                    <a:pt x="1188" y="628"/>
                  </a:lnTo>
                  <a:lnTo>
                    <a:pt x="1172" y="632"/>
                  </a:lnTo>
                  <a:lnTo>
                    <a:pt x="1168" y="626"/>
                  </a:lnTo>
                  <a:lnTo>
                    <a:pt x="1162" y="620"/>
                  </a:lnTo>
                  <a:lnTo>
                    <a:pt x="1160" y="612"/>
                  </a:lnTo>
                  <a:lnTo>
                    <a:pt x="1162" y="596"/>
                  </a:lnTo>
                  <a:lnTo>
                    <a:pt x="1160" y="588"/>
                  </a:lnTo>
                  <a:lnTo>
                    <a:pt x="1146" y="584"/>
                  </a:lnTo>
                  <a:lnTo>
                    <a:pt x="1138" y="580"/>
                  </a:lnTo>
                  <a:lnTo>
                    <a:pt x="1130" y="588"/>
                  </a:lnTo>
                  <a:lnTo>
                    <a:pt x="1122" y="602"/>
                  </a:lnTo>
                  <a:lnTo>
                    <a:pt x="1118" y="612"/>
                  </a:lnTo>
                  <a:lnTo>
                    <a:pt x="1118" y="618"/>
                  </a:lnTo>
                  <a:lnTo>
                    <a:pt x="1112" y="626"/>
                  </a:lnTo>
                  <a:lnTo>
                    <a:pt x="1100" y="632"/>
                  </a:lnTo>
                  <a:lnTo>
                    <a:pt x="1042" y="632"/>
                  </a:lnTo>
                  <a:lnTo>
                    <a:pt x="1026" y="644"/>
                  </a:lnTo>
                  <a:lnTo>
                    <a:pt x="1020" y="648"/>
                  </a:lnTo>
                  <a:lnTo>
                    <a:pt x="1014" y="652"/>
                  </a:lnTo>
                  <a:lnTo>
                    <a:pt x="1002" y="652"/>
                  </a:lnTo>
                  <a:lnTo>
                    <a:pt x="986" y="652"/>
                  </a:lnTo>
                  <a:lnTo>
                    <a:pt x="980" y="656"/>
                  </a:lnTo>
                  <a:lnTo>
                    <a:pt x="972" y="660"/>
                  </a:lnTo>
                  <a:lnTo>
                    <a:pt x="974" y="664"/>
                  </a:lnTo>
                  <a:lnTo>
                    <a:pt x="982" y="664"/>
                  </a:lnTo>
                  <a:lnTo>
                    <a:pt x="980" y="668"/>
                  </a:lnTo>
                  <a:lnTo>
                    <a:pt x="982" y="672"/>
                  </a:lnTo>
                  <a:lnTo>
                    <a:pt x="964" y="674"/>
                  </a:lnTo>
                  <a:lnTo>
                    <a:pt x="948" y="678"/>
                  </a:lnTo>
                  <a:lnTo>
                    <a:pt x="940" y="680"/>
                  </a:lnTo>
                  <a:lnTo>
                    <a:pt x="932" y="686"/>
                  </a:lnTo>
                  <a:lnTo>
                    <a:pt x="924" y="690"/>
                  </a:lnTo>
                  <a:lnTo>
                    <a:pt x="920" y="688"/>
                  </a:lnTo>
                  <a:lnTo>
                    <a:pt x="920" y="680"/>
                  </a:lnTo>
                  <a:lnTo>
                    <a:pt x="922" y="678"/>
                  </a:lnTo>
                  <a:lnTo>
                    <a:pt x="922" y="670"/>
                  </a:lnTo>
                  <a:lnTo>
                    <a:pt x="928" y="668"/>
                  </a:lnTo>
                  <a:lnTo>
                    <a:pt x="936" y="666"/>
                  </a:lnTo>
                  <a:lnTo>
                    <a:pt x="938" y="656"/>
                  </a:lnTo>
                  <a:lnTo>
                    <a:pt x="940" y="648"/>
                  </a:lnTo>
                  <a:lnTo>
                    <a:pt x="946" y="642"/>
                  </a:lnTo>
                  <a:lnTo>
                    <a:pt x="948" y="636"/>
                  </a:lnTo>
                  <a:lnTo>
                    <a:pt x="952" y="636"/>
                  </a:lnTo>
                  <a:lnTo>
                    <a:pt x="958" y="642"/>
                  </a:lnTo>
                  <a:lnTo>
                    <a:pt x="966" y="640"/>
                  </a:lnTo>
                  <a:lnTo>
                    <a:pt x="968" y="632"/>
                  </a:lnTo>
                  <a:lnTo>
                    <a:pt x="962" y="622"/>
                  </a:lnTo>
                  <a:lnTo>
                    <a:pt x="954" y="614"/>
                  </a:lnTo>
                  <a:lnTo>
                    <a:pt x="942" y="610"/>
                  </a:lnTo>
                  <a:lnTo>
                    <a:pt x="930" y="608"/>
                  </a:lnTo>
                  <a:lnTo>
                    <a:pt x="914" y="608"/>
                  </a:lnTo>
                  <a:lnTo>
                    <a:pt x="902" y="606"/>
                  </a:lnTo>
                  <a:lnTo>
                    <a:pt x="896" y="600"/>
                  </a:lnTo>
                  <a:lnTo>
                    <a:pt x="892" y="590"/>
                  </a:lnTo>
                  <a:lnTo>
                    <a:pt x="888" y="578"/>
                  </a:lnTo>
                  <a:lnTo>
                    <a:pt x="886" y="574"/>
                  </a:lnTo>
                  <a:lnTo>
                    <a:pt x="874" y="574"/>
                  </a:lnTo>
                  <a:lnTo>
                    <a:pt x="870" y="566"/>
                  </a:lnTo>
                  <a:lnTo>
                    <a:pt x="864" y="558"/>
                  </a:lnTo>
                  <a:lnTo>
                    <a:pt x="854" y="558"/>
                  </a:lnTo>
                  <a:lnTo>
                    <a:pt x="844" y="554"/>
                  </a:lnTo>
                  <a:lnTo>
                    <a:pt x="836" y="554"/>
                  </a:lnTo>
                  <a:lnTo>
                    <a:pt x="828" y="560"/>
                  </a:lnTo>
                  <a:lnTo>
                    <a:pt x="818" y="566"/>
                  </a:lnTo>
                  <a:lnTo>
                    <a:pt x="810" y="572"/>
                  </a:lnTo>
                  <a:lnTo>
                    <a:pt x="804" y="570"/>
                  </a:lnTo>
                  <a:lnTo>
                    <a:pt x="794" y="570"/>
                  </a:lnTo>
                  <a:lnTo>
                    <a:pt x="786" y="568"/>
                  </a:lnTo>
                  <a:lnTo>
                    <a:pt x="782" y="568"/>
                  </a:lnTo>
                  <a:lnTo>
                    <a:pt x="772" y="564"/>
                  </a:lnTo>
                  <a:lnTo>
                    <a:pt x="748" y="560"/>
                  </a:lnTo>
                  <a:lnTo>
                    <a:pt x="736" y="556"/>
                  </a:lnTo>
                  <a:lnTo>
                    <a:pt x="732" y="552"/>
                  </a:lnTo>
                  <a:lnTo>
                    <a:pt x="730" y="544"/>
                  </a:lnTo>
                  <a:lnTo>
                    <a:pt x="722" y="544"/>
                  </a:lnTo>
                  <a:lnTo>
                    <a:pt x="720" y="552"/>
                  </a:lnTo>
                  <a:lnTo>
                    <a:pt x="290" y="552"/>
                  </a:lnTo>
                  <a:lnTo>
                    <a:pt x="282" y="542"/>
                  </a:lnTo>
                  <a:lnTo>
                    <a:pt x="272" y="532"/>
                  </a:lnTo>
                  <a:lnTo>
                    <a:pt x="266" y="536"/>
                  </a:lnTo>
                  <a:lnTo>
                    <a:pt x="256" y="526"/>
                  </a:lnTo>
                  <a:lnTo>
                    <a:pt x="250" y="516"/>
                  </a:lnTo>
                  <a:lnTo>
                    <a:pt x="244" y="520"/>
                  </a:lnTo>
                  <a:lnTo>
                    <a:pt x="232" y="512"/>
                  </a:lnTo>
                  <a:lnTo>
                    <a:pt x="214" y="510"/>
                  </a:lnTo>
                  <a:lnTo>
                    <a:pt x="218" y="500"/>
                  </a:lnTo>
                  <a:lnTo>
                    <a:pt x="216" y="494"/>
                  </a:lnTo>
                  <a:lnTo>
                    <a:pt x="208" y="494"/>
                  </a:lnTo>
                  <a:lnTo>
                    <a:pt x="208" y="486"/>
                  </a:lnTo>
                  <a:lnTo>
                    <a:pt x="206" y="478"/>
                  </a:lnTo>
                  <a:lnTo>
                    <a:pt x="202" y="472"/>
                  </a:lnTo>
                  <a:lnTo>
                    <a:pt x="196" y="470"/>
                  </a:lnTo>
                  <a:lnTo>
                    <a:pt x="188" y="474"/>
                  </a:lnTo>
                  <a:lnTo>
                    <a:pt x="190" y="466"/>
                  </a:lnTo>
                  <a:lnTo>
                    <a:pt x="196" y="456"/>
                  </a:lnTo>
                  <a:lnTo>
                    <a:pt x="194" y="448"/>
                  </a:lnTo>
                  <a:lnTo>
                    <a:pt x="188" y="452"/>
                  </a:lnTo>
                  <a:lnTo>
                    <a:pt x="180" y="458"/>
                  </a:lnTo>
                  <a:lnTo>
                    <a:pt x="172" y="458"/>
                  </a:lnTo>
                  <a:lnTo>
                    <a:pt x="172" y="446"/>
                  </a:lnTo>
                  <a:lnTo>
                    <a:pt x="174" y="438"/>
                  </a:lnTo>
                  <a:lnTo>
                    <a:pt x="174" y="432"/>
                  </a:lnTo>
                  <a:lnTo>
                    <a:pt x="180" y="420"/>
                  </a:lnTo>
                  <a:lnTo>
                    <a:pt x="178" y="410"/>
                  </a:lnTo>
                  <a:lnTo>
                    <a:pt x="174" y="408"/>
                  </a:lnTo>
                  <a:lnTo>
                    <a:pt x="172" y="400"/>
                  </a:lnTo>
                  <a:lnTo>
                    <a:pt x="158" y="392"/>
                  </a:lnTo>
                  <a:lnTo>
                    <a:pt x="150" y="386"/>
                  </a:lnTo>
                  <a:lnTo>
                    <a:pt x="146" y="384"/>
                  </a:lnTo>
                  <a:lnTo>
                    <a:pt x="136" y="372"/>
                  </a:lnTo>
                  <a:lnTo>
                    <a:pt x="126" y="354"/>
                  </a:lnTo>
                  <a:lnTo>
                    <a:pt x="118" y="346"/>
                  </a:lnTo>
                  <a:lnTo>
                    <a:pt x="100" y="326"/>
                  </a:lnTo>
                  <a:lnTo>
                    <a:pt x="88" y="314"/>
                  </a:lnTo>
                  <a:lnTo>
                    <a:pt x="70" y="322"/>
                  </a:lnTo>
                  <a:lnTo>
                    <a:pt x="68" y="328"/>
                  </a:lnTo>
                  <a:lnTo>
                    <a:pt x="58" y="330"/>
                  </a:lnTo>
                  <a:lnTo>
                    <a:pt x="46" y="320"/>
                  </a:lnTo>
                  <a:lnTo>
                    <a:pt x="34" y="310"/>
                  </a:lnTo>
                  <a:lnTo>
                    <a:pt x="26" y="300"/>
                  </a:lnTo>
                  <a:lnTo>
                    <a:pt x="10" y="306"/>
                  </a:lnTo>
                  <a:lnTo>
                    <a:pt x="0" y="302"/>
                  </a:lnTo>
                  <a:lnTo>
                    <a:pt x="0" y="62"/>
                  </a:lnTo>
                  <a:lnTo>
                    <a:pt x="18" y="64"/>
                  </a:lnTo>
                  <a:lnTo>
                    <a:pt x="48" y="76"/>
                  </a:lnTo>
                  <a:lnTo>
                    <a:pt x="84" y="86"/>
                  </a:lnTo>
                  <a:lnTo>
                    <a:pt x="82" y="72"/>
                  </a:lnTo>
                  <a:lnTo>
                    <a:pt x="100" y="62"/>
                  </a:lnTo>
                  <a:lnTo>
                    <a:pt x="110" y="68"/>
                  </a:lnTo>
                  <a:lnTo>
                    <a:pt x="116" y="72"/>
                  </a:lnTo>
                  <a:lnTo>
                    <a:pt x="138" y="60"/>
                  </a:lnTo>
                  <a:lnTo>
                    <a:pt x="162" y="48"/>
                  </a:lnTo>
                  <a:lnTo>
                    <a:pt x="178" y="48"/>
                  </a:lnTo>
                  <a:lnTo>
                    <a:pt x="180" y="56"/>
                  </a:lnTo>
                  <a:lnTo>
                    <a:pt x="192" y="58"/>
                  </a:lnTo>
                  <a:lnTo>
                    <a:pt x="208" y="38"/>
                  </a:lnTo>
                  <a:lnTo>
                    <a:pt x="218" y="46"/>
                  </a:lnTo>
                  <a:lnTo>
                    <a:pt x="230" y="64"/>
                  </a:lnTo>
                  <a:lnTo>
                    <a:pt x="244" y="66"/>
                  </a:lnTo>
                  <a:lnTo>
                    <a:pt x="256" y="50"/>
                  </a:lnTo>
                  <a:lnTo>
                    <a:pt x="262" y="52"/>
                  </a:lnTo>
                  <a:lnTo>
                    <a:pt x="270" y="70"/>
                  </a:lnTo>
                  <a:lnTo>
                    <a:pt x="282" y="62"/>
                  </a:lnTo>
                  <a:lnTo>
                    <a:pt x="302" y="56"/>
                  </a:lnTo>
                  <a:lnTo>
                    <a:pt x="328" y="66"/>
                  </a:lnTo>
                  <a:lnTo>
                    <a:pt x="352" y="72"/>
                  </a:lnTo>
                  <a:lnTo>
                    <a:pt x="382" y="82"/>
                  </a:lnTo>
                  <a:lnTo>
                    <a:pt x="404" y="84"/>
                  </a:lnTo>
                  <a:lnTo>
                    <a:pt x="422" y="92"/>
                  </a:lnTo>
                  <a:lnTo>
                    <a:pt x="424" y="100"/>
                  </a:lnTo>
                  <a:lnTo>
                    <a:pt x="412" y="102"/>
                  </a:lnTo>
                  <a:lnTo>
                    <a:pt x="410" y="110"/>
                  </a:lnTo>
                  <a:lnTo>
                    <a:pt x="426" y="118"/>
                  </a:lnTo>
                  <a:lnTo>
                    <a:pt x="456" y="116"/>
                  </a:lnTo>
                  <a:lnTo>
                    <a:pt x="478" y="114"/>
                  </a:lnTo>
                  <a:lnTo>
                    <a:pt x="486" y="110"/>
                  </a:lnTo>
                  <a:lnTo>
                    <a:pt x="504" y="120"/>
                  </a:lnTo>
                  <a:lnTo>
                    <a:pt x="520" y="130"/>
                  </a:lnTo>
                  <a:lnTo>
                    <a:pt x="528" y="142"/>
                  </a:lnTo>
                  <a:lnTo>
                    <a:pt x="534" y="138"/>
                  </a:lnTo>
                  <a:lnTo>
                    <a:pt x="530" y="120"/>
                  </a:lnTo>
                  <a:lnTo>
                    <a:pt x="526" y="110"/>
                  </a:lnTo>
                  <a:lnTo>
                    <a:pt x="536" y="104"/>
                  </a:lnTo>
                  <a:lnTo>
                    <a:pt x="560" y="94"/>
                  </a:lnTo>
                  <a:lnTo>
                    <a:pt x="578" y="104"/>
                  </a:lnTo>
                  <a:lnTo>
                    <a:pt x="600" y="112"/>
                  </a:lnTo>
                  <a:lnTo>
                    <a:pt x="622" y="116"/>
                  </a:lnTo>
                  <a:lnTo>
                    <a:pt x="646" y="116"/>
                  </a:lnTo>
                  <a:lnTo>
                    <a:pt x="668" y="116"/>
                  </a:lnTo>
                  <a:lnTo>
                    <a:pt x="688" y="118"/>
                  </a:lnTo>
                  <a:lnTo>
                    <a:pt x="694" y="112"/>
                  </a:lnTo>
                  <a:lnTo>
                    <a:pt x="688" y="108"/>
                  </a:lnTo>
                  <a:lnTo>
                    <a:pt x="676" y="106"/>
                  </a:lnTo>
                  <a:lnTo>
                    <a:pt x="678" y="98"/>
                  </a:lnTo>
                  <a:lnTo>
                    <a:pt x="684" y="96"/>
                  </a:lnTo>
                  <a:lnTo>
                    <a:pt x="696" y="100"/>
                  </a:lnTo>
                  <a:lnTo>
                    <a:pt x="708" y="112"/>
                  </a:lnTo>
                  <a:lnTo>
                    <a:pt x="704" y="116"/>
                  </a:lnTo>
                  <a:lnTo>
                    <a:pt x="710" y="126"/>
                  </a:lnTo>
                  <a:lnTo>
                    <a:pt x="716" y="134"/>
                  </a:lnTo>
                  <a:lnTo>
                    <a:pt x="724" y="134"/>
                  </a:lnTo>
                  <a:lnTo>
                    <a:pt x="724" y="120"/>
                  </a:lnTo>
                  <a:lnTo>
                    <a:pt x="722" y="108"/>
                  </a:lnTo>
                  <a:lnTo>
                    <a:pt x="742" y="102"/>
                  </a:lnTo>
                  <a:lnTo>
                    <a:pt x="752" y="90"/>
                  </a:lnTo>
                  <a:lnTo>
                    <a:pt x="750" y="78"/>
                  </a:lnTo>
                  <a:lnTo>
                    <a:pt x="740" y="64"/>
                  </a:lnTo>
                  <a:lnTo>
                    <a:pt x="722" y="60"/>
                  </a:lnTo>
                  <a:lnTo>
                    <a:pt x="708" y="52"/>
                  </a:lnTo>
                  <a:lnTo>
                    <a:pt x="704" y="44"/>
                  </a:lnTo>
                  <a:lnTo>
                    <a:pt x="712" y="32"/>
                  </a:lnTo>
                  <a:lnTo>
                    <a:pt x="704" y="26"/>
                  </a:lnTo>
                  <a:lnTo>
                    <a:pt x="708" y="12"/>
                  </a:lnTo>
                  <a:lnTo>
                    <a:pt x="718" y="12"/>
                  </a:lnTo>
                  <a:lnTo>
                    <a:pt x="722" y="4"/>
                  </a:lnTo>
                  <a:lnTo>
                    <a:pt x="732" y="0"/>
                  </a:lnTo>
                  <a:lnTo>
                    <a:pt x="750" y="4"/>
                  </a:lnTo>
                  <a:lnTo>
                    <a:pt x="762" y="20"/>
                  </a:lnTo>
                  <a:lnTo>
                    <a:pt x="764" y="26"/>
                  </a:lnTo>
                  <a:lnTo>
                    <a:pt x="774" y="40"/>
                  </a:lnTo>
                  <a:lnTo>
                    <a:pt x="776" y="48"/>
                  </a:lnTo>
                  <a:lnTo>
                    <a:pt x="770" y="54"/>
                  </a:lnTo>
                  <a:lnTo>
                    <a:pt x="774" y="64"/>
                  </a:lnTo>
                  <a:lnTo>
                    <a:pt x="786" y="62"/>
                  </a:lnTo>
                  <a:lnTo>
                    <a:pt x="794" y="64"/>
                  </a:lnTo>
                  <a:lnTo>
                    <a:pt x="796" y="80"/>
                  </a:lnTo>
                  <a:lnTo>
                    <a:pt x="802" y="94"/>
                  </a:lnTo>
                  <a:lnTo>
                    <a:pt x="812" y="98"/>
                  </a:lnTo>
                  <a:lnTo>
                    <a:pt x="820" y="92"/>
                  </a:lnTo>
                  <a:lnTo>
                    <a:pt x="814" y="82"/>
                  </a:lnTo>
                  <a:lnTo>
                    <a:pt x="820" y="74"/>
                  </a:lnTo>
                  <a:lnTo>
                    <a:pt x="832" y="78"/>
                  </a:lnTo>
                  <a:lnTo>
                    <a:pt x="842" y="90"/>
                  </a:lnTo>
                  <a:lnTo>
                    <a:pt x="836" y="100"/>
                  </a:lnTo>
                  <a:lnTo>
                    <a:pt x="834" y="112"/>
                  </a:lnTo>
                  <a:lnTo>
                    <a:pt x="844" y="120"/>
                  </a:lnTo>
                  <a:lnTo>
                    <a:pt x="858" y="126"/>
                  </a:lnTo>
                  <a:lnTo>
                    <a:pt x="866" y="120"/>
                  </a:lnTo>
                  <a:lnTo>
                    <a:pt x="874" y="106"/>
                  </a:lnTo>
                  <a:lnTo>
                    <a:pt x="876" y="90"/>
                  </a:lnTo>
                  <a:lnTo>
                    <a:pt x="888" y="82"/>
                  </a:lnTo>
                  <a:lnTo>
                    <a:pt x="886" y="74"/>
                  </a:lnTo>
                  <a:lnTo>
                    <a:pt x="880" y="62"/>
                  </a:lnTo>
                  <a:lnTo>
                    <a:pt x="882" y="56"/>
                  </a:lnTo>
                  <a:lnTo>
                    <a:pt x="900" y="58"/>
                  </a:lnTo>
                  <a:lnTo>
                    <a:pt x="922" y="66"/>
                  </a:lnTo>
                  <a:lnTo>
                    <a:pt x="936" y="76"/>
                  </a:lnTo>
                  <a:lnTo>
                    <a:pt x="946" y="90"/>
                  </a:lnTo>
                  <a:lnTo>
                    <a:pt x="940" y="94"/>
                  </a:lnTo>
                  <a:lnTo>
                    <a:pt x="932" y="96"/>
                  </a:lnTo>
                  <a:lnTo>
                    <a:pt x="934" y="106"/>
                  </a:lnTo>
                  <a:lnTo>
                    <a:pt x="940" y="114"/>
                  </a:lnTo>
                  <a:lnTo>
                    <a:pt x="946" y="126"/>
                  </a:lnTo>
                  <a:lnTo>
                    <a:pt x="938" y="136"/>
                  </a:lnTo>
                  <a:lnTo>
                    <a:pt x="926" y="146"/>
                  </a:lnTo>
                  <a:lnTo>
                    <a:pt x="916" y="152"/>
                  </a:lnTo>
                  <a:lnTo>
                    <a:pt x="902" y="144"/>
                  </a:lnTo>
                  <a:lnTo>
                    <a:pt x="898" y="152"/>
                  </a:lnTo>
                  <a:lnTo>
                    <a:pt x="890" y="156"/>
                  </a:lnTo>
                  <a:lnTo>
                    <a:pt x="878" y="144"/>
                  </a:lnTo>
                  <a:lnTo>
                    <a:pt x="868" y="144"/>
                  </a:lnTo>
                  <a:lnTo>
                    <a:pt x="864" y="150"/>
                  </a:lnTo>
                  <a:lnTo>
                    <a:pt x="870" y="156"/>
                  </a:lnTo>
                  <a:lnTo>
                    <a:pt x="864" y="166"/>
                  </a:lnTo>
                  <a:lnTo>
                    <a:pt x="856" y="174"/>
                  </a:lnTo>
                  <a:lnTo>
                    <a:pt x="846" y="176"/>
                  </a:lnTo>
                  <a:lnTo>
                    <a:pt x="834" y="174"/>
                  </a:lnTo>
                  <a:lnTo>
                    <a:pt x="822" y="166"/>
                  </a:lnTo>
                  <a:lnTo>
                    <a:pt x="812" y="164"/>
                  </a:lnTo>
                  <a:lnTo>
                    <a:pt x="816" y="172"/>
                  </a:lnTo>
                  <a:lnTo>
                    <a:pt x="822" y="178"/>
                  </a:lnTo>
                  <a:lnTo>
                    <a:pt x="834" y="180"/>
                  </a:lnTo>
                  <a:lnTo>
                    <a:pt x="842" y="182"/>
                  </a:lnTo>
                  <a:lnTo>
                    <a:pt x="854" y="182"/>
                  </a:lnTo>
                  <a:lnTo>
                    <a:pt x="848" y="192"/>
                  </a:lnTo>
                  <a:lnTo>
                    <a:pt x="840" y="204"/>
                  </a:lnTo>
                  <a:lnTo>
                    <a:pt x="830" y="210"/>
                  </a:lnTo>
                  <a:lnTo>
                    <a:pt x="820" y="212"/>
                  </a:lnTo>
                  <a:lnTo>
                    <a:pt x="812" y="212"/>
                  </a:lnTo>
                  <a:lnTo>
                    <a:pt x="804" y="208"/>
                  </a:lnTo>
                  <a:lnTo>
                    <a:pt x="804" y="218"/>
                  </a:lnTo>
                  <a:lnTo>
                    <a:pt x="784" y="220"/>
                  </a:lnTo>
                  <a:lnTo>
                    <a:pt x="772" y="216"/>
                  </a:lnTo>
                  <a:lnTo>
                    <a:pt x="778" y="222"/>
                  </a:lnTo>
                  <a:lnTo>
                    <a:pt x="794" y="228"/>
                  </a:lnTo>
                  <a:lnTo>
                    <a:pt x="796" y="238"/>
                  </a:lnTo>
                  <a:lnTo>
                    <a:pt x="778" y="242"/>
                  </a:lnTo>
                  <a:lnTo>
                    <a:pt x="758" y="260"/>
                  </a:lnTo>
                  <a:lnTo>
                    <a:pt x="740" y="290"/>
                  </a:lnTo>
                  <a:lnTo>
                    <a:pt x="734" y="332"/>
                  </a:lnTo>
                  <a:lnTo>
                    <a:pt x="736" y="336"/>
                  </a:lnTo>
                  <a:lnTo>
                    <a:pt x="738" y="342"/>
                  </a:lnTo>
                  <a:lnTo>
                    <a:pt x="748" y="342"/>
                  </a:lnTo>
                  <a:lnTo>
                    <a:pt x="756" y="344"/>
                  </a:lnTo>
                  <a:lnTo>
                    <a:pt x="760" y="352"/>
                  </a:lnTo>
                  <a:lnTo>
                    <a:pt x="768" y="378"/>
                  </a:lnTo>
                  <a:lnTo>
                    <a:pt x="782" y="374"/>
                  </a:lnTo>
                  <a:lnTo>
                    <a:pt x="800" y="374"/>
                  </a:lnTo>
                  <a:lnTo>
                    <a:pt x="814" y="380"/>
                  </a:lnTo>
                  <a:lnTo>
                    <a:pt x="830" y="382"/>
                  </a:lnTo>
                  <a:lnTo>
                    <a:pt x="846" y="398"/>
                  </a:lnTo>
                  <a:lnTo>
                    <a:pt x="864" y="408"/>
                  </a:lnTo>
                  <a:lnTo>
                    <a:pt x="886" y="416"/>
                  </a:lnTo>
                  <a:lnTo>
                    <a:pt x="896" y="416"/>
                  </a:lnTo>
                  <a:lnTo>
                    <a:pt x="904" y="418"/>
                  </a:lnTo>
                  <a:lnTo>
                    <a:pt x="916" y="420"/>
                  </a:lnTo>
                  <a:lnTo>
                    <a:pt x="928" y="420"/>
                  </a:lnTo>
                  <a:lnTo>
                    <a:pt x="932" y="442"/>
                  </a:lnTo>
                  <a:lnTo>
                    <a:pt x="932" y="456"/>
                  </a:lnTo>
                  <a:lnTo>
                    <a:pt x="932" y="462"/>
                  </a:lnTo>
                  <a:lnTo>
                    <a:pt x="932" y="470"/>
                  </a:lnTo>
                  <a:lnTo>
                    <a:pt x="944" y="484"/>
                  </a:lnTo>
                  <a:lnTo>
                    <a:pt x="956" y="498"/>
                  </a:lnTo>
                  <a:lnTo>
                    <a:pt x="962" y="502"/>
                  </a:lnTo>
                  <a:lnTo>
                    <a:pt x="970" y="506"/>
                  </a:lnTo>
                  <a:lnTo>
                    <a:pt x="984" y="498"/>
                  </a:lnTo>
                  <a:lnTo>
                    <a:pt x="988" y="490"/>
                  </a:lnTo>
                  <a:lnTo>
                    <a:pt x="990" y="482"/>
                  </a:lnTo>
                  <a:lnTo>
                    <a:pt x="984" y="462"/>
                  </a:lnTo>
                  <a:lnTo>
                    <a:pt x="980" y="448"/>
                  </a:lnTo>
                  <a:lnTo>
                    <a:pt x="972" y="428"/>
                  </a:lnTo>
                  <a:lnTo>
                    <a:pt x="980" y="424"/>
                  </a:lnTo>
                  <a:lnTo>
                    <a:pt x="1002" y="418"/>
                  </a:lnTo>
                  <a:lnTo>
                    <a:pt x="1012" y="406"/>
                  </a:lnTo>
                  <a:lnTo>
                    <a:pt x="1022" y="394"/>
                  </a:lnTo>
                  <a:lnTo>
                    <a:pt x="1020" y="372"/>
                  </a:lnTo>
                  <a:lnTo>
                    <a:pt x="1010" y="354"/>
                  </a:lnTo>
                  <a:lnTo>
                    <a:pt x="998" y="346"/>
                  </a:lnTo>
                  <a:lnTo>
                    <a:pt x="988" y="340"/>
                  </a:lnTo>
                  <a:lnTo>
                    <a:pt x="990" y="334"/>
                  </a:lnTo>
                  <a:lnTo>
                    <a:pt x="996" y="328"/>
                  </a:lnTo>
                  <a:lnTo>
                    <a:pt x="1006" y="316"/>
                  </a:lnTo>
                  <a:lnTo>
                    <a:pt x="1004" y="304"/>
                  </a:lnTo>
                  <a:lnTo>
                    <a:pt x="1002" y="292"/>
                  </a:lnTo>
                  <a:lnTo>
                    <a:pt x="1006" y="274"/>
                  </a:lnTo>
                  <a:lnTo>
                    <a:pt x="996" y="264"/>
                  </a:lnTo>
                  <a:lnTo>
                    <a:pt x="1000" y="250"/>
                  </a:lnTo>
                  <a:lnTo>
                    <a:pt x="1018" y="250"/>
                  </a:lnTo>
                  <a:lnTo>
                    <a:pt x="1034" y="256"/>
                  </a:lnTo>
                  <a:lnTo>
                    <a:pt x="1044" y="258"/>
                  </a:lnTo>
                  <a:lnTo>
                    <a:pt x="1058" y="256"/>
                  </a:lnTo>
                  <a:lnTo>
                    <a:pt x="1064" y="248"/>
                  </a:lnTo>
                  <a:lnTo>
                    <a:pt x="1076" y="256"/>
                  </a:lnTo>
                  <a:lnTo>
                    <a:pt x="1090" y="266"/>
                  </a:lnTo>
                  <a:lnTo>
                    <a:pt x="1098" y="278"/>
                  </a:lnTo>
                  <a:lnTo>
                    <a:pt x="1112" y="286"/>
                  </a:lnTo>
                  <a:lnTo>
                    <a:pt x="1134" y="290"/>
                  </a:lnTo>
                  <a:lnTo>
                    <a:pt x="1130" y="300"/>
                  </a:lnTo>
                  <a:lnTo>
                    <a:pt x="1130" y="314"/>
                  </a:lnTo>
                  <a:lnTo>
                    <a:pt x="1136" y="328"/>
                  </a:lnTo>
                  <a:lnTo>
                    <a:pt x="1136" y="336"/>
                  </a:lnTo>
                  <a:lnTo>
                    <a:pt x="1148" y="338"/>
                  </a:lnTo>
                  <a:lnTo>
                    <a:pt x="1156" y="346"/>
                  </a:lnTo>
                  <a:lnTo>
                    <a:pt x="1168" y="352"/>
                  </a:lnTo>
                  <a:lnTo>
                    <a:pt x="1182" y="340"/>
                  </a:lnTo>
                  <a:lnTo>
                    <a:pt x="1196" y="328"/>
                  </a:lnTo>
                  <a:lnTo>
                    <a:pt x="1196" y="316"/>
                  </a:lnTo>
                  <a:lnTo>
                    <a:pt x="1204" y="306"/>
                  </a:lnTo>
                  <a:lnTo>
                    <a:pt x="1210" y="300"/>
                  </a:lnTo>
                  <a:lnTo>
                    <a:pt x="1218" y="312"/>
                  </a:lnTo>
                  <a:lnTo>
                    <a:pt x="1228" y="328"/>
                  </a:lnTo>
                  <a:lnTo>
                    <a:pt x="1242" y="346"/>
                  </a:lnTo>
                  <a:lnTo>
                    <a:pt x="1244" y="354"/>
                  </a:lnTo>
                  <a:lnTo>
                    <a:pt x="1254" y="360"/>
                  </a:lnTo>
                  <a:lnTo>
                    <a:pt x="1256" y="372"/>
                  </a:lnTo>
                  <a:lnTo>
                    <a:pt x="1260" y="384"/>
                  </a:lnTo>
                  <a:lnTo>
                    <a:pt x="1254" y="390"/>
                  </a:lnTo>
                  <a:lnTo>
                    <a:pt x="1256" y="398"/>
                  </a:lnTo>
                  <a:lnTo>
                    <a:pt x="1272" y="408"/>
                  </a:lnTo>
                  <a:lnTo>
                    <a:pt x="1274" y="412"/>
                  </a:lnTo>
                  <a:lnTo>
                    <a:pt x="1274" y="418"/>
                  </a:lnTo>
                  <a:lnTo>
                    <a:pt x="1284" y="422"/>
                  </a:lnTo>
                  <a:lnTo>
                    <a:pt x="1298" y="426"/>
                  </a:lnTo>
                  <a:lnTo>
                    <a:pt x="1310" y="430"/>
                  </a:lnTo>
                  <a:lnTo>
                    <a:pt x="1318" y="430"/>
                  </a:lnTo>
                  <a:lnTo>
                    <a:pt x="1314" y="438"/>
                  </a:lnTo>
                  <a:lnTo>
                    <a:pt x="1300" y="444"/>
                  </a:lnTo>
                  <a:lnTo>
                    <a:pt x="1292" y="448"/>
                  </a:lnTo>
                  <a:lnTo>
                    <a:pt x="1280" y="454"/>
                  </a:lnTo>
                  <a:lnTo>
                    <a:pt x="1282" y="456"/>
                  </a:lnTo>
                  <a:lnTo>
                    <a:pt x="1282" y="458"/>
                  </a:lnTo>
                  <a:lnTo>
                    <a:pt x="1284" y="458"/>
                  </a:lnTo>
                  <a:lnTo>
                    <a:pt x="1300" y="450"/>
                  </a:lnTo>
                  <a:lnTo>
                    <a:pt x="1314" y="444"/>
                  </a:lnTo>
                  <a:lnTo>
                    <a:pt x="1324" y="442"/>
                  </a:lnTo>
                  <a:lnTo>
                    <a:pt x="1328" y="452"/>
                  </a:lnTo>
                  <a:lnTo>
                    <a:pt x="1330" y="452"/>
                  </a:lnTo>
                  <a:lnTo>
                    <a:pt x="1336" y="452"/>
                  </a:lnTo>
                  <a:lnTo>
                    <a:pt x="1348" y="458"/>
                  </a:lnTo>
                  <a:lnTo>
                    <a:pt x="1350" y="474"/>
                  </a:lnTo>
                  <a:lnTo>
                    <a:pt x="1348" y="488"/>
                  </a:lnTo>
                  <a:lnTo>
                    <a:pt x="1340" y="496"/>
                  </a:lnTo>
                  <a:lnTo>
                    <a:pt x="1330" y="502"/>
                  </a:lnTo>
                  <a:lnTo>
                    <a:pt x="1310" y="502"/>
                  </a:lnTo>
                  <a:lnTo>
                    <a:pt x="1302" y="512"/>
                  </a:lnTo>
                  <a:lnTo>
                    <a:pt x="1286" y="524"/>
                  </a:lnTo>
                  <a:lnTo>
                    <a:pt x="1264" y="528"/>
                  </a:lnTo>
                  <a:lnTo>
                    <a:pt x="1238" y="524"/>
                  </a:lnTo>
                  <a:lnTo>
                    <a:pt x="1218" y="524"/>
                  </a:lnTo>
                  <a:lnTo>
                    <a:pt x="1190" y="526"/>
                  </a:lnTo>
                  <a:lnTo>
                    <a:pt x="1174" y="532"/>
                  </a:lnTo>
                  <a:lnTo>
                    <a:pt x="1166" y="544"/>
                  </a:lnTo>
                  <a:lnTo>
                    <a:pt x="1152" y="548"/>
                  </a:lnTo>
                  <a:lnTo>
                    <a:pt x="1138" y="560"/>
                  </a:lnTo>
                  <a:lnTo>
                    <a:pt x="1128" y="570"/>
                  </a:lnTo>
                  <a:lnTo>
                    <a:pt x="1114" y="586"/>
                  </a:lnTo>
                  <a:lnTo>
                    <a:pt x="1112" y="590"/>
                  </a:lnTo>
                  <a:lnTo>
                    <a:pt x="1110" y="592"/>
                  </a:lnTo>
                  <a:lnTo>
                    <a:pt x="1110" y="594"/>
                  </a:lnTo>
                  <a:lnTo>
                    <a:pt x="1116" y="590"/>
                  </a:lnTo>
                  <a:lnTo>
                    <a:pt x="1120" y="588"/>
                  </a:lnTo>
                  <a:lnTo>
                    <a:pt x="1134" y="572"/>
                  </a:lnTo>
                  <a:lnTo>
                    <a:pt x="1150" y="562"/>
                  </a:lnTo>
                  <a:lnTo>
                    <a:pt x="1168" y="554"/>
                  </a:lnTo>
                  <a:lnTo>
                    <a:pt x="1174" y="550"/>
                  </a:lnTo>
                  <a:lnTo>
                    <a:pt x="1184" y="546"/>
                  </a:lnTo>
                  <a:lnTo>
                    <a:pt x="1202" y="548"/>
                  </a:lnTo>
                  <a:lnTo>
                    <a:pt x="1214" y="552"/>
                  </a:lnTo>
                  <a:lnTo>
                    <a:pt x="1218" y="562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98" name="Freeform 214"/>
            <p:cNvSpPr>
              <a:spLocks/>
            </p:cNvSpPr>
            <p:nvPr/>
          </p:nvSpPr>
          <p:spPr bwMode="gray">
            <a:xfrm>
              <a:off x="2427288" y="2462213"/>
              <a:ext cx="44450" cy="34925"/>
            </a:xfrm>
            <a:custGeom>
              <a:avLst/>
              <a:gdLst>
                <a:gd name="T0" fmla="*/ 2147483647 w 38"/>
                <a:gd name="T1" fmla="*/ 0 h 28"/>
                <a:gd name="T2" fmla="*/ 2147483647 w 38"/>
                <a:gd name="T3" fmla="*/ 0 h 28"/>
                <a:gd name="T4" fmla="*/ 2147483647 w 38"/>
                <a:gd name="T5" fmla="*/ 0 h 28"/>
                <a:gd name="T6" fmla="*/ 2147483647 w 38"/>
                <a:gd name="T7" fmla="*/ 2147483647 h 28"/>
                <a:gd name="T8" fmla="*/ 2147483647 w 38"/>
                <a:gd name="T9" fmla="*/ 2147483647 h 28"/>
                <a:gd name="T10" fmla="*/ 2147483647 w 38"/>
                <a:gd name="T11" fmla="*/ 2147483647 h 28"/>
                <a:gd name="T12" fmla="*/ 2147483647 w 38"/>
                <a:gd name="T13" fmla="*/ 2147483647 h 28"/>
                <a:gd name="T14" fmla="*/ 2147483647 w 38"/>
                <a:gd name="T15" fmla="*/ 2147483647 h 28"/>
                <a:gd name="T16" fmla="*/ 2147483647 w 38"/>
                <a:gd name="T17" fmla="*/ 2147483647 h 28"/>
                <a:gd name="T18" fmla="*/ 0 w 38"/>
                <a:gd name="T19" fmla="*/ 2147483647 h 28"/>
                <a:gd name="T20" fmla="*/ 2147483647 w 38"/>
                <a:gd name="T21" fmla="*/ 0 h 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"/>
                <a:gd name="T34" fmla="*/ 0 h 28"/>
                <a:gd name="T35" fmla="*/ 38 w 38"/>
                <a:gd name="T36" fmla="*/ 28 h 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" h="28">
                  <a:moveTo>
                    <a:pt x="6" y="0"/>
                  </a:moveTo>
                  <a:lnTo>
                    <a:pt x="22" y="0"/>
                  </a:lnTo>
                  <a:lnTo>
                    <a:pt x="36" y="0"/>
                  </a:lnTo>
                  <a:lnTo>
                    <a:pt x="38" y="8"/>
                  </a:lnTo>
                  <a:lnTo>
                    <a:pt x="34" y="20"/>
                  </a:lnTo>
                  <a:lnTo>
                    <a:pt x="28" y="28"/>
                  </a:lnTo>
                  <a:lnTo>
                    <a:pt x="22" y="24"/>
                  </a:lnTo>
                  <a:lnTo>
                    <a:pt x="14" y="14"/>
                  </a:lnTo>
                  <a:lnTo>
                    <a:pt x="6" y="10"/>
                  </a:lnTo>
                  <a:lnTo>
                    <a:pt x="0" y="4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2999" name="Freeform 215"/>
            <p:cNvSpPr>
              <a:spLocks/>
            </p:cNvSpPr>
            <p:nvPr/>
          </p:nvSpPr>
          <p:spPr bwMode="gray">
            <a:xfrm>
              <a:off x="2132013" y="2312988"/>
              <a:ext cx="131762" cy="69850"/>
            </a:xfrm>
            <a:custGeom>
              <a:avLst/>
              <a:gdLst>
                <a:gd name="T0" fmla="*/ 0 w 112"/>
                <a:gd name="T1" fmla="*/ 2147483647 h 58"/>
                <a:gd name="T2" fmla="*/ 2147483647 w 112"/>
                <a:gd name="T3" fmla="*/ 2147483647 h 58"/>
                <a:gd name="T4" fmla="*/ 2147483647 w 112"/>
                <a:gd name="T5" fmla="*/ 2147483647 h 58"/>
                <a:gd name="T6" fmla="*/ 2147483647 w 112"/>
                <a:gd name="T7" fmla="*/ 2147483647 h 58"/>
                <a:gd name="T8" fmla="*/ 2147483647 w 112"/>
                <a:gd name="T9" fmla="*/ 2147483647 h 58"/>
                <a:gd name="T10" fmla="*/ 2147483647 w 112"/>
                <a:gd name="T11" fmla="*/ 2147483647 h 58"/>
                <a:gd name="T12" fmla="*/ 2147483647 w 112"/>
                <a:gd name="T13" fmla="*/ 2147483647 h 58"/>
                <a:gd name="T14" fmla="*/ 2147483647 w 112"/>
                <a:gd name="T15" fmla="*/ 2147483647 h 58"/>
                <a:gd name="T16" fmla="*/ 2147483647 w 112"/>
                <a:gd name="T17" fmla="*/ 2147483647 h 58"/>
                <a:gd name="T18" fmla="*/ 2147483647 w 112"/>
                <a:gd name="T19" fmla="*/ 2147483647 h 58"/>
                <a:gd name="T20" fmla="*/ 2147483647 w 112"/>
                <a:gd name="T21" fmla="*/ 0 h 58"/>
                <a:gd name="T22" fmla="*/ 2147483647 w 112"/>
                <a:gd name="T23" fmla="*/ 2147483647 h 58"/>
                <a:gd name="T24" fmla="*/ 2147483647 w 112"/>
                <a:gd name="T25" fmla="*/ 2147483647 h 58"/>
                <a:gd name="T26" fmla="*/ 2147483647 w 112"/>
                <a:gd name="T27" fmla="*/ 2147483647 h 58"/>
                <a:gd name="T28" fmla="*/ 2147483647 w 112"/>
                <a:gd name="T29" fmla="*/ 2147483647 h 58"/>
                <a:gd name="T30" fmla="*/ 2147483647 w 112"/>
                <a:gd name="T31" fmla="*/ 2147483647 h 58"/>
                <a:gd name="T32" fmla="*/ 2147483647 w 112"/>
                <a:gd name="T33" fmla="*/ 2147483647 h 58"/>
                <a:gd name="T34" fmla="*/ 2147483647 w 112"/>
                <a:gd name="T35" fmla="*/ 2147483647 h 58"/>
                <a:gd name="T36" fmla="*/ 2147483647 w 112"/>
                <a:gd name="T37" fmla="*/ 2147483647 h 58"/>
                <a:gd name="T38" fmla="*/ 2147483647 w 112"/>
                <a:gd name="T39" fmla="*/ 2147483647 h 58"/>
                <a:gd name="T40" fmla="*/ 2147483647 w 112"/>
                <a:gd name="T41" fmla="*/ 2147483647 h 58"/>
                <a:gd name="T42" fmla="*/ 2147483647 w 112"/>
                <a:gd name="T43" fmla="*/ 2147483647 h 58"/>
                <a:gd name="T44" fmla="*/ 2147483647 w 112"/>
                <a:gd name="T45" fmla="*/ 2147483647 h 58"/>
                <a:gd name="T46" fmla="*/ 2147483647 w 112"/>
                <a:gd name="T47" fmla="*/ 2147483647 h 58"/>
                <a:gd name="T48" fmla="*/ 2147483647 w 112"/>
                <a:gd name="T49" fmla="*/ 2147483647 h 58"/>
                <a:gd name="T50" fmla="*/ 2147483647 w 112"/>
                <a:gd name="T51" fmla="*/ 2147483647 h 58"/>
                <a:gd name="T52" fmla="*/ 2147483647 w 112"/>
                <a:gd name="T53" fmla="*/ 2147483647 h 58"/>
                <a:gd name="T54" fmla="*/ 2147483647 w 112"/>
                <a:gd name="T55" fmla="*/ 2147483647 h 58"/>
                <a:gd name="T56" fmla="*/ 2147483647 w 112"/>
                <a:gd name="T57" fmla="*/ 2147483647 h 58"/>
                <a:gd name="T58" fmla="*/ 2147483647 w 112"/>
                <a:gd name="T59" fmla="*/ 2147483647 h 58"/>
                <a:gd name="T60" fmla="*/ 2147483647 w 112"/>
                <a:gd name="T61" fmla="*/ 2147483647 h 58"/>
                <a:gd name="T62" fmla="*/ 2147483647 w 112"/>
                <a:gd name="T63" fmla="*/ 2147483647 h 58"/>
                <a:gd name="T64" fmla="*/ 2147483647 w 112"/>
                <a:gd name="T65" fmla="*/ 2147483647 h 58"/>
                <a:gd name="T66" fmla="*/ 2147483647 w 112"/>
                <a:gd name="T67" fmla="*/ 2147483647 h 58"/>
                <a:gd name="T68" fmla="*/ 2147483647 w 112"/>
                <a:gd name="T69" fmla="*/ 2147483647 h 58"/>
                <a:gd name="T70" fmla="*/ 0 w 112"/>
                <a:gd name="T71" fmla="*/ 2147483647 h 5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12"/>
                <a:gd name="T109" fmla="*/ 0 h 58"/>
                <a:gd name="T110" fmla="*/ 112 w 112"/>
                <a:gd name="T111" fmla="*/ 58 h 5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12" h="58">
                  <a:moveTo>
                    <a:pt x="0" y="50"/>
                  </a:moveTo>
                  <a:lnTo>
                    <a:pt x="4" y="40"/>
                  </a:lnTo>
                  <a:lnTo>
                    <a:pt x="16" y="38"/>
                  </a:lnTo>
                  <a:lnTo>
                    <a:pt x="26" y="32"/>
                  </a:lnTo>
                  <a:lnTo>
                    <a:pt x="36" y="26"/>
                  </a:lnTo>
                  <a:lnTo>
                    <a:pt x="50" y="18"/>
                  </a:lnTo>
                  <a:lnTo>
                    <a:pt x="58" y="10"/>
                  </a:lnTo>
                  <a:lnTo>
                    <a:pt x="76" y="8"/>
                  </a:lnTo>
                  <a:lnTo>
                    <a:pt x="86" y="8"/>
                  </a:lnTo>
                  <a:lnTo>
                    <a:pt x="92" y="12"/>
                  </a:lnTo>
                  <a:lnTo>
                    <a:pt x="96" y="0"/>
                  </a:lnTo>
                  <a:lnTo>
                    <a:pt x="106" y="4"/>
                  </a:lnTo>
                  <a:lnTo>
                    <a:pt x="112" y="8"/>
                  </a:lnTo>
                  <a:lnTo>
                    <a:pt x="108" y="14"/>
                  </a:lnTo>
                  <a:lnTo>
                    <a:pt x="100" y="16"/>
                  </a:lnTo>
                  <a:lnTo>
                    <a:pt x="106" y="24"/>
                  </a:lnTo>
                  <a:lnTo>
                    <a:pt x="104" y="30"/>
                  </a:lnTo>
                  <a:lnTo>
                    <a:pt x="96" y="32"/>
                  </a:lnTo>
                  <a:lnTo>
                    <a:pt x="90" y="38"/>
                  </a:lnTo>
                  <a:lnTo>
                    <a:pt x="84" y="44"/>
                  </a:lnTo>
                  <a:lnTo>
                    <a:pt x="74" y="42"/>
                  </a:lnTo>
                  <a:lnTo>
                    <a:pt x="76" y="32"/>
                  </a:lnTo>
                  <a:lnTo>
                    <a:pt x="72" y="28"/>
                  </a:lnTo>
                  <a:lnTo>
                    <a:pt x="66" y="30"/>
                  </a:lnTo>
                  <a:lnTo>
                    <a:pt x="64" y="34"/>
                  </a:lnTo>
                  <a:lnTo>
                    <a:pt x="64" y="40"/>
                  </a:lnTo>
                  <a:lnTo>
                    <a:pt x="60" y="48"/>
                  </a:lnTo>
                  <a:lnTo>
                    <a:pt x="54" y="50"/>
                  </a:lnTo>
                  <a:lnTo>
                    <a:pt x="48" y="48"/>
                  </a:lnTo>
                  <a:lnTo>
                    <a:pt x="48" y="58"/>
                  </a:lnTo>
                  <a:lnTo>
                    <a:pt x="34" y="58"/>
                  </a:lnTo>
                  <a:lnTo>
                    <a:pt x="32" y="50"/>
                  </a:lnTo>
                  <a:lnTo>
                    <a:pt x="24" y="50"/>
                  </a:lnTo>
                  <a:lnTo>
                    <a:pt x="24" y="54"/>
                  </a:lnTo>
                  <a:lnTo>
                    <a:pt x="8" y="54"/>
                  </a:lnTo>
                  <a:lnTo>
                    <a:pt x="0" y="5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00" name="Freeform 216"/>
            <p:cNvSpPr>
              <a:spLocks/>
            </p:cNvSpPr>
            <p:nvPr/>
          </p:nvSpPr>
          <p:spPr bwMode="gray">
            <a:xfrm>
              <a:off x="2193925" y="2373313"/>
              <a:ext cx="34925" cy="23812"/>
            </a:xfrm>
            <a:custGeom>
              <a:avLst/>
              <a:gdLst>
                <a:gd name="T0" fmla="*/ 2147483647 w 28"/>
                <a:gd name="T1" fmla="*/ 0 h 20"/>
                <a:gd name="T2" fmla="*/ 2147483647 w 28"/>
                <a:gd name="T3" fmla="*/ 2147483647 h 20"/>
                <a:gd name="T4" fmla="*/ 2147483647 w 28"/>
                <a:gd name="T5" fmla="*/ 2147483647 h 20"/>
                <a:gd name="T6" fmla="*/ 2147483647 w 28"/>
                <a:gd name="T7" fmla="*/ 2147483647 h 20"/>
                <a:gd name="T8" fmla="*/ 2147483647 w 28"/>
                <a:gd name="T9" fmla="*/ 2147483647 h 20"/>
                <a:gd name="T10" fmla="*/ 0 w 28"/>
                <a:gd name="T11" fmla="*/ 2147483647 h 20"/>
                <a:gd name="T12" fmla="*/ 2147483647 w 28"/>
                <a:gd name="T13" fmla="*/ 2147483647 h 20"/>
                <a:gd name="T14" fmla="*/ 2147483647 w 28"/>
                <a:gd name="T15" fmla="*/ 2147483647 h 20"/>
                <a:gd name="T16" fmla="*/ 2147483647 w 28"/>
                <a:gd name="T17" fmla="*/ 0 h 2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8"/>
                <a:gd name="T28" fmla="*/ 0 h 20"/>
                <a:gd name="T29" fmla="*/ 28 w 28"/>
                <a:gd name="T30" fmla="*/ 20 h 2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8" h="20">
                  <a:moveTo>
                    <a:pt x="18" y="0"/>
                  </a:moveTo>
                  <a:lnTo>
                    <a:pt x="28" y="2"/>
                  </a:lnTo>
                  <a:lnTo>
                    <a:pt x="26" y="8"/>
                  </a:lnTo>
                  <a:lnTo>
                    <a:pt x="20" y="18"/>
                  </a:lnTo>
                  <a:lnTo>
                    <a:pt x="12" y="20"/>
                  </a:lnTo>
                  <a:lnTo>
                    <a:pt x="0" y="16"/>
                  </a:lnTo>
                  <a:lnTo>
                    <a:pt x="4" y="8"/>
                  </a:lnTo>
                  <a:lnTo>
                    <a:pt x="14" y="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01" name="Freeform 217"/>
            <p:cNvSpPr>
              <a:spLocks/>
            </p:cNvSpPr>
            <p:nvPr/>
          </p:nvSpPr>
          <p:spPr bwMode="gray">
            <a:xfrm>
              <a:off x="2308225" y="2292350"/>
              <a:ext cx="66675" cy="31750"/>
            </a:xfrm>
            <a:custGeom>
              <a:avLst/>
              <a:gdLst>
                <a:gd name="T0" fmla="*/ 0 w 56"/>
                <a:gd name="T1" fmla="*/ 2147483647 h 26"/>
                <a:gd name="T2" fmla="*/ 2147483647 w 56"/>
                <a:gd name="T3" fmla="*/ 0 h 26"/>
                <a:gd name="T4" fmla="*/ 2147483647 w 56"/>
                <a:gd name="T5" fmla="*/ 0 h 26"/>
                <a:gd name="T6" fmla="*/ 2147483647 w 56"/>
                <a:gd name="T7" fmla="*/ 0 h 26"/>
                <a:gd name="T8" fmla="*/ 2147483647 w 56"/>
                <a:gd name="T9" fmla="*/ 2147483647 h 26"/>
                <a:gd name="T10" fmla="*/ 2147483647 w 56"/>
                <a:gd name="T11" fmla="*/ 2147483647 h 26"/>
                <a:gd name="T12" fmla="*/ 2147483647 w 56"/>
                <a:gd name="T13" fmla="*/ 2147483647 h 26"/>
                <a:gd name="T14" fmla="*/ 2147483647 w 56"/>
                <a:gd name="T15" fmla="*/ 2147483647 h 26"/>
                <a:gd name="T16" fmla="*/ 2147483647 w 56"/>
                <a:gd name="T17" fmla="*/ 2147483647 h 26"/>
                <a:gd name="T18" fmla="*/ 2147483647 w 56"/>
                <a:gd name="T19" fmla="*/ 2147483647 h 26"/>
                <a:gd name="T20" fmla="*/ 2147483647 w 56"/>
                <a:gd name="T21" fmla="*/ 2147483647 h 26"/>
                <a:gd name="T22" fmla="*/ 2147483647 w 56"/>
                <a:gd name="T23" fmla="*/ 2147483647 h 26"/>
                <a:gd name="T24" fmla="*/ 2147483647 w 56"/>
                <a:gd name="T25" fmla="*/ 2147483647 h 26"/>
                <a:gd name="T26" fmla="*/ 2147483647 w 56"/>
                <a:gd name="T27" fmla="*/ 2147483647 h 26"/>
                <a:gd name="T28" fmla="*/ 0 w 56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6"/>
                <a:gd name="T46" fmla="*/ 0 h 26"/>
                <a:gd name="T47" fmla="*/ 56 w 56"/>
                <a:gd name="T48" fmla="*/ 26 h 2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6" h="26">
                  <a:moveTo>
                    <a:pt x="0" y="6"/>
                  </a:moveTo>
                  <a:lnTo>
                    <a:pt x="14" y="0"/>
                  </a:lnTo>
                  <a:lnTo>
                    <a:pt x="32" y="0"/>
                  </a:lnTo>
                  <a:lnTo>
                    <a:pt x="54" y="0"/>
                  </a:lnTo>
                  <a:lnTo>
                    <a:pt x="56" y="6"/>
                  </a:lnTo>
                  <a:lnTo>
                    <a:pt x="44" y="8"/>
                  </a:lnTo>
                  <a:lnTo>
                    <a:pt x="40" y="12"/>
                  </a:lnTo>
                  <a:lnTo>
                    <a:pt x="50" y="12"/>
                  </a:lnTo>
                  <a:lnTo>
                    <a:pt x="50" y="18"/>
                  </a:lnTo>
                  <a:lnTo>
                    <a:pt x="44" y="24"/>
                  </a:lnTo>
                  <a:lnTo>
                    <a:pt x="32" y="24"/>
                  </a:lnTo>
                  <a:lnTo>
                    <a:pt x="22" y="24"/>
                  </a:lnTo>
                  <a:lnTo>
                    <a:pt x="16" y="26"/>
                  </a:lnTo>
                  <a:lnTo>
                    <a:pt x="4" y="2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02" name="Freeform 218"/>
            <p:cNvSpPr>
              <a:spLocks/>
            </p:cNvSpPr>
            <p:nvPr/>
          </p:nvSpPr>
          <p:spPr bwMode="gray">
            <a:xfrm>
              <a:off x="2308225" y="2263775"/>
              <a:ext cx="76200" cy="22225"/>
            </a:xfrm>
            <a:custGeom>
              <a:avLst/>
              <a:gdLst>
                <a:gd name="T0" fmla="*/ 2147483647 w 64"/>
                <a:gd name="T1" fmla="*/ 2147483647 h 18"/>
                <a:gd name="T2" fmla="*/ 2147483647 w 64"/>
                <a:gd name="T3" fmla="*/ 2147483647 h 18"/>
                <a:gd name="T4" fmla="*/ 2147483647 w 64"/>
                <a:gd name="T5" fmla="*/ 0 h 18"/>
                <a:gd name="T6" fmla="*/ 2147483647 w 64"/>
                <a:gd name="T7" fmla="*/ 2147483647 h 18"/>
                <a:gd name="T8" fmla="*/ 2147483647 w 64"/>
                <a:gd name="T9" fmla="*/ 2147483647 h 18"/>
                <a:gd name="T10" fmla="*/ 2147483647 w 64"/>
                <a:gd name="T11" fmla="*/ 2147483647 h 18"/>
                <a:gd name="T12" fmla="*/ 2147483647 w 64"/>
                <a:gd name="T13" fmla="*/ 2147483647 h 18"/>
                <a:gd name="T14" fmla="*/ 2147483647 w 64"/>
                <a:gd name="T15" fmla="*/ 2147483647 h 18"/>
                <a:gd name="T16" fmla="*/ 2147483647 w 64"/>
                <a:gd name="T17" fmla="*/ 2147483647 h 18"/>
                <a:gd name="T18" fmla="*/ 0 w 64"/>
                <a:gd name="T19" fmla="*/ 2147483647 h 18"/>
                <a:gd name="T20" fmla="*/ 2147483647 w 64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4"/>
                <a:gd name="T34" fmla="*/ 0 h 18"/>
                <a:gd name="T35" fmla="*/ 64 w 64"/>
                <a:gd name="T36" fmla="*/ 18 h 1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4" h="18">
                  <a:moveTo>
                    <a:pt x="8" y="12"/>
                  </a:moveTo>
                  <a:lnTo>
                    <a:pt x="24" y="6"/>
                  </a:lnTo>
                  <a:lnTo>
                    <a:pt x="42" y="0"/>
                  </a:lnTo>
                  <a:lnTo>
                    <a:pt x="56" y="2"/>
                  </a:lnTo>
                  <a:lnTo>
                    <a:pt x="64" y="8"/>
                  </a:lnTo>
                  <a:lnTo>
                    <a:pt x="62" y="14"/>
                  </a:lnTo>
                  <a:lnTo>
                    <a:pt x="52" y="16"/>
                  </a:lnTo>
                  <a:lnTo>
                    <a:pt x="34" y="16"/>
                  </a:lnTo>
                  <a:lnTo>
                    <a:pt x="14" y="18"/>
                  </a:lnTo>
                  <a:lnTo>
                    <a:pt x="0" y="18"/>
                  </a:lnTo>
                  <a:lnTo>
                    <a:pt x="8" y="1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03" name="Freeform 219"/>
            <p:cNvSpPr>
              <a:spLocks/>
            </p:cNvSpPr>
            <p:nvPr/>
          </p:nvSpPr>
          <p:spPr bwMode="gray">
            <a:xfrm>
              <a:off x="2509838" y="2459038"/>
              <a:ext cx="112712" cy="95250"/>
            </a:xfrm>
            <a:custGeom>
              <a:avLst/>
              <a:gdLst>
                <a:gd name="T0" fmla="*/ 2147483647 w 96"/>
                <a:gd name="T1" fmla="*/ 2147483647 h 78"/>
                <a:gd name="T2" fmla="*/ 2147483647 w 96"/>
                <a:gd name="T3" fmla="*/ 2147483647 h 78"/>
                <a:gd name="T4" fmla="*/ 2147483647 w 96"/>
                <a:gd name="T5" fmla="*/ 2147483647 h 78"/>
                <a:gd name="T6" fmla="*/ 2147483647 w 96"/>
                <a:gd name="T7" fmla="*/ 2147483647 h 78"/>
                <a:gd name="T8" fmla="*/ 2147483647 w 96"/>
                <a:gd name="T9" fmla="*/ 2147483647 h 78"/>
                <a:gd name="T10" fmla="*/ 2147483647 w 96"/>
                <a:gd name="T11" fmla="*/ 2147483647 h 78"/>
                <a:gd name="T12" fmla="*/ 0 w 96"/>
                <a:gd name="T13" fmla="*/ 2147483647 h 78"/>
                <a:gd name="T14" fmla="*/ 2147483647 w 96"/>
                <a:gd name="T15" fmla="*/ 2147483647 h 78"/>
                <a:gd name="T16" fmla="*/ 2147483647 w 96"/>
                <a:gd name="T17" fmla="*/ 2147483647 h 78"/>
                <a:gd name="T18" fmla="*/ 2147483647 w 96"/>
                <a:gd name="T19" fmla="*/ 2147483647 h 78"/>
                <a:gd name="T20" fmla="*/ 2147483647 w 96"/>
                <a:gd name="T21" fmla="*/ 2147483647 h 78"/>
                <a:gd name="T22" fmla="*/ 2147483647 w 96"/>
                <a:gd name="T23" fmla="*/ 2147483647 h 78"/>
                <a:gd name="T24" fmla="*/ 2147483647 w 96"/>
                <a:gd name="T25" fmla="*/ 2147483647 h 78"/>
                <a:gd name="T26" fmla="*/ 2147483647 w 96"/>
                <a:gd name="T27" fmla="*/ 2147483647 h 78"/>
                <a:gd name="T28" fmla="*/ 2147483647 w 96"/>
                <a:gd name="T29" fmla="*/ 2147483647 h 78"/>
                <a:gd name="T30" fmla="*/ 2147483647 w 96"/>
                <a:gd name="T31" fmla="*/ 0 h 78"/>
                <a:gd name="T32" fmla="*/ 2147483647 w 96"/>
                <a:gd name="T33" fmla="*/ 2147483647 h 78"/>
                <a:gd name="T34" fmla="*/ 2147483647 w 96"/>
                <a:gd name="T35" fmla="*/ 2147483647 h 78"/>
                <a:gd name="T36" fmla="*/ 2147483647 w 96"/>
                <a:gd name="T37" fmla="*/ 0 h 78"/>
                <a:gd name="T38" fmla="*/ 2147483647 w 96"/>
                <a:gd name="T39" fmla="*/ 2147483647 h 78"/>
                <a:gd name="T40" fmla="*/ 2147483647 w 96"/>
                <a:gd name="T41" fmla="*/ 2147483647 h 78"/>
                <a:gd name="T42" fmla="*/ 2147483647 w 96"/>
                <a:gd name="T43" fmla="*/ 2147483647 h 78"/>
                <a:gd name="T44" fmla="*/ 2147483647 w 96"/>
                <a:gd name="T45" fmla="*/ 2147483647 h 78"/>
                <a:gd name="T46" fmla="*/ 2147483647 w 96"/>
                <a:gd name="T47" fmla="*/ 2147483647 h 78"/>
                <a:gd name="T48" fmla="*/ 2147483647 w 96"/>
                <a:gd name="T49" fmla="*/ 2147483647 h 78"/>
                <a:gd name="T50" fmla="*/ 2147483647 w 96"/>
                <a:gd name="T51" fmla="*/ 2147483647 h 78"/>
                <a:gd name="T52" fmla="*/ 2147483647 w 96"/>
                <a:gd name="T53" fmla="*/ 2147483647 h 78"/>
                <a:gd name="T54" fmla="*/ 2147483647 w 96"/>
                <a:gd name="T55" fmla="*/ 2147483647 h 78"/>
                <a:gd name="T56" fmla="*/ 2147483647 w 96"/>
                <a:gd name="T57" fmla="*/ 2147483647 h 78"/>
                <a:gd name="T58" fmla="*/ 2147483647 w 96"/>
                <a:gd name="T59" fmla="*/ 2147483647 h 78"/>
                <a:gd name="T60" fmla="*/ 2147483647 w 96"/>
                <a:gd name="T61" fmla="*/ 2147483647 h 78"/>
                <a:gd name="T62" fmla="*/ 2147483647 w 96"/>
                <a:gd name="T63" fmla="*/ 2147483647 h 78"/>
                <a:gd name="T64" fmla="*/ 2147483647 w 96"/>
                <a:gd name="T65" fmla="*/ 2147483647 h 78"/>
                <a:gd name="T66" fmla="*/ 2147483647 w 96"/>
                <a:gd name="T67" fmla="*/ 2147483647 h 78"/>
                <a:gd name="T68" fmla="*/ 2147483647 w 96"/>
                <a:gd name="T69" fmla="*/ 2147483647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96"/>
                <a:gd name="T106" fmla="*/ 0 h 78"/>
                <a:gd name="T107" fmla="*/ 96 w 96"/>
                <a:gd name="T108" fmla="*/ 78 h 7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96" h="78">
                  <a:moveTo>
                    <a:pt x="62" y="78"/>
                  </a:moveTo>
                  <a:lnTo>
                    <a:pt x="50" y="66"/>
                  </a:lnTo>
                  <a:lnTo>
                    <a:pt x="34" y="56"/>
                  </a:lnTo>
                  <a:lnTo>
                    <a:pt x="26" y="48"/>
                  </a:lnTo>
                  <a:lnTo>
                    <a:pt x="10" y="46"/>
                  </a:lnTo>
                  <a:lnTo>
                    <a:pt x="2" y="40"/>
                  </a:lnTo>
                  <a:lnTo>
                    <a:pt x="0" y="32"/>
                  </a:lnTo>
                  <a:lnTo>
                    <a:pt x="4" y="22"/>
                  </a:lnTo>
                  <a:lnTo>
                    <a:pt x="12" y="24"/>
                  </a:lnTo>
                  <a:lnTo>
                    <a:pt x="18" y="32"/>
                  </a:lnTo>
                  <a:lnTo>
                    <a:pt x="28" y="30"/>
                  </a:lnTo>
                  <a:lnTo>
                    <a:pt x="38" y="24"/>
                  </a:lnTo>
                  <a:lnTo>
                    <a:pt x="34" y="18"/>
                  </a:lnTo>
                  <a:lnTo>
                    <a:pt x="20" y="12"/>
                  </a:lnTo>
                  <a:lnTo>
                    <a:pt x="32" y="2"/>
                  </a:lnTo>
                  <a:lnTo>
                    <a:pt x="46" y="0"/>
                  </a:lnTo>
                  <a:lnTo>
                    <a:pt x="50" y="4"/>
                  </a:lnTo>
                  <a:lnTo>
                    <a:pt x="58" y="4"/>
                  </a:lnTo>
                  <a:lnTo>
                    <a:pt x="66" y="0"/>
                  </a:lnTo>
                  <a:lnTo>
                    <a:pt x="92" y="2"/>
                  </a:lnTo>
                  <a:lnTo>
                    <a:pt x="86" y="6"/>
                  </a:lnTo>
                  <a:lnTo>
                    <a:pt x="78" y="14"/>
                  </a:lnTo>
                  <a:lnTo>
                    <a:pt x="68" y="20"/>
                  </a:lnTo>
                  <a:lnTo>
                    <a:pt x="64" y="26"/>
                  </a:lnTo>
                  <a:lnTo>
                    <a:pt x="74" y="26"/>
                  </a:lnTo>
                  <a:lnTo>
                    <a:pt x="80" y="26"/>
                  </a:lnTo>
                  <a:lnTo>
                    <a:pt x="86" y="34"/>
                  </a:lnTo>
                  <a:lnTo>
                    <a:pt x="94" y="28"/>
                  </a:lnTo>
                  <a:lnTo>
                    <a:pt x="96" y="38"/>
                  </a:lnTo>
                  <a:lnTo>
                    <a:pt x="92" y="54"/>
                  </a:lnTo>
                  <a:lnTo>
                    <a:pt x="84" y="66"/>
                  </a:lnTo>
                  <a:lnTo>
                    <a:pt x="78" y="68"/>
                  </a:lnTo>
                  <a:lnTo>
                    <a:pt x="70" y="64"/>
                  </a:lnTo>
                  <a:lnTo>
                    <a:pt x="68" y="68"/>
                  </a:lnTo>
                  <a:lnTo>
                    <a:pt x="62" y="7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04" name="Freeform 220"/>
            <p:cNvSpPr>
              <a:spLocks/>
            </p:cNvSpPr>
            <p:nvPr/>
          </p:nvSpPr>
          <p:spPr bwMode="gray">
            <a:xfrm>
              <a:off x="2622550" y="2386013"/>
              <a:ext cx="57150" cy="41275"/>
            </a:xfrm>
            <a:custGeom>
              <a:avLst/>
              <a:gdLst>
                <a:gd name="T0" fmla="*/ 2147483647 w 46"/>
                <a:gd name="T1" fmla="*/ 2147483647 h 34"/>
                <a:gd name="T2" fmla="*/ 2147483647 w 46"/>
                <a:gd name="T3" fmla="*/ 2147483647 h 34"/>
                <a:gd name="T4" fmla="*/ 2147483647 w 46"/>
                <a:gd name="T5" fmla="*/ 2147483647 h 34"/>
                <a:gd name="T6" fmla="*/ 0 w 46"/>
                <a:gd name="T7" fmla="*/ 2147483647 h 34"/>
                <a:gd name="T8" fmla="*/ 2147483647 w 46"/>
                <a:gd name="T9" fmla="*/ 2147483647 h 34"/>
                <a:gd name="T10" fmla="*/ 2147483647 w 46"/>
                <a:gd name="T11" fmla="*/ 2147483647 h 34"/>
                <a:gd name="T12" fmla="*/ 2147483647 w 46"/>
                <a:gd name="T13" fmla="*/ 0 h 34"/>
                <a:gd name="T14" fmla="*/ 2147483647 w 46"/>
                <a:gd name="T15" fmla="*/ 2147483647 h 34"/>
                <a:gd name="T16" fmla="*/ 2147483647 w 46"/>
                <a:gd name="T17" fmla="*/ 2147483647 h 34"/>
                <a:gd name="T18" fmla="*/ 2147483647 w 46"/>
                <a:gd name="T19" fmla="*/ 2147483647 h 34"/>
                <a:gd name="T20" fmla="*/ 2147483647 w 46"/>
                <a:gd name="T21" fmla="*/ 2147483647 h 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6"/>
                <a:gd name="T34" fmla="*/ 0 h 34"/>
                <a:gd name="T35" fmla="*/ 46 w 46"/>
                <a:gd name="T36" fmla="*/ 34 h 3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6" h="34">
                  <a:moveTo>
                    <a:pt x="46" y="34"/>
                  </a:moveTo>
                  <a:lnTo>
                    <a:pt x="28" y="32"/>
                  </a:lnTo>
                  <a:lnTo>
                    <a:pt x="12" y="30"/>
                  </a:lnTo>
                  <a:lnTo>
                    <a:pt x="0" y="22"/>
                  </a:lnTo>
                  <a:lnTo>
                    <a:pt x="8" y="12"/>
                  </a:lnTo>
                  <a:lnTo>
                    <a:pt x="18" y="6"/>
                  </a:lnTo>
                  <a:lnTo>
                    <a:pt x="26" y="0"/>
                  </a:lnTo>
                  <a:lnTo>
                    <a:pt x="34" y="6"/>
                  </a:lnTo>
                  <a:lnTo>
                    <a:pt x="44" y="14"/>
                  </a:lnTo>
                  <a:lnTo>
                    <a:pt x="46" y="22"/>
                  </a:lnTo>
                  <a:lnTo>
                    <a:pt x="46" y="3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05" name="Freeform 221"/>
            <p:cNvSpPr>
              <a:spLocks/>
            </p:cNvSpPr>
            <p:nvPr/>
          </p:nvSpPr>
          <p:spPr bwMode="gray">
            <a:xfrm>
              <a:off x="2589213" y="2262188"/>
              <a:ext cx="66675" cy="38100"/>
            </a:xfrm>
            <a:custGeom>
              <a:avLst/>
              <a:gdLst>
                <a:gd name="T0" fmla="*/ 2147483647 w 54"/>
                <a:gd name="T1" fmla="*/ 0 h 32"/>
                <a:gd name="T2" fmla="*/ 2147483647 w 54"/>
                <a:gd name="T3" fmla="*/ 2147483647 h 32"/>
                <a:gd name="T4" fmla="*/ 2147483647 w 54"/>
                <a:gd name="T5" fmla="*/ 2147483647 h 32"/>
                <a:gd name="T6" fmla="*/ 2147483647 w 54"/>
                <a:gd name="T7" fmla="*/ 2147483647 h 32"/>
                <a:gd name="T8" fmla="*/ 2147483647 w 54"/>
                <a:gd name="T9" fmla="*/ 2147483647 h 32"/>
                <a:gd name="T10" fmla="*/ 2147483647 w 54"/>
                <a:gd name="T11" fmla="*/ 2147483647 h 32"/>
                <a:gd name="T12" fmla="*/ 2147483647 w 54"/>
                <a:gd name="T13" fmla="*/ 2147483647 h 32"/>
                <a:gd name="T14" fmla="*/ 2147483647 w 54"/>
                <a:gd name="T15" fmla="*/ 2147483647 h 32"/>
                <a:gd name="T16" fmla="*/ 2147483647 w 54"/>
                <a:gd name="T17" fmla="*/ 2147483647 h 32"/>
                <a:gd name="T18" fmla="*/ 2147483647 w 54"/>
                <a:gd name="T19" fmla="*/ 2147483647 h 32"/>
                <a:gd name="T20" fmla="*/ 0 w 54"/>
                <a:gd name="T21" fmla="*/ 2147483647 h 32"/>
                <a:gd name="T22" fmla="*/ 0 w 54"/>
                <a:gd name="T23" fmla="*/ 2147483647 h 32"/>
                <a:gd name="T24" fmla="*/ 2147483647 w 54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4"/>
                <a:gd name="T40" fmla="*/ 0 h 32"/>
                <a:gd name="T41" fmla="*/ 54 w 54"/>
                <a:gd name="T42" fmla="*/ 32 h 3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4" h="32">
                  <a:moveTo>
                    <a:pt x="4" y="0"/>
                  </a:moveTo>
                  <a:lnTo>
                    <a:pt x="22" y="4"/>
                  </a:lnTo>
                  <a:lnTo>
                    <a:pt x="36" y="10"/>
                  </a:lnTo>
                  <a:lnTo>
                    <a:pt x="48" y="14"/>
                  </a:lnTo>
                  <a:lnTo>
                    <a:pt x="54" y="20"/>
                  </a:lnTo>
                  <a:lnTo>
                    <a:pt x="48" y="30"/>
                  </a:lnTo>
                  <a:lnTo>
                    <a:pt x="36" y="32"/>
                  </a:lnTo>
                  <a:lnTo>
                    <a:pt x="20" y="32"/>
                  </a:lnTo>
                  <a:lnTo>
                    <a:pt x="16" y="22"/>
                  </a:lnTo>
                  <a:lnTo>
                    <a:pt x="6" y="18"/>
                  </a:lnTo>
                  <a:lnTo>
                    <a:pt x="0" y="12"/>
                  </a:lnTo>
                  <a:lnTo>
                    <a:pt x="0" y="4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06" name="Freeform 222"/>
            <p:cNvSpPr>
              <a:spLocks/>
            </p:cNvSpPr>
            <p:nvPr/>
          </p:nvSpPr>
          <p:spPr bwMode="gray">
            <a:xfrm>
              <a:off x="2619375" y="2149475"/>
              <a:ext cx="214313" cy="141288"/>
            </a:xfrm>
            <a:custGeom>
              <a:avLst/>
              <a:gdLst>
                <a:gd name="T0" fmla="*/ 2147483647 w 182"/>
                <a:gd name="T1" fmla="*/ 2147483647 h 116"/>
                <a:gd name="T2" fmla="*/ 2147483647 w 182"/>
                <a:gd name="T3" fmla="*/ 2147483647 h 116"/>
                <a:gd name="T4" fmla="*/ 2147483647 w 182"/>
                <a:gd name="T5" fmla="*/ 2147483647 h 116"/>
                <a:gd name="T6" fmla="*/ 2147483647 w 182"/>
                <a:gd name="T7" fmla="*/ 2147483647 h 116"/>
                <a:gd name="T8" fmla="*/ 2147483647 w 182"/>
                <a:gd name="T9" fmla="*/ 2147483647 h 116"/>
                <a:gd name="T10" fmla="*/ 2147483647 w 182"/>
                <a:gd name="T11" fmla="*/ 2147483647 h 116"/>
                <a:gd name="T12" fmla="*/ 2147483647 w 182"/>
                <a:gd name="T13" fmla="*/ 2147483647 h 116"/>
                <a:gd name="T14" fmla="*/ 2147483647 w 182"/>
                <a:gd name="T15" fmla="*/ 2147483647 h 116"/>
                <a:gd name="T16" fmla="*/ 2147483647 w 182"/>
                <a:gd name="T17" fmla="*/ 2147483647 h 116"/>
                <a:gd name="T18" fmla="*/ 2147483647 w 182"/>
                <a:gd name="T19" fmla="*/ 2147483647 h 116"/>
                <a:gd name="T20" fmla="*/ 2147483647 w 182"/>
                <a:gd name="T21" fmla="*/ 2147483647 h 116"/>
                <a:gd name="T22" fmla="*/ 2147483647 w 182"/>
                <a:gd name="T23" fmla="*/ 2147483647 h 116"/>
                <a:gd name="T24" fmla="*/ 0 w 182"/>
                <a:gd name="T25" fmla="*/ 2147483647 h 116"/>
                <a:gd name="T26" fmla="*/ 2147483647 w 182"/>
                <a:gd name="T27" fmla="*/ 2147483647 h 116"/>
                <a:gd name="T28" fmla="*/ 2147483647 w 182"/>
                <a:gd name="T29" fmla="*/ 2147483647 h 116"/>
                <a:gd name="T30" fmla="*/ 2147483647 w 182"/>
                <a:gd name="T31" fmla="*/ 2147483647 h 116"/>
                <a:gd name="T32" fmla="*/ 2147483647 w 182"/>
                <a:gd name="T33" fmla="*/ 2147483647 h 116"/>
                <a:gd name="T34" fmla="*/ 2147483647 w 182"/>
                <a:gd name="T35" fmla="*/ 2147483647 h 116"/>
                <a:gd name="T36" fmla="*/ 2147483647 w 182"/>
                <a:gd name="T37" fmla="*/ 2147483647 h 116"/>
                <a:gd name="T38" fmla="*/ 2147483647 w 182"/>
                <a:gd name="T39" fmla="*/ 2147483647 h 116"/>
                <a:gd name="T40" fmla="*/ 2147483647 w 182"/>
                <a:gd name="T41" fmla="*/ 2147483647 h 116"/>
                <a:gd name="T42" fmla="*/ 2147483647 w 182"/>
                <a:gd name="T43" fmla="*/ 2147483647 h 116"/>
                <a:gd name="T44" fmla="*/ 2147483647 w 182"/>
                <a:gd name="T45" fmla="*/ 2147483647 h 116"/>
                <a:gd name="T46" fmla="*/ 2147483647 w 182"/>
                <a:gd name="T47" fmla="*/ 2147483647 h 116"/>
                <a:gd name="T48" fmla="*/ 2147483647 w 182"/>
                <a:gd name="T49" fmla="*/ 2147483647 h 116"/>
                <a:gd name="T50" fmla="*/ 2147483647 w 182"/>
                <a:gd name="T51" fmla="*/ 2147483647 h 116"/>
                <a:gd name="T52" fmla="*/ 2147483647 w 182"/>
                <a:gd name="T53" fmla="*/ 2147483647 h 116"/>
                <a:gd name="T54" fmla="*/ 2147483647 w 182"/>
                <a:gd name="T55" fmla="*/ 2147483647 h 116"/>
                <a:gd name="T56" fmla="*/ 2147483647 w 182"/>
                <a:gd name="T57" fmla="*/ 2147483647 h 116"/>
                <a:gd name="T58" fmla="*/ 2147483647 w 182"/>
                <a:gd name="T59" fmla="*/ 2147483647 h 116"/>
                <a:gd name="T60" fmla="*/ 2147483647 w 182"/>
                <a:gd name="T61" fmla="*/ 2147483647 h 116"/>
                <a:gd name="T62" fmla="*/ 2147483647 w 182"/>
                <a:gd name="T63" fmla="*/ 2147483647 h 116"/>
                <a:gd name="T64" fmla="*/ 2147483647 w 182"/>
                <a:gd name="T65" fmla="*/ 2147483647 h 116"/>
                <a:gd name="T66" fmla="*/ 2147483647 w 182"/>
                <a:gd name="T67" fmla="*/ 2147483647 h 116"/>
                <a:gd name="T68" fmla="*/ 2147483647 w 182"/>
                <a:gd name="T69" fmla="*/ 2147483647 h 116"/>
                <a:gd name="T70" fmla="*/ 2147483647 w 182"/>
                <a:gd name="T71" fmla="*/ 2147483647 h 116"/>
                <a:gd name="T72" fmla="*/ 2147483647 w 182"/>
                <a:gd name="T73" fmla="*/ 2147483647 h 116"/>
                <a:gd name="T74" fmla="*/ 2147483647 w 182"/>
                <a:gd name="T75" fmla="*/ 2147483647 h 116"/>
                <a:gd name="T76" fmla="*/ 2147483647 w 182"/>
                <a:gd name="T77" fmla="*/ 2147483647 h 11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82"/>
                <a:gd name="T118" fmla="*/ 0 h 116"/>
                <a:gd name="T119" fmla="*/ 182 w 182"/>
                <a:gd name="T120" fmla="*/ 116 h 11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82" h="116">
                  <a:moveTo>
                    <a:pt x="124" y="116"/>
                  </a:moveTo>
                  <a:lnTo>
                    <a:pt x="116" y="110"/>
                  </a:lnTo>
                  <a:lnTo>
                    <a:pt x="108" y="100"/>
                  </a:lnTo>
                  <a:lnTo>
                    <a:pt x="102" y="104"/>
                  </a:lnTo>
                  <a:lnTo>
                    <a:pt x="104" y="110"/>
                  </a:lnTo>
                  <a:lnTo>
                    <a:pt x="96" y="112"/>
                  </a:lnTo>
                  <a:lnTo>
                    <a:pt x="84" y="116"/>
                  </a:lnTo>
                  <a:lnTo>
                    <a:pt x="66" y="110"/>
                  </a:lnTo>
                  <a:lnTo>
                    <a:pt x="64" y="100"/>
                  </a:lnTo>
                  <a:lnTo>
                    <a:pt x="78" y="102"/>
                  </a:lnTo>
                  <a:lnTo>
                    <a:pt x="76" y="98"/>
                  </a:lnTo>
                  <a:lnTo>
                    <a:pt x="62" y="96"/>
                  </a:lnTo>
                  <a:lnTo>
                    <a:pt x="56" y="98"/>
                  </a:lnTo>
                  <a:lnTo>
                    <a:pt x="40" y="86"/>
                  </a:lnTo>
                  <a:lnTo>
                    <a:pt x="52" y="82"/>
                  </a:lnTo>
                  <a:lnTo>
                    <a:pt x="70" y="82"/>
                  </a:lnTo>
                  <a:lnTo>
                    <a:pt x="84" y="82"/>
                  </a:lnTo>
                  <a:lnTo>
                    <a:pt x="96" y="80"/>
                  </a:lnTo>
                  <a:lnTo>
                    <a:pt x="90" y="74"/>
                  </a:lnTo>
                  <a:lnTo>
                    <a:pt x="78" y="72"/>
                  </a:lnTo>
                  <a:lnTo>
                    <a:pt x="62" y="72"/>
                  </a:lnTo>
                  <a:lnTo>
                    <a:pt x="50" y="74"/>
                  </a:lnTo>
                  <a:lnTo>
                    <a:pt x="34" y="72"/>
                  </a:lnTo>
                  <a:lnTo>
                    <a:pt x="24" y="74"/>
                  </a:lnTo>
                  <a:lnTo>
                    <a:pt x="6" y="54"/>
                  </a:lnTo>
                  <a:lnTo>
                    <a:pt x="0" y="44"/>
                  </a:lnTo>
                  <a:lnTo>
                    <a:pt x="8" y="44"/>
                  </a:lnTo>
                  <a:lnTo>
                    <a:pt x="14" y="48"/>
                  </a:lnTo>
                  <a:lnTo>
                    <a:pt x="30" y="50"/>
                  </a:lnTo>
                  <a:lnTo>
                    <a:pt x="36" y="42"/>
                  </a:lnTo>
                  <a:lnTo>
                    <a:pt x="24" y="40"/>
                  </a:lnTo>
                  <a:lnTo>
                    <a:pt x="16" y="38"/>
                  </a:lnTo>
                  <a:lnTo>
                    <a:pt x="14" y="28"/>
                  </a:lnTo>
                  <a:lnTo>
                    <a:pt x="24" y="28"/>
                  </a:lnTo>
                  <a:lnTo>
                    <a:pt x="36" y="30"/>
                  </a:lnTo>
                  <a:lnTo>
                    <a:pt x="42" y="26"/>
                  </a:lnTo>
                  <a:lnTo>
                    <a:pt x="34" y="22"/>
                  </a:lnTo>
                  <a:lnTo>
                    <a:pt x="24" y="18"/>
                  </a:lnTo>
                  <a:lnTo>
                    <a:pt x="26" y="10"/>
                  </a:lnTo>
                  <a:lnTo>
                    <a:pt x="34" y="10"/>
                  </a:lnTo>
                  <a:lnTo>
                    <a:pt x="42" y="12"/>
                  </a:lnTo>
                  <a:lnTo>
                    <a:pt x="58" y="10"/>
                  </a:lnTo>
                  <a:lnTo>
                    <a:pt x="56" y="6"/>
                  </a:lnTo>
                  <a:lnTo>
                    <a:pt x="42" y="4"/>
                  </a:lnTo>
                  <a:lnTo>
                    <a:pt x="46" y="0"/>
                  </a:lnTo>
                  <a:lnTo>
                    <a:pt x="70" y="2"/>
                  </a:lnTo>
                  <a:lnTo>
                    <a:pt x="98" y="30"/>
                  </a:lnTo>
                  <a:lnTo>
                    <a:pt x="118" y="34"/>
                  </a:lnTo>
                  <a:lnTo>
                    <a:pt x="118" y="42"/>
                  </a:lnTo>
                  <a:lnTo>
                    <a:pt x="126" y="48"/>
                  </a:lnTo>
                  <a:lnTo>
                    <a:pt x="130" y="38"/>
                  </a:lnTo>
                  <a:lnTo>
                    <a:pt x="138" y="34"/>
                  </a:lnTo>
                  <a:lnTo>
                    <a:pt x="144" y="36"/>
                  </a:lnTo>
                  <a:lnTo>
                    <a:pt x="142" y="46"/>
                  </a:lnTo>
                  <a:lnTo>
                    <a:pt x="150" y="52"/>
                  </a:lnTo>
                  <a:lnTo>
                    <a:pt x="152" y="58"/>
                  </a:lnTo>
                  <a:lnTo>
                    <a:pt x="150" y="68"/>
                  </a:lnTo>
                  <a:lnTo>
                    <a:pt x="164" y="66"/>
                  </a:lnTo>
                  <a:lnTo>
                    <a:pt x="172" y="68"/>
                  </a:lnTo>
                  <a:lnTo>
                    <a:pt x="176" y="68"/>
                  </a:lnTo>
                  <a:lnTo>
                    <a:pt x="182" y="74"/>
                  </a:lnTo>
                  <a:lnTo>
                    <a:pt x="178" y="80"/>
                  </a:lnTo>
                  <a:lnTo>
                    <a:pt x="172" y="84"/>
                  </a:lnTo>
                  <a:lnTo>
                    <a:pt x="162" y="82"/>
                  </a:lnTo>
                  <a:lnTo>
                    <a:pt x="156" y="84"/>
                  </a:lnTo>
                  <a:lnTo>
                    <a:pt x="140" y="98"/>
                  </a:lnTo>
                  <a:lnTo>
                    <a:pt x="140" y="92"/>
                  </a:lnTo>
                  <a:lnTo>
                    <a:pt x="144" y="82"/>
                  </a:lnTo>
                  <a:lnTo>
                    <a:pt x="138" y="82"/>
                  </a:lnTo>
                  <a:lnTo>
                    <a:pt x="134" y="92"/>
                  </a:lnTo>
                  <a:lnTo>
                    <a:pt x="134" y="96"/>
                  </a:lnTo>
                  <a:lnTo>
                    <a:pt x="136" y="102"/>
                  </a:lnTo>
                  <a:lnTo>
                    <a:pt x="136" y="106"/>
                  </a:lnTo>
                  <a:lnTo>
                    <a:pt x="136" y="108"/>
                  </a:lnTo>
                  <a:lnTo>
                    <a:pt x="134" y="110"/>
                  </a:lnTo>
                  <a:lnTo>
                    <a:pt x="128" y="106"/>
                  </a:lnTo>
                  <a:lnTo>
                    <a:pt x="126" y="104"/>
                  </a:lnTo>
                  <a:lnTo>
                    <a:pt x="124" y="11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07" name="Freeform 223"/>
            <p:cNvSpPr>
              <a:spLocks/>
            </p:cNvSpPr>
            <p:nvPr/>
          </p:nvSpPr>
          <p:spPr bwMode="gray">
            <a:xfrm>
              <a:off x="2549525" y="2203450"/>
              <a:ext cx="31750" cy="19050"/>
            </a:xfrm>
            <a:custGeom>
              <a:avLst/>
              <a:gdLst>
                <a:gd name="T0" fmla="*/ 2147483647 w 26"/>
                <a:gd name="T1" fmla="*/ 0 h 16"/>
                <a:gd name="T2" fmla="*/ 2147483647 w 26"/>
                <a:gd name="T3" fmla="*/ 0 h 16"/>
                <a:gd name="T4" fmla="*/ 2147483647 w 26"/>
                <a:gd name="T5" fmla="*/ 2147483647 h 16"/>
                <a:gd name="T6" fmla="*/ 2147483647 w 26"/>
                <a:gd name="T7" fmla="*/ 2147483647 h 16"/>
                <a:gd name="T8" fmla="*/ 2147483647 w 26"/>
                <a:gd name="T9" fmla="*/ 2147483647 h 16"/>
                <a:gd name="T10" fmla="*/ 2147483647 w 26"/>
                <a:gd name="T11" fmla="*/ 2147483647 h 16"/>
                <a:gd name="T12" fmla="*/ 2147483647 w 26"/>
                <a:gd name="T13" fmla="*/ 2147483647 h 16"/>
                <a:gd name="T14" fmla="*/ 0 w 26"/>
                <a:gd name="T15" fmla="*/ 2147483647 h 16"/>
                <a:gd name="T16" fmla="*/ 2147483647 w 26"/>
                <a:gd name="T17" fmla="*/ 0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"/>
                <a:gd name="T28" fmla="*/ 0 h 16"/>
                <a:gd name="T29" fmla="*/ 26 w 26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" h="16">
                  <a:moveTo>
                    <a:pt x="8" y="0"/>
                  </a:moveTo>
                  <a:lnTo>
                    <a:pt x="18" y="0"/>
                  </a:lnTo>
                  <a:lnTo>
                    <a:pt x="26" y="6"/>
                  </a:lnTo>
                  <a:lnTo>
                    <a:pt x="26" y="16"/>
                  </a:lnTo>
                  <a:lnTo>
                    <a:pt x="18" y="16"/>
                  </a:lnTo>
                  <a:lnTo>
                    <a:pt x="14" y="12"/>
                  </a:lnTo>
                  <a:lnTo>
                    <a:pt x="4" y="12"/>
                  </a:lnTo>
                  <a:lnTo>
                    <a:pt x="0" y="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08" name="Freeform 224"/>
            <p:cNvSpPr>
              <a:spLocks/>
            </p:cNvSpPr>
            <p:nvPr/>
          </p:nvSpPr>
          <p:spPr bwMode="gray">
            <a:xfrm>
              <a:off x="2921000" y="2465388"/>
              <a:ext cx="82550" cy="33337"/>
            </a:xfrm>
            <a:custGeom>
              <a:avLst/>
              <a:gdLst>
                <a:gd name="T0" fmla="*/ 2147483647 w 70"/>
                <a:gd name="T1" fmla="*/ 0 h 28"/>
                <a:gd name="T2" fmla="*/ 2147483647 w 70"/>
                <a:gd name="T3" fmla="*/ 0 h 28"/>
                <a:gd name="T4" fmla="*/ 2147483647 w 70"/>
                <a:gd name="T5" fmla="*/ 2147483647 h 28"/>
                <a:gd name="T6" fmla="*/ 2147483647 w 70"/>
                <a:gd name="T7" fmla="*/ 2147483647 h 28"/>
                <a:gd name="T8" fmla="*/ 2147483647 w 70"/>
                <a:gd name="T9" fmla="*/ 2147483647 h 28"/>
                <a:gd name="T10" fmla="*/ 2147483647 w 70"/>
                <a:gd name="T11" fmla="*/ 2147483647 h 28"/>
                <a:gd name="T12" fmla="*/ 2147483647 w 70"/>
                <a:gd name="T13" fmla="*/ 2147483647 h 28"/>
                <a:gd name="T14" fmla="*/ 2147483647 w 70"/>
                <a:gd name="T15" fmla="*/ 2147483647 h 28"/>
                <a:gd name="T16" fmla="*/ 2147483647 w 70"/>
                <a:gd name="T17" fmla="*/ 2147483647 h 28"/>
                <a:gd name="T18" fmla="*/ 2147483647 w 70"/>
                <a:gd name="T19" fmla="*/ 2147483647 h 28"/>
                <a:gd name="T20" fmla="*/ 2147483647 w 70"/>
                <a:gd name="T21" fmla="*/ 2147483647 h 28"/>
                <a:gd name="T22" fmla="*/ 0 w 70"/>
                <a:gd name="T23" fmla="*/ 2147483647 h 28"/>
                <a:gd name="T24" fmla="*/ 0 w 70"/>
                <a:gd name="T25" fmla="*/ 0 h 28"/>
                <a:gd name="T26" fmla="*/ 2147483647 w 70"/>
                <a:gd name="T27" fmla="*/ 0 h 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70"/>
                <a:gd name="T43" fmla="*/ 0 h 28"/>
                <a:gd name="T44" fmla="*/ 70 w 70"/>
                <a:gd name="T45" fmla="*/ 28 h 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70" h="28">
                  <a:moveTo>
                    <a:pt x="4" y="0"/>
                  </a:moveTo>
                  <a:lnTo>
                    <a:pt x="22" y="0"/>
                  </a:lnTo>
                  <a:lnTo>
                    <a:pt x="42" y="2"/>
                  </a:lnTo>
                  <a:lnTo>
                    <a:pt x="62" y="12"/>
                  </a:lnTo>
                  <a:lnTo>
                    <a:pt x="70" y="22"/>
                  </a:lnTo>
                  <a:lnTo>
                    <a:pt x="60" y="24"/>
                  </a:lnTo>
                  <a:lnTo>
                    <a:pt x="46" y="24"/>
                  </a:lnTo>
                  <a:lnTo>
                    <a:pt x="32" y="24"/>
                  </a:lnTo>
                  <a:lnTo>
                    <a:pt x="26" y="28"/>
                  </a:lnTo>
                  <a:lnTo>
                    <a:pt x="14" y="26"/>
                  </a:lnTo>
                  <a:lnTo>
                    <a:pt x="10" y="16"/>
                  </a:lnTo>
                  <a:lnTo>
                    <a:pt x="0" y="10"/>
                  </a:lnTo>
                  <a:lnTo>
                    <a:pt x="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09" name="Freeform 225"/>
            <p:cNvSpPr>
              <a:spLocks/>
            </p:cNvSpPr>
            <p:nvPr/>
          </p:nvSpPr>
          <p:spPr bwMode="gray">
            <a:xfrm>
              <a:off x="2984500" y="2654300"/>
              <a:ext cx="41275" cy="36513"/>
            </a:xfrm>
            <a:custGeom>
              <a:avLst/>
              <a:gdLst>
                <a:gd name="T0" fmla="*/ 2147483647 w 36"/>
                <a:gd name="T1" fmla="*/ 2147483647 h 30"/>
                <a:gd name="T2" fmla="*/ 2147483647 w 36"/>
                <a:gd name="T3" fmla="*/ 2147483647 h 30"/>
                <a:gd name="T4" fmla="*/ 2147483647 w 36"/>
                <a:gd name="T5" fmla="*/ 2147483647 h 30"/>
                <a:gd name="T6" fmla="*/ 2147483647 w 36"/>
                <a:gd name="T7" fmla="*/ 2147483647 h 30"/>
                <a:gd name="T8" fmla="*/ 2147483647 w 36"/>
                <a:gd name="T9" fmla="*/ 2147483647 h 30"/>
                <a:gd name="T10" fmla="*/ 0 w 36"/>
                <a:gd name="T11" fmla="*/ 2147483647 h 30"/>
                <a:gd name="T12" fmla="*/ 2147483647 w 36"/>
                <a:gd name="T13" fmla="*/ 2147483647 h 30"/>
                <a:gd name="T14" fmla="*/ 2147483647 w 36"/>
                <a:gd name="T15" fmla="*/ 2147483647 h 30"/>
                <a:gd name="T16" fmla="*/ 2147483647 w 36"/>
                <a:gd name="T17" fmla="*/ 2147483647 h 30"/>
                <a:gd name="T18" fmla="*/ 2147483647 w 36"/>
                <a:gd name="T19" fmla="*/ 0 h 30"/>
                <a:gd name="T20" fmla="*/ 2147483647 w 36"/>
                <a:gd name="T21" fmla="*/ 2147483647 h 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30"/>
                <a:gd name="T35" fmla="*/ 36 w 36"/>
                <a:gd name="T36" fmla="*/ 30 h 3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30">
                  <a:moveTo>
                    <a:pt x="36" y="4"/>
                  </a:moveTo>
                  <a:lnTo>
                    <a:pt x="36" y="10"/>
                  </a:lnTo>
                  <a:lnTo>
                    <a:pt x="34" y="20"/>
                  </a:lnTo>
                  <a:lnTo>
                    <a:pt x="26" y="26"/>
                  </a:lnTo>
                  <a:lnTo>
                    <a:pt x="14" y="30"/>
                  </a:lnTo>
                  <a:lnTo>
                    <a:pt x="0" y="26"/>
                  </a:lnTo>
                  <a:lnTo>
                    <a:pt x="2" y="12"/>
                  </a:lnTo>
                  <a:lnTo>
                    <a:pt x="6" y="4"/>
                  </a:lnTo>
                  <a:lnTo>
                    <a:pt x="12" y="2"/>
                  </a:lnTo>
                  <a:lnTo>
                    <a:pt x="24" y="0"/>
                  </a:lnTo>
                  <a:lnTo>
                    <a:pt x="36" y="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10" name="Freeform 226"/>
            <p:cNvSpPr>
              <a:spLocks/>
            </p:cNvSpPr>
            <p:nvPr/>
          </p:nvSpPr>
          <p:spPr bwMode="gray">
            <a:xfrm>
              <a:off x="2797175" y="2733675"/>
              <a:ext cx="130175" cy="85725"/>
            </a:xfrm>
            <a:custGeom>
              <a:avLst/>
              <a:gdLst>
                <a:gd name="T0" fmla="*/ 2147483647 w 110"/>
                <a:gd name="T1" fmla="*/ 2147483647 h 70"/>
                <a:gd name="T2" fmla="*/ 2147483647 w 110"/>
                <a:gd name="T3" fmla="*/ 2147483647 h 70"/>
                <a:gd name="T4" fmla="*/ 2147483647 w 110"/>
                <a:gd name="T5" fmla="*/ 0 h 70"/>
                <a:gd name="T6" fmla="*/ 2147483647 w 110"/>
                <a:gd name="T7" fmla="*/ 0 h 70"/>
                <a:gd name="T8" fmla="*/ 2147483647 w 110"/>
                <a:gd name="T9" fmla="*/ 2147483647 h 70"/>
                <a:gd name="T10" fmla="*/ 2147483647 w 110"/>
                <a:gd name="T11" fmla="*/ 2147483647 h 70"/>
                <a:gd name="T12" fmla="*/ 2147483647 w 110"/>
                <a:gd name="T13" fmla="*/ 2147483647 h 70"/>
                <a:gd name="T14" fmla="*/ 2147483647 w 110"/>
                <a:gd name="T15" fmla="*/ 2147483647 h 70"/>
                <a:gd name="T16" fmla="*/ 2147483647 w 110"/>
                <a:gd name="T17" fmla="*/ 2147483647 h 70"/>
                <a:gd name="T18" fmla="*/ 2147483647 w 110"/>
                <a:gd name="T19" fmla="*/ 2147483647 h 70"/>
                <a:gd name="T20" fmla="*/ 2147483647 w 110"/>
                <a:gd name="T21" fmla="*/ 2147483647 h 70"/>
                <a:gd name="T22" fmla="*/ 2147483647 w 110"/>
                <a:gd name="T23" fmla="*/ 2147483647 h 70"/>
                <a:gd name="T24" fmla="*/ 2147483647 w 110"/>
                <a:gd name="T25" fmla="*/ 2147483647 h 70"/>
                <a:gd name="T26" fmla="*/ 2147483647 w 110"/>
                <a:gd name="T27" fmla="*/ 2147483647 h 70"/>
                <a:gd name="T28" fmla="*/ 2147483647 w 110"/>
                <a:gd name="T29" fmla="*/ 2147483647 h 70"/>
                <a:gd name="T30" fmla="*/ 2147483647 w 110"/>
                <a:gd name="T31" fmla="*/ 2147483647 h 70"/>
                <a:gd name="T32" fmla="*/ 2147483647 w 110"/>
                <a:gd name="T33" fmla="*/ 2147483647 h 70"/>
                <a:gd name="T34" fmla="*/ 2147483647 w 110"/>
                <a:gd name="T35" fmla="*/ 2147483647 h 70"/>
                <a:gd name="T36" fmla="*/ 2147483647 w 110"/>
                <a:gd name="T37" fmla="*/ 2147483647 h 70"/>
                <a:gd name="T38" fmla="*/ 2147483647 w 110"/>
                <a:gd name="T39" fmla="*/ 2147483647 h 70"/>
                <a:gd name="T40" fmla="*/ 2147483647 w 110"/>
                <a:gd name="T41" fmla="*/ 2147483647 h 70"/>
                <a:gd name="T42" fmla="*/ 2147483647 w 110"/>
                <a:gd name="T43" fmla="*/ 2147483647 h 70"/>
                <a:gd name="T44" fmla="*/ 2147483647 w 110"/>
                <a:gd name="T45" fmla="*/ 2147483647 h 70"/>
                <a:gd name="T46" fmla="*/ 2147483647 w 110"/>
                <a:gd name="T47" fmla="*/ 2147483647 h 70"/>
                <a:gd name="T48" fmla="*/ 2147483647 w 110"/>
                <a:gd name="T49" fmla="*/ 2147483647 h 70"/>
                <a:gd name="T50" fmla="*/ 2147483647 w 110"/>
                <a:gd name="T51" fmla="*/ 2147483647 h 70"/>
                <a:gd name="T52" fmla="*/ 2147483647 w 110"/>
                <a:gd name="T53" fmla="*/ 2147483647 h 70"/>
                <a:gd name="T54" fmla="*/ 2147483647 w 110"/>
                <a:gd name="T55" fmla="*/ 2147483647 h 70"/>
                <a:gd name="T56" fmla="*/ 2147483647 w 110"/>
                <a:gd name="T57" fmla="*/ 2147483647 h 70"/>
                <a:gd name="T58" fmla="*/ 2147483647 w 110"/>
                <a:gd name="T59" fmla="*/ 2147483647 h 70"/>
                <a:gd name="T60" fmla="*/ 2147483647 w 110"/>
                <a:gd name="T61" fmla="*/ 2147483647 h 70"/>
                <a:gd name="T62" fmla="*/ 2147483647 w 110"/>
                <a:gd name="T63" fmla="*/ 2147483647 h 70"/>
                <a:gd name="T64" fmla="*/ 2147483647 w 110"/>
                <a:gd name="T65" fmla="*/ 2147483647 h 70"/>
                <a:gd name="T66" fmla="*/ 2147483647 w 110"/>
                <a:gd name="T67" fmla="*/ 2147483647 h 70"/>
                <a:gd name="T68" fmla="*/ 2147483647 w 110"/>
                <a:gd name="T69" fmla="*/ 2147483647 h 70"/>
                <a:gd name="T70" fmla="*/ 2147483647 w 110"/>
                <a:gd name="T71" fmla="*/ 2147483647 h 70"/>
                <a:gd name="T72" fmla="*/ 0 w 110"/>
                <a:gd name="T73" fmla="*/ 2147483647 h 70"/>
                <a:gd name="T74" fmla="*/ 2147483647 w 110"/>
                <a:gd name="T75" fmla="*/ 2147483647 h 70"/>
                <a:gd name="T76" fmla="*/ 2147483647 w 110"/>
                <a:gd name="T77" fmla="*/ 2147483647 h 70"/>
                <a:gd name="T78" fmla="*/ 2147483647 w 110"/>
                <a:gd name="T79" fmla="*/ 2147483647 h 70"/>
                <a:gd name="T80" fmla="*/ 2147483647 w 110"/>
                <a:gd name="T81" fmla="*/ 2147483647 h 70"/>
                <a:gd name="T82" fmla="*/ 2147483647 w 110"/>
                <a:gd name="T83" fmla="*/ 2147483647 h 7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10"/>
                <a:gd name="T127" fmla="*/ 0 h 70"/>
                <a:gd name="T128" fmla="*/ 110 w 110"/>
                <a:gd name="T129" fmla="*/ 70 h 7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10" h="70">
                  <a:moveTo>
                    <a:pt x="18" y="16"/>
                  </a:moveTo>
                  <a:lnTo>
                    <a:pt x="18" y="6"/>
                  </a:lnTo>
                  <a:lnTo>
                    <a:pt x="28" y="0"/>
                  </a:lnTo>
                  <a:lnTo>
                    <a:pt x="40" y="0"/>
                  </a:lnTo>
                  <a:lnTo>
                    <a:pt x="40" y="8"/>
                  </a:lnTo>
                  <a:lnTo>
                    <a:pt x="42" y="12"/>
                  </a:lnTo>
                  <a:lnTo>
                    <a:pt x="52" y="14"/>
                  </a:lnTo>
                  <a:lnTo>
                    <a:pt x="54" y="16"/>
                  </a:lnTo>
                  <a:lnTo>
                    <a:pt x="56" y="20"/>
                  </a:lnTo>
                  <a:lnTo>
                    <a:pt x="62" y="22"/>
                  </a:lnTo>
                  <a:lnTo>
                    <a:pt x="70" y="30"/>
                  </a:lnTo>
                  <a:lnTo>
                    <a:pt x="84" y="32"/>
                  </a:lnTo>
                  <a:lnTo>
                    <a:pt x="86" y="38"/>
                  </a:lnTo>
                  <a:lnTo>
                    <a:pt x="88" y="46"/>
                  </a:lnTo>
                  <a:lnTo>
                    <a:pt x="98" y="46"/>
                  </a:lnTo>
                  <a:lnTo>
                    <a:pt x="108" y="48"/>
                  </a:lnTo>
                  <a:lnTo>
                    <a:pt x="110" y="52"/>
                  </a:lnTo>
                  <a:lnTo>
                    <a:pt x="110" y="56"/>
                  </a:lnTo>
                  <a:lnTo>
                    <a:pt x="108" y="56"/>
                  </a:lnTo>
                  <a:lnTo>
                    <a:pt x="106" y="60"/>
                  </a:lnTo>
                  <a:lnTo>
                    <a:pt x="102" y="60"/>
                  </a:lnTo>
                  <a:lnTo>
                    <a:pt x="100" y="62"/>
                  </a:lnTo>
                  <a:lnTo>
                    <a:pt x="90" y="60"/>
                  </a:lnTo>
                  <a:lnTo>
                    <a:pt x="84" y="58"/>
                  </a:lnTo>
                  <a:lnTo>
                    <a:pt x="76" y="52"/>
                  </a:lnTo>
                  <a:lnTo>
                    <a:pt x="68" y="46"/>
                  </a:lnTo>
                  <a:lnTo>
                    <a:pt x="64" y="42"/>
                  </a:lnTo>
                  <a:lnTo>
                    <a:pt x="60" y="44"/>
                  </a:lnTo>
                  <a:lnTo>
                    <a:pt x="58" y="48"/>
                  </a:lnTo>
                  <a:lnTo>
                    <a:pt x="52" y="56"/>
                  </a:lnTo>
                  <a:lnTo>
                    <a:pt x="40" y="68"/>
                  </a:lnTo>
                  <a:lnTo>
                    <a:pt x="24" y="70"/>
                  </a:lnTo>
                  <a:lnTo>
                    <a:pt x="26" y="56"/>
                  </a:lnTo>
                  <a:lnTo>
                    <a:pt x="14" y="56"/>
                  </a:lnTo>
                  <a:lnTo>
                    <a:pt x="10" y="56"/>
                  </a:lnTo>
                  <a:lnTo>
                    <a:pt x="6" y="62"/>
                  </a:lnTo>
                  <a:lnTo>
                    <a:pt x="0" y="56"/>
                  </a:lnTo>
                  <a:lnTo>
                    <a:pt x="6" y="48"/>
                  </a:lnTo>
                  <a:lnTo>
                    <a:pt x="16" y="38"/>
                  </a:lnTo>
                  <a:lnTo>
                    <a:pt x="16" y="26"/>
                  </a:lnTo>
                  <a:lnTo>
                    <a:pt x="18" y="22"/>
                  </a:lnTo>
                  <a:lnTo>
                    <a:pt x="18" y="1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11" name="Freeform 227"/>
            <p:cNvSpPr>
              <a:spLocks/>
            </p:cNvSpPr>
            <p:nvPr/>
          </p:nvSpPr>
          <p:spPr bwMode="gray">
            <a:xfrm>
              <a:off x="2568575" y="2603500"/>
              <a:ext cx="80963" cy="42863"/>
            </a:xfrm>
            <a:custGeom>
              <a:avLst/>
              <a:gdLst>
                <a:gd name="T0" fmla="*/ 2147483647 w 68"/>
                <a:gd name="T1" fmla="*/ 2147483647 h 36"/>
                <a:gd name="T2" fmla="*/ 0 w 68"/>
                <a:gd name="T3" fmla="*/ 2147483647 h 36"/>
                <a:gd name="T4" fmla="*/ 2147483647 w 68"/>
                <a:gd name="T5" fmla="*/ 2147483647 h 36"/>
                <a:gd name="T6" fmla="*/ 2147483647 w 68"/>
                <a:gd name="T7" fmla="*/ 2147483647 h 36"/>
                <a:gd name="T8" fmla="*/ 2147483647 w 68"/>
                <a:gd name="T9" fmla="*/ 0 h 36"/>
                <a:gd name="T10" fmla="*/ 2147483647 w 68"/>
                <a:gd name="T11" fmla="*/ 2147483647 h 36"/>
                <a:gd name="T12" fmla="*/ 2147483647 w 68"/>
                <a:gd name="T13" fmla="*/ 2147483647 h 36"/>
                <a:gd name="T14" fmla="*/ 2147483647 w 68"/>
                <a:gd name="T15" fmla="*/ 2147483647 h 36"/>
                <a:gd name="T16" fmla="*/ 2147483647 w 68"/>
                <a:gd name="T17" fmla="*/ 2147483647 h 36"/>
                <a:gd name="T18" fmla="*/ 2147483647 w 68"/>
                <a:gd name="T19" fmla="*/ 2147483647 h 36"/>
                <a:gd name="T20" fmla="*/ 2147483647 w 68"/>
                <a:gd name="T21" fmla="*/ 2147483647 h 36"/>
                <a:gd name="T22" fmla="*/ 2147483647 w 68"/>
                <a:gd name="T23" fmla="*/ 2147483647 h 36"/>
                <a:gd name="T24" fmla="*/ 2147483647 w 68"/>
                <a:gd name="T25" fmla="*/ 2147483647 h 36"/>
                <a:gd name="T26" fmla="*/ 2147483647 w 68"/>
                <a:gd name="T27" fmla="*/ 2147483647 h 36"/>
                <a:gd name="T28" fmla="*/ 2147483647 w 68"/>
                <a:gd name="T29" fmla="*/ 2147483647 h 36"/>
                <a:gd name="T30" fmla="*/ 2147483647 w 68"/>
                <a:gd name="T31" fmla="*/ 2147483647 h 36"/>
                <a:gd name="T32" fmla="*/ 2147483647 w 68"/>
                <a:gd name="T33" fmla="*/ 2147483647 h 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8"/>
                <a:gd name="T52" fmla="*/ 0 h 36"/>
                <a:gd name="T53" fmla="*/ 68 w 68"/>
                <a:gd name="T54" fmla="*/ 36 h 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8" h="36">
                  <a:moveTo>
                    <a:pt x="6" y="26"/>
                  </a:moveTo>
                  <a:lnTo>
                    <a:pt x="0" y="24"/>
                  </a:lnTo>
                  <a:lnTo>
                    <a:pt x="10" y="16"/>
                  </a:lnTo>
                  <a:lnTo>
                    <a:pt x="18" y="10"/>
                  </a:lnTo>
                  <a:lnTo>
                    <a:pt x="20" y="0"/>
                  </a:lnTo>
                  <a:lnTo>
                    <a:pt x="28" y="2"/>
                  </a:lnTo>
                  <a:lnTo>
                    <a:pt x="38" y="6"/>
                  </a:lnTo>
                  <a:lnTo>
                    <a:pt x="48" y="14"/>
                  </a:lnTo>
                  <a:lnTo>
                    <a:pt x="60" y="18"/>
                  </a:lnTo>
                  <a:lnTo>
                    <a:pt x="66" y="24"/>
                  </a:lnTo>
                  <a:lnTo>
                    <a:pt x="68" y="32"/>
                  </a:lnTo>
                  <a:lnTo>
                    <a:pt x="64" y="34"/>
                  </a:lnTo>
                  <a:lnTo>
                    <a:pt x="56" y="36"/>
                  </a:lnTo>
                  <a:lnTo>
                    <a:pt x="44" y="36"/>
                  </a:lnTo>
                  <a:lnTo>
                    <a:pt x="28" y="34"/>
                  </a:lnTo>
                  <a:lnTo>
                    <a:pt x="18" y="30"/>
                  </a:lnTo>
                  <a:lnTo>
                    <a:pt x="6" y="2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12" name="Freeform 228"/>
            <p:cNvSpPr>
              <a:spLocks/>
            </p:cNvSpPr>
            <p:nvPr/>
          </p:nvSpPr>
          <p:spPr bwMode="gray">
            <a:xfrm>
              <a:off x="2747963" y="2459038"/>
              <a:ext cx="546100" cy="398462"/>
            </a:xfrm>
            <a:custGeom>
              <a:avLst/>
              <a:gdLst>
                <a:gd name="T0" fmla="*/ 2147483647 w 460"/>
                <a:gd name="T1" fmla="*/ 2147483647 h 328"/>
                <a:gd name="T2" fmla="*/ 2147483647 w 460"/>
                <a:gd name="T3" fmla="*/ 2147483647 h 328"/>
                <a:gd name="T4" fmla="*/ 2147483647 w 460"/>
                <a:gd name="T5" fmla="*/ 2147483647 h 328"/>
                <a:gd name="T6" fmla="*/ 2147483647 w 460"/>
                <a:gd name="T7" fmla="*/ 2147483647 h 328"/>
                <a:gd name="T8" fmla="*/ 2147483647 w 460"/>
                <a:gd name="T9" fmla="*/ 2147483647 h 328"/>
                <a:gd name="T10" fmla="*/ 2147483647 w 460"/>
                <a:gd name="T11" fmla="*/ 2147483647 h 328"/>
                <a:gd name="T12" fmla="*/ 2147483647 w 460"/>
                <a:gd name="T13" fmla="*/ 2147483647 h 328"/>
                <a:gd name="T14" fmla="*/ 2147483647 w 460"/>
                <a:gd name="T15" fmla="*/ 2147483647 h 328"/>
                <a:gd name="T16" fmla="*/ 2147483647 w 460"/>
                <a:gd name="T17" fmla="*/ 2147483647 h 328"/>
                <a:gd name="T18" fmla="*/ 2147483647 w 460"/>
                <a:gd name="T19" fmla="*/ 2147483647 h 328"/>
                <a:gd name="T20" fmla="*/ 2147483647 w 460"/>
                <a:gd name="T21" fmla="*/ 2147483647 h 328"/>
                <a:gd name="T22" fmla="*/ 2147483647 w 460"/>
                <a:gd name="T23" fmla="*/ 2147483647 h 328"/>
                <a:gd name="T24" fmla="*/ 2147483647 w 460"/>
                <a:gd name="T25" fmla="*/ 2147483647 h 328"/>
                <a:gd name="T26" fmla="*/ 2147483647 w 460"/>
                <a:gd name="T27" fmla="*/ 2147483647 h 328"/>
                <a:gd name="T28" fmla="*/ 2147483647 w 460"/>
                <a:gd name="T29" fmla="*/ 2147483647 h 328"/>
                <a:gd name="T30" fmla="*/ 2147483647 w 460"/>
                <a:gd name="T31" fmla="*/ 2147483647 h 328"/>
                <a:gd name="T32" fmla="*/ 2147483647 w 460"/>
                <a:gd name="T33" fmla="*/ 2147483647 h 328"/>
                <a:gd name="T34" fmla="*/ 2147483647 w 460"/>
                <a:gd name="T35" fmla="*/ 2147483647 h 328"/>
                <a:gd name="T36" fmla="*/ 2147483647 w 460"/>
                <a:gd name="T37" fmla="*/ 2147483647 h 328"/>
                <a:gd name="T38" fmla="*/ 2147483647 w 460"/>
                <a:gd name="T39" fmla="*/ 2147483647 h 328"/>
                <a:gd name="T40" fmla="*/ 2147483647 w 460"/>
                <a:gd name="T41" fmla="*/ 2147483647 h 328"/>
                <a:gd name="T42" fmla="*/ 2147483647 w 460"/>
                <a:gd name="T43" fmla="*/ 2147483647 h 328"/>
                <a:gd name="T44" fmla="*/ 2147483647 w 460"/>
                <a:gd name="T45" fmla="*/ 2147483647 h 328"/>
                <a:gd name="T46" fmla="*/ 2147483647 w 460"/>
                <a:gd name="T47" fmla="*/ 2147483647 h 328"/>
                <a:gd name="T48" fmla="*/ 2147483647 w 460"/>
                <a:gd name="T49" fmla="*/ 2147483647 h 328"/>
                <a:gd name="T50" fmla="*/ 2147483647 w 460"/>
                <a:gd name="T51" fmla="*/ 2147483647 h 328"/>
                <a:gd name="T52" fmla="*/ 2147483647 w 460"/>
                <a:gd name="T53" fmla="*/ 2147483647 h 328"/>
                <a:gd name="T54" fmla="*/ 2147483647 w 460"/>
                <a:gd name="T55" fmla="*/ 2147483647 h 328"/>
                <a:gd name="T56" fmla="*/ 2147483647 w 460"/>
                <a:gd name="T57" fmla="*/ 2147483647 h 328"/>
                <a:gd name="T58" fmla="*/ 2147483647 w 460"/>
                <a:gd name="T59" fmla="*/ 2147483647 h 328"/>
                <a:gd name="T60" fmla="*/ 2147483647 w 460"/>
                <a:gd name="T61" fmla="*/ 2147483647 h 328"/>
                <a:gd name="T62" fmla="*/ 2147483647 w 460"/>
                <a:gd name="T63" fmla="*/ 2147483647 h 328"/>
                <a:gd name="T64" fmla="*/ 2147483647 w 460"/>
                <a:gd name="T65" fmla="*/ 2147483647 h 328"/>
                <a:gd name="T66" fmla="*/ 2147483647 w 460"/>
                <a:gd name="T67" fmla="*/ 2147483647 h 328"/>
                <a:gd name="T68" fmla="*/ 2147483647 w 460"/>
                <a:gd name="T69" fmla="*/ 2147483647 h 328"/>
                <a:gd name="T70" fmla="*/ 2147483647 w 460"/>
                <a:gd name="T71" fmla="*/ 2147483647 h 328"/>
                <a:gd name="T72" fmla="*/ 2147483647 w 460"/>
                <a:gd name="T73" fmla="*/ 2147483647 h 328"/>
                <a:gd name="T74" fmla="*/ 2147483647 w 460"/>
                <a:gd name="T75" fmla="*/ 2147483647 h 328"/>
                <a:gd name="T76" fmla="*/ 2147483647 w 460"/>
                <a:gd name="T77" fmla="*/ 2147483647 h 328"/>
                <a:gd name="T78" fmla="*/ 2147483647 w 460"/>
                <a:gd name="T79" fmla="*/ 2147483647 h 328"/>
                <a:gd name="T80" fmla="*/ 2147483647 w 460"/>
                <a:gd name="T81" fmla="*/ 2147483647 h 328"/>
                <a:gd name="T82" fmla="*/ 2147483647 w 460"/>
                <a:gd name="T83" fmla="*/ 2147483647 h 328"/>
                <a:gd name="T84" fmla="*/ 2147483647 w 460"/>
                <a:gd name="T85" fmla="*/ 2147483647 h 328"/>
                <a:gd name="T86" fmla="*/ 2147483647 w 460"/>
                <a:gd name="T87" fmla="*/ 2147483647 h 328"/>
                <a:gd name="T88" fmla="*/ 2147483647 w 460"/>
                <a:gd name="T89" fmla="*/ 2147483647 h 328"/>
                <a:gd name="T90" fmla="*/ 2147483647 w 460"/>
                <a:gd name="T91" fmla="*/ 2147483647 h 328"/>
                <a:gd name="T92" fmla="*/ 2147483647 w 460"/>
                <a:gd name="T93" fmla="*/ 2147483647 h 328"/>
                <a:gd name="T94" fmla="*/ 0 w 460"/>
                <a:gd name="T95" fmla="*/ 2147483647 h 328"/>
                <a:gd name="T96" fmla="*/ 2147483647 w 460"/>
                <a:gd name="T97" fmla="*/ 2147483647 h 328"/>
                <a:gd name="T98" fmla="*/ 2147483647 w 460"/>
                <a:gd name="T99" fmla="*/ 2147483647 h 328"/>
                <a:gd name="T100" fmla="*/ 2147483647 w 460"/>
                <a:gd name="T101" fmla="*/ 2147483647 h 328"/>
                <a:gd name="T102" fmla="*/ 2147483647 w 460"/>
                <a:gd name="T103" fmla="*/ 2147483647 h 328"/>
                <a:gd name="T104" fmla="*/ 2147483647 w 460"/>
                <a:gd name="T105" fmla="*/ 2147483647 h 32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60"/>
                <a:gd name="T160" fmla="*/ 0 h 328"/>
                <a:gd name="T161" fmla="*/ 460 w 460"/>
                <a:gd name="T162" fmla="*/ 328 h 32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60" h="328">
                  <a:moveTo>
                    <a:pt x="134" y="6"/>
                  </a:moveTo>
                  <a:lnTo>
                    <a:pt x="140" y="14"/>
                  </a:lnTo>
                  <a:lnTo>
                    <a:pt x="146" y="22"/>
                  </a:lnTo>
                  <a:lnTo>
                    <a:pt x="148" y="30"/>
                  </a:lnTo>
                  <a:lnTo>
                    <a:pt x="148" y="38"/>
                  </a:lnTo>
                  <a:lnTo>
                    <a:pt x="144" y="42"/>
                  </a:lnTo>
                  <a:lnTo>
                    <a:pt x="144" y="52"/>
                  </a:lnTo>
                  <a:lnTo>
                    <a:pt x="154" y="52"/>
                  </a:lnTo>
                  <a:lnTo>
                    <a:pt x="158" y="42"/>
                  </a:lnTo>
                  <a:lnTo>
                    <a:pt x="168" y="42"/>
                  </a:lnTo>
                  <a:lnTo>
                    <a:pt x="180" y="50"/>
                  </a:lnTo>
                  <a:lnTo>
                    <a:pt x="184" y="36"/>
                  </a:lnTo>
                  <a:lnTo>
                    <a:pt x="198" y="34"/>
                  </a:lnTo>
                  <a:lnTo>
                    <a:pt x="214" y="34"/>
                  </a:lnTo>
                  <a:lnTo>
                    <a:pt x="230" y="40"/>
                  </a:lnTo>
                  <a:lnTo>
                    <a:pt x="238" y="44"/>
                  </a:lnTo>
                  <a:lnTo>
                    <a:pt x="228" y="50"/>
                  </a:lnTo>
                  <a:lnTo>
                    <a:pt x="226" y="58"/>
                  </a:lnTo>
                  <a:lnTo>
                    <a:pt x="240" y="52"/>
                  </a:lnTo>
                  <a:lnTo>
                    <a:pt x="250" y="54"/>
                  </a:lnTo>
                  <a:lnTo>
                    <a:pt x="244" y="60"/>
                  </a:lnTo>
                  <a:lnTo>
                    <a:pt x="238" y="68"/>
                  </a:lnTo>
                  <a:lnTo>
                    <a:pt x="246" y="66"/>
                  </a:lnTo>
                  <a:lnTo>
                    <a:pt x="258" y="58"/>
                  </a:lnTo>
                  <a:lnTo>
                    <a:pt x="260" y="66"/>
                  </a:lnTo>
                  <a:lnTo>
                    <a:pt x="254" y="74"/>
                  </a:lnTo>
                  <a:lnTo>
                    <a:pt x="264" y="74"/>
                  </a:lnTo>
                  <a:lnTo>
                    <a:pt x="280" y="68"/>
                  </a:lnTo>
                  <a:lnTo>
                    <a:pt x="290" y="70"/>
                  </a:lnTo>
                  <a:lnTo>
                    <a:pt x="296" y="76"/>
                  </a:lnTo>
                  <a:lnTo>
                    <a:pt x="292" y="80"/>
                  </a:lnTo>
                  <a:lnTo>
                    <a:pt x="284" y="86"/>
                  </a:lnTo>
                  <a:lnTo>
                    <a:pt x="290" y="90"/>
                  </a:lnTo>
                  <a:lnTo>
                    <a:pt x="300" y="86"/>
                  </a:lnTo>
                  <a:lnTo>
                    <a:pt x="306" y="84"/>
                  </a:lnTo>
                  <a:lnTo>
                    <a:pt x="306" y="90"/>
                  </a:lnTo>
                  <a:lnTo>
                    <a:pt x="298" y="98"/>
                  </a:lnTo>
                  <a:lnTo>
                    <a:pt x="304" y="98"/>
                  </a:lnTo>
                  <a:lnTo>
                    <a:pt x="320" y="92"/>
                  </a:lnTo>
                  <a:lnTo>
                    <a:pt x="332" y="92"/>
                  </a:lnTo>
                  <a:lnTo>
                    <a:pt x="342" y="96"/>
                  </a:lnTo>
                  <a:lnTo>
                    <a:pt x="342" y="100"/>
                  </a:lnTo>
                  <a:lnTo>
                    <a:pt x="334" y="104"/>
                  </a:lnTo>
                  <a:lnTo>
                    <a:pt x="324" y="108"/>
                  </a:lnTo>
                  <a:lnTo>
                    <a:pt x="332" y="112"/>
                  </a:lnTo>
                  <a:lnTo>
                    <a:pt x="350" y="108"/>
                  </a:lnTo>
                  <a:lnTo>
                    <a:pt x="356" y="110"/>
                  </a:lnTo>
                  <a:lnTo>
                    <a:pt x="360" y="116"/>
                  </a:lnTo>
                  <a:lnTo>
                    <a:pt x="362" y="122"/>
                  </a:lnTo>
                  <a:lnTo>
                    <a:pt x="354" y="122"/>
                  </a:lnTo>
                  <a:lnTo>
                    <a:pt x="348" y="122"/>
                  </a:lnTo>
                  <a:lnTo>
                    <a:pt x="342" y="122"/>
                  </a:lnTo>
                  <a:lnTo>
                    <a:pt x="342" y="128"/>
                  </a:lnTo>
                  <a:lnTo>
                    <a:pt x="352" y="128"/>
                  </a:lnTo>
                  <a:lnTo>
                    <a:pt x="362" y="128"/>
                  </a:lnTo>
                  <a:lnTo>
                    <a:pt x="368" y="134"/>
                  </a:lnTo>
                  <a:lnTo>
                    <a:pt x="370" y="138"/>
                  </a:lnTo>
                  <a:lnTo>
                    <a:pt x="368" y="138"/>
                  </a:lnTo>
                  <a:lnTo>
                    <a:pt x="362" y="138"/>
                  </a:lnTo>
                  <a:lnTo>
                    <a:pt x="346" y="136"/>
                  </a:lnTo>
                  <a:lnTo>
                    <a:pt x="344" y="138"/>
                  </a:lnTo>
                  <a:lnTo>
                    <a:pt x="342" y="140"/>
                  </a:lnTo>
                  <a:lnTo>
                    <a:pt x="342" y="144"/>
                  </a:lnTo>
                  <a:lnTo>
                    <a:pt x="346" y="150"/>
                  </a:lnTo>
                  <a:lnTo>
                    <a:pt x="354" y="156"/>
                  </a:lnTo>
                  <a:lnTo>
                    <a:pt x="362" y="156"/>
                  </a:lnTo>
                  <a:lnTo>
                    <a:pt x="370" y="154"/>
                  </a:lnTo>
                  <a:lnTo>
                    <a:pt x="382" y="160"/>
                  </a:lnTo>
                  <a:lnTo>
                    <a:pt x="382" y="166"/>
                  </a:lnTo>
                  <a:lnTo>
                    <a:pt x="388" y="168"/>
                  </a:lnTo>
                  <a:lnTo>
                    <a:pt x="398" y="170"/>
                  </a:lnTo>
                  <a:lnTo>
                    <a:pt x="404" y="174"/>
                  </a:lnTo>
                  <a:lnTo>
                    <a:pt x="406" y="180"/>
                  </a:lnTo>
                  <a:lnTo>
                    <a:pt x="416" y="180"/>
                  </a:lnTo>
                  <a:lnTo>
                    <a:pt x="424" y="182"/>
                  </a:lnTo>
                  <a:lnTo>
                    <a:pt x="434" y="190"/>
                  </a:lnTo>
                  <a:lnTo>
                    <a:pt x="438" y="194"/>
                  </a:lnTo>
                  <a:lnTo>
                    <a:pt x="450" y="196"/>
                  </a:lnTo>
                  <a:lnTo>
                    <a:pt x="460" y="204"/>
                  </a:lnTo>
                  <a:lnTo>
                    <a:pt x="460" y="208"/>
                  </a:lnTo>
                  <a:lnTo>
                    <a:pt x="460" y="212"/>
                  </a:lnTo>
                  <a:lnTo>
                    <a:pt x="458" y="214"/>
                  </a:lnTo>
                  <a:lnTo>
                    <a:pt x="444" y="216"/>
                  </a:lnTo>
                  <a:lnTo>
                    <a:pt x="434" y="216"/>
                  </a:lnTo>
                  <a:lnTo>
                    <a:pt x="436" y="226"/>
                  </a:lnTo>
                  <a:lnTo>
                    <a:pt x="430" y="232"/>
                  </a:lnTo>
                  <a:lnTo>
                    <a:pt x="420" y="232"/>
                  </a:lnTo>
                  <a:lnTo>
                    <a:pt x="420" y="240"/>
                  </a:lnTo>
                  <a:lnTo>
                    <a:pt x="414" y="248"/>
                  </a:lnTo>
                  <a:lnTo>
                    <a:pt x="398" y="240"/>
                  </a:lnTo>
                  <a:lnTo>
                    <a:pt x="390" y="230"/>
                  </a:lnTo>
                  <a:lnTo>
                    <a:pt x="386" y="222"/>
                  </a:lnTo>
                  <a:lnTo>
                    <a:pt x="364" y="208"/>
                  </a:lnTo>
                  <a:lnTo>
                    <a:pt x="356" y="212"/>
                  </a:lnTo>
                  <a:lnTo>
                    <a:pt x="360" y="222"/>
                  </a:lnTo>
                  <a:lnTo>
                    <a:pt x="358" y="230"/>
                  </a:lnTo>
                  <a:lnTo>
                    <a:pt x="364" y="244"/>
                  </a:lnTo>
                  <a:lnTo>
                    <a:pt x="376" y="256"/>
                  </a:lnTo>
                  <a:lnTo>
                    <a:pt x="394" y="270"/>
                  </a:lnTo>
                  <a:lnTo>
                    <a:pt x="408" y="284"/>
                  </a:lnTo>
                  <a:lnTo>
                    <a:pt x="406" y="290"/>
                  </a:lnTo>
                  <a:lnTo>
                    <a:pt x="400" y="288"/>
                  </a:lnTo>
                  <a:lnTo>
                    <a:pt x="396" y="288"/>
                  </a:lnTo>
                  <a:lnTo>
                    <a:pt x="394" y="290"/>
                  </a:lnTo>
                  <a:lnTo>
                    <a:pt x="400" y="304"/>
                  </a:lnTo>
                  <a:lnTo>
                    <a:pt x="394" y="310"/>
                  </a:lnTo>
                  <a:lnTo>
                    <a:pt x="378" y="302"/>
                  </a:lnTo>
                  <a:lnTo>
                    <a:pt x="356" y="290"/>
                  </a:lnTo>
                  <a:lnTo>
                    <a:pt x="344" y="278"/>
                  </a:lnTo>
                  <a:lnTo>
                    <a:pt x="338" y="282"/>
                  </a:lnTo>
                  <a:lnTo>
                    <a:pt x="348" y="292"/>
                  </a:lnTo>
                  <a:lnTo>
                    <a:pt x="366" y="306"/>
                  </a:lnTo>
                  <a:lnTo>
                    <a:pt x="370" y="312"/>
                  </a:lnTo>
                  <a:lnTo>
                    <a:pt x="374" y="320"/>
                  </a:lnTo>
                  <a:lnTo>
                    <a:pt x="378" y="328"/>
                  </a:lnTo>
                  <a:lnTo>
                    <a:pt x="354" y="322"/>
                  </a:lnTo>
                  <a:lnTo>
                    <a:pt x="334" y="314"/>
                  </a:lnTo>
                  <a:lnTo>
                    <a:pt x="320" y="304"/>
                  </a:lnTo>
                  <a:lnTo>
                    <a:pt x="312" y="304"/>
                  </a:lnTo>
                  <a:lnTo>
                    <a:pt x="310" y="314"/>
                  </a:lnTo>
                  <a:lnTo>
                    <a:pt x="296" y="298"/>
                  </a:lnTo>
                  <a:lnTo>
                    <a:pt x="290" y="290"/>
                  </a:lnTo>
                  <a:lnTo>
                    <a:pt x="294" y="286"/>
                  </a:lnTo>
                  <a:lnTo>
                    <a:pt x="288" y="280"/>
                  </a:lnTo>
                  <a:lnTo>
                    <a:pt x="280" y="282"/>
                  </a:lnTo>
                  <a:lnTo>
                    <a:pt x="272" y="274"/>
                  </a:lnTo>
                  <a:lnTo>
                    <a:pt x="262" y="264"/>
                  </a:lnTo>
                  <a:lnTo>
                    <a:pt x="256" y="258"/>
                  </a:lnTo>
                  <a:lnTo>
                    <a:pt x="244" y="254"/>
                  </a:lnTo>
                  <a:lnTo>
                    <a:pt x="238" y="250"/>
                  </a:lnTo>
                  <a:lnTo>
                    <a:pt x="238" y="258"/>
                  </a:lnTo>
                  <a:lnTo>
                    <a:pt x="238" y="260"/>
                  </a:lnTo>
                  <a:lnTo>
                    <a:pt x="236" y="262"/>
                  </a:lnTo>
                  <a:lnTo>
                    <a:pt x="224" y="262"/>
                  </a:lnTo>
                  <a:lnTo>
                    <a:pt x="218" y="266"/>
                  </a:lnTo>
                  <a:lnTo>
                    <a:pt x="208" y="270"/>
                  </a:lnTo>
                  <a:lnTo>
                    <a:pt x="194" y="268"/>
                  </a:lnTo>
                  <a:lnTo>
                    <a:pt x="186" y="258"/>
                  </a:lnTo>
                  <a:lnTo>
                    <a:pt x="188" y="246"/>
                  </a:lnTo>
                  <a:lnTo>
                    <a:pt x="202" y="236"/>
                  </a:lnTo>
                  <a:lnTo>
                    <a:pt x="214" y="238"/>
                  </a:lnTo>
                  <a:lnTo>
                    <a:pt x="226" y="242"/>
                  </a:lnTo>
                  <a:lnTo>
                    <a:pt x="232" y="246"/>
                  </a:lnTo>
                  <a:lnTo>
                    <a:pt x="238" y="240"/>
                  </a:lnTo>
                  <a:lnTo>
                    <a:pt x="246" y="236"/>
                  </a:lnTo>
                  <a:lnTo>
                    <a:pt x="258" y="232"/>
                  </a:lnTo>
                  <a:lnTo>
                    <a:pt x="254" y="228"/>
                  </a:lnTo>
                  <a:lnTo>
                    <a:pt x="246" y="222"/>
                  </a:lnTo>
                  <a:lnTo>
                    <a:pt x="254" y="210"/>
                  </a:lnTo>
                  <a:lnTo>
                    <a:pt x="268" y="202"/>
                  </a:lnTo>
                  <a:lnTo>
                    <a:pt x="280" y="190"/>
                  </a:lnTo>
                  <a:lnTo>
                    <a:pt x="272" y="172"/>
                  </a:lnTo>
                  <a:lnTo>
                    <a:pt x="264" y="160"/>
                  </a:lnTo>
                  <a:lnTo>
                    <a:pt x="256" y="160"/>
                  </a:lnTo>
                  <a:lnTo>
                    <a:pt x="254" y="152"/>
                  </a:lnTo>
                  <a:lnTo>
                    <a:pt x="246" y="156"/>
                  </a:lnTo>
                  <a:lnTo>
                    <a:pt x="240" y="148"/>
                  </a:lnTo>
                  <a:lnTo>
                    <a:pt x="240" y="142"/>
                  </a:lnTo>
                  <a:lnTo>
                    <a:pt x="228" y="142"/>
                  </a:lnTo>
                  <a:lnTo>
                    <a:pt x="218" y="150"/>
                  </a:lnTo>
                  <a:lnTo>
                    <a:pt x="210" y="142"/>
                  </a:lnTo>
                  <a:lnTo>
                    <a:pt x="222" y="134"/>
                  </a:lnTo>
                  <a:lnTo>
                    <a:pt x="218" y="128"/>
                  </a:lnTo>
                  <a:lnTo>
                    <a:pt x="212" y="124"/>
                  </a:lnTo>
                  <a:lnTo>
                    <a:pt x="202" y="114"/>
                  </a:lnTo>
                  <a:lnTo>
                    <a:pt x="196" y="120"/>
                  </a:lnTo>
                  <a:lnTo>
                    <a:pt x="190" y="112"/>
                  </a:lnTo>
                  <a:lnTo>
                    <a:pt x="186" y="106"/>
                  </a:lnTo>
                  <a:lnTo>
                    <a:pt x="178" y="98"/>
                  </a:lnTo>
                  <a:lnTo>
                    <a:pt x="172" y="100"/>
                  </a:lnTo>
                  <a:lnTo>
                    <a:pt x="176" y="106"/>
                  </a:lnTo>
                  <a:lnTo>
                    <a:pt x="178" y="112"/>
                  </a:lnTo>
                  <a:lnTo>
                    <a:pt x="172" y="116"/>
                  </a:lnTo>
                  <a:lnTo>
                    <a:pt x="158" y="116"/>
                  </a:lnTo>
                  <a:lnTo>
                    <a:pt x="136" y="110"/>
                  </a:lnTo>
                  <a:lnTo>
                    <a:pt x="130" y="116"/>
                  </a:lnTo>
                  <a:lnTo>
                    <a:pt x="118" y="118"/>
                  </a:lnTo>
                  <a:lnTo>
                    <a:pt x="90" y="114"/>
                  </a:lnTo>
                  <a:lnTo>
                    <a:pt x="74" y="110"/>
                  </a:lnTo>
                  <a:lnTo>
                    <a:pt x="56" y="110"/>
                  </a:lnTo>
                  <a:lnTo>
                    <a:pt x="48" y="104"/>
                  </a:lnTo>
                  <a:lnTo>
                    <a:pt x="40" y="100"/>
                  </a:lnTo>
                  <a:lnTo>
                    <a:pt x="32" y="106"/>
                  </a:lnTo>
                  <a:lnTo>
                    <a:pt x="20" y="102"/>
                  </a:lnTo>
                  <a:lnTo>
                    <a:pt x="8" y="94"/>
                  </a:lnTo>
                  <a:lnTo>
                    <a:pt x="8" y="84"/>
                  </a:lnTo>
                  <a:lnTo>
                    <a:pt x="16" y="84"/>
                  </a:lnTo>
                  <a:lnTo>
                    <a:pt x="32" y="86"/>
                  </a:lnTo>
                  <a:lnTo>
                    <a:pt x="38" y="82"/>
                  </a:lnTo>
                  <a:lnTo>
                    <a:pt x="32" y="76"/>
                  </a:lnTo>
                  <a:lnTo>
                    <a:pt x="16" y="78"/>
                  </a:lnTo>
                  <a:lnTo>
                    <a:pt x="0" y="72"/>
                  </a:lnTo>
                  <a:lnTo>
                    <a:pt x="0" y="50"/>
                  </a:lnTo>
                  <a:lnTo>
                    <a:pt x="8" y="30"/>
                  </a:lnTo>
                  <a:lnTo>
                    <a:pt x="20" y="14"/>
                  </a:lnTo>
                  <a:lnTo>
                    <a:pt x="38" y="2"/>
                  </a:lnTo>
                  <a:lnTo>
                    <a:pt x="52" y="0"/>
                  </a:lnTo>
                  <a:lnTo>
                    <a:pt x="82" y="2"/>
                  </a:lnTo>
                  <a:lnTo>
                    <a:pt x="76" y="8"/>
                  </a:lnTo>
                  <a:lnTo>
                    <a:pt x="64" y="12"/>
                  </a:lnTo>
                  <a:lnTo>
                    <a:pt x="54" y="28"/>
                  </a:lnTo>
                  <a:lnTo>
                    <a:pt x="54" y="40"/>
                  </a:lnTo>
                  <a:lnTo>
                    <a:pt x="54" y="50"/>
                  </a:lnTo>
                  <a:lnTo>
                    <a:pt x="68" y="76"/>
                  </a:lnTo>
                  <a:lnTo>
                    <a:pt x="82" y="72"/>
                  </a:lnTo>
                  <a:lnTo>
                    <a:pt x="76" y="64"/>
                  </a:lnTo>
                  <a:lnTo>
                    <a:pt x="66" y="50"/>
                  </a:lnTo>
                  <a:lnTo>
                    <a:pt x="78" y="46"/>
                  </a:lnTo>
                  <a:lnTo>
                    <a:pt x="70" y="38"/>
                  </a:lnTo>
                  <a:lnTo>
                    <a:pt x="72" y="26"/>
                  </a:lnTo>
                  <a:lnTo>
                    <a:pt x="84" y="16"/>
                  </a:lnTo>
                  <a:lnTo>
                    <a:pt x="108" y="4"/>
                  </a:lnTo>
                  <a:lnTo>
                    <a:pt x="122" y="2"/>
                  </a:lnTo>
                  <a:lnTo>
                    <a:pt x="134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13" name="Freeform 229"/>
            <p:cNvSpPr>
              <a:spLocks/>
            </p:cNvSpPr>
            <p:nvPr/>
          </p:nvSpPr>
          <p:spPr bwMode="gray">
            <a:xfrm>
              <a:off x="2852738" y="2822575"/>
              <a:ext cx="42862" cy="28575"/>
            </a:xfrm>
            <a:custGeom>
              <a:avLst/>
              <a:gdLst>
                <a:gd name="T0" fmla="*/ 2147483647 w 36"/>
                <a:gd name="T1" fmla="*/ 0 h 22"/>
                <a:gd name="T2" fmla="*/ 2147483647 w 36"/>
                <a:gd name="T3" fmla="*/ 0 h 22"/>
                <a:gd name="T4" fmla="*/ 2147483647 w 36"/>
                <a:gd name="T5" fmla="*/ 2147483647 h 22"/>
                <a:gd name="T6" fmla="*/ 2147483647 w 36"/>
                <a:gd name="T7" fmla="*/ 2147483647 h 22"/>
                <a:gd name="T8" fmla="*/ 2147483647 w 36"/>
                <a:gd name="T9" fmla="*/ 2147483647 h 22"/>
                <a:gd name="T10" fmla="*/ 0 w 36"/>
                <a:gd name="T11" fmla="*/ 2147483647 h 22"/>
                <a:gd name="T12" fmla="*/ 2147483647 w 36"/>
                <a:gd name="T13" fmla="*/ 2147483647 h 22"/>
                <a:gd name="T14" fmla="*/ 2147483647 w 36"/>
                <a:gd name="T15" fmla="*/ 2147483647 h 22"/>
                <a:gd name="T16" fmla="*/ 2147483647 w 36"/>
                <a:gd name="T17" fmla="*/ 2147483647 h 22"/>
                <a:gd name="T18" fmla="*/ 2147483647 w 36"/>
                <a:gd name="T19" fmla="*/ 2147483647 h 22"/>
                <a:gd name="T20" fmla="*/ 2147483647 w 36"/>
                <a:gd name="T21" fmla="*/ 2147483647 h 22"/>
                <a:gd name="T22" fmla="*/ 2147483647 w 36"/>
                <a:gd name="T23" fmla="*/ 0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6"/>
                <a:gd name="T37" fmla="*/ 0 h 22"/>
                <a:gd name="T38" fmla="*/ 36 w 36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6" h="22">
                  <a:moveTo>
                    <a:pt x="34" y="0"/>
                  </a:moveTo>
                  <a:lnTo>
                    <a:pt x="22" y="0"/>
                  </a:lnTo>
                  <a:lnTo>
                    <a:pt x="8" y="6"/>
                  </a:lnTo>
                  <a:lnTo>
                    <a:pt x="4" y="10"/>
                  </a:lnTo>
                  <a:lnTo>
                    <a:pt x="2" y="12"/>
                  </a:lnTo>
                  <a:lnTo>
                    <a:pt x="0" y="14"/>
                  </a:lnTo>
                  <a:lnTo>
                    <a:pt x="6" y="18"/>
                  </a:lnTo>
                  <a:lnTo>
                    <a:pt x="10" y="22"/>
                  </a:lnTo>
                  <a:lnTo>
                    <a:pt x="22" y="18"/>
                  </a:lnTo>
                  <a:lnTo>
                    <a:pt x="30" y="12"/>
                  </a:lnTo>
                  <a:lnTo>
                    <a:pt x="36" y="4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14" name="Freeform 230"/>
            <p:cNvSpPr>
              <a:spLocks/>
            </p:cNvSpPr>
            <p:nvPr/>
          </p:nvSpPr>
          <p:spPr bwMode="gray">
            <a:xfrm>
              <a:off x="2274888" y="2292350"/>
              <a:ext cx="26987" cy="17463"/>
            </a:xfrm>
            <a:custGeom>
              <a:avLst/>
              <a:gdLst>
                <a:gd name="T0" fmla="*/ 2147483647 w 22"/>
                <a:gd name="T1" fmla="*/ 0 h 14"/>
                <a:gd name="T2" fmla="*/ 2147483647 w 22"/>
                <a:gd name="T3" fmla="*/ 2147483647 h 14"/>
                <a:gd name="T4" fmla="*/ 2147483647 w 22"/>
                <a:gd name="T5" fmla="*/ 2147483647 h 14"/>
                <a:gd name="T6" fmla="*/ 2147483647 w 22"/>
                <a:gd name="T7" fmla="*/ 2147483647 h 14"/>
                <a:gd name="T8" fmla="*/ 2147483647 w 22"/>
                <a:gd name="T9" fmla="*/ 2147483647 h 14"/>
                <a:gd name="T10" fmla="*/ 2147483647 w 22"/>
                <a:gd name="T11" fmla="*/ 2147483647 h 14"/>
                <a:gd name="T12" fmla="*/ 0 w 22"/>
                <a:gd name="T13" fmla="*/ 2147483647 h 14"/>
                <a:gd name="T14" fmla="*/ 2147483647 w 22"/>
                <a:gd name="T15" fmla="*/ 0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2"/>
                <a:gd name="T25" fmla="*/ 0 h 14"/>
                <a:gd name="T26" fmla="*/ 22 w 22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2" h="14">
                  <a:moveTo>
                    <a:pt x="8" y="0"/>
                  </a:moveTo>
                  <a:lnTo>
                    <a:pt x="16" y="2"/>
                  </a:lnTo>
                  <a:lnTo>
                    <a:pt x="22" y="8"/>
                  </a:lnTo>
                  <a:lnTo>
                    <a:pt x="20" y="12"/>
                  </a:lnTo>
                  <a:lnTo>
                    <a:pt x="10" y="14"/>
                  </a:lnTo>
                  <a:lnTo>
                    <a:pt x="2" y="8"/>
                  </a:lnTo>
                  <a:lnTo>
                    <a:pt x="0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15" name="Freeform 231"/>
            <p:cNvSpPr>
              <a:spLocks/>
            </p:cNvSpPr>
            <p:nvPr/>
          </p:nvSpPr>
          <p:spPr bwMode="gray">
            <a:xfrm>
              <a:off x="3033713" y="2655888"/>
              <a:ext cx="25400" cy="20637"/>
            </a:xfrm>
            <a:custGeom>
              <a:avLst/>
              <a:gdLst>
                <a:gd name="T0" fmla="*/ 2147483647 w 20"/>
                <a:gd name="T1" fmla="*/ 0 h 16"/>
                <a:gd name="T2" fmla="*/ 2147483647 w 20"/>
                <a:gd name="T3" fmla="*/ 2147483647 h 16"/>
                <a:gd name="T4" fmla="*/ 2147483647 w 20"/>
                <a:gd name="T5" fmla="*/ 2147483647 h 16"/>
                <a:gd name="T6" fmla="*/ 2147483647 w 20"/>
                <a:gd name="T7" fmla="*/ 2147483647 h 16"/>
                <a:gd name="T8" fmla="*/ 2147483647 w 20"/>
                <a:gd name="T9" fmla="*/ 2147483647 h 16"/>
                <a:gd name="T10" fmla="*/ 0 w 20"/>
                <a:gd name="T11" fmla="*/ 2147483647 h 16"/>
                <a:gd name="T12" fmla="*/ 0 w 20"/>
                <a:gd name="T13" fmla="*/ 2147483647 h 16"/>
                <a:gd name="T14" fmla="*/ 2147483647 w 20"/>
                <a:gd name="T15" fmla="*/ 0 h 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0"/>
                <a:gd name="T25" fmla="*/ 0 h 16"/>
                <a:gd name="T26" fmla="*/ 20 w 20"/>
                <a:gd name="T27" fmla="*/ 16 h 1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0" h="16">
                  <a:moveTo>
                    <a:pt x="8" y="0"/>
                  </a:moveTo>
                  <a:lnTo>
                    <a:pt x="16" y="6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6" y="14"/>
                  </a:lnTo>
                  <a:lnTo>
                    <a:pt x="0" y="10"/>
                  </a:lnTo>
                  <a:lnTo>
                    <a:pt x="0" y="2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grpSp>
          <p:nvGrpSpPr>
            <p:cNvPr id="4" name="Group 232"/>
            <p:cNvGrpSpPr>
              <a:grpSpLocks/>
            </p:cNvGrpSpPr>
            <p:nvPr/>
          </p:nvGrpSpPr>
          <p:grpSpPr bwMode="auto">
            <a:xfrm>
              <a:off x="1287464" y="2558359"/>
              <a:ext cx="705524" cy="565283"/>
              <a:chOff x="44" y="1185"/>
              <a:chExt cx="594" cy="464"/>
            </a:xfrm>
            <a:solidFill>
              <a:srgbClr val="D2D2D2"/>
            </a:solidFill>
          </p:grpSpPr>
          <p:sp>
            <p:nvSpPr>
              <p:cNvPr id="226" name="Freeform 233" descr="Diagonal hell nach oben"/>
              <p:cNvSpPr>
                <a:spLocks/>
              </p:cNvSpPr>
              <p:nvPr/>
            </p:nvSpPr>
            <p:spPr bwMode="gray">
              <a:xfrm>
                <a:off x="44" y="1185"/>
                <a:ext cx="594" cy="414"/>
              </a:xfrm>
              <a:custGeom>
                <a:avLst/>
                <a:gdLst>
                  <a:gd name="T0" fmla="*/ 540 w 594"/>
                  <a:gd name="T1" fmla="*/ 354 h 414"/>
                  <a:gd name="T2" fmla="*/ 510 w 594"/>
                  <a:gd name="T3" fmla="*/ 318 h 414"/>
                  <a:gd name="T4" fmla="*/ 500 w 594"/>
                  <a:gd name="T5" fmla="*/ 332 h 414"/>
                  <a:gd name="T6" fmla="*/ 464 w 594"/>
                  <a:gd name="T7" fmla="*/ 324 h 414"/>
                  <a:gd name="T8" fmla="*/ 414 w 594"/>
                  <a:gd name="T9" fmla="*/ 298 h 414"/>
                  <a:gd name="T10" fmla="*/ 362 w 594"/>
                  <a:gd name="T11" fmla="*/ 288 h 414"/>
                  <a:gd name="T12" fmla="*/ 318 w 594"/>
                  <a:gd name="T13" fmla="*/ 272 h 414"/>
                  <a:gd name="T14" fmla="*/ 314 w 594"/>
                  <a:gd name="T15" fmla="*/ 294 h 414"/>
                  <a:gd name="T16" fmla="*/ 278 w 594"/>
                  <a:gd name="T17" fmla="*/ 304 h 414"/>
                  <a:gd name="T18" fmla="*/ 252 w 594"/>
                  <a:gd name="T19" fmla="*/ 298 h 414"/>
                  <a:gd name="T20" fmla="*/ 270 w 594"/>
                  <a:gd name="T21" fmla="*/ 274 h 414"/>
                  <a:gd name="T22" fmla="*/ 274 w 594"/>
                  <a:gd name="T23" fmla="*/ 266 h 414"/>
                  <a:gd name="T24" fmla="*/ 236 w 594"/>
                  <a:gd name="T25" fmla="*/ 298 h 414"/>
                  <a:gd name="T26" fmla="*/ 222 w 594"/>
                  <a:gd name="T27" fmla="*/ 322 h 414"/>
                  <a:gd name="T28" fmla="*/ 196 w 594"/>
                  <a:gd name="T29" fmla="*/ 348 h 414"/>
                  <a:gd name="T30" fmla="*/ 146 w 594"/>
                  <a:gd name="T31" fmla="*/ 384 h 414"/>
                  <a:gd name="T32" fmla="*/ 112 w 594"/>
                  <a:gd name="T33" fmla="*/ 398 h 414"/>
                  <a:gd name="T34" fmla="*/ 90 w 594"/>
                  <a:gd name="T35" fmla="*/ 408 h 414"/>
                  <a:gd name="T36" fmla="*/ 84 w 594"/>
                  <a:gd name="T37" fmla="*/ 394 h 414"/>
                  <a:gd name="T38" fmla="*/ 114 w 594"/>
                  <a:gd name="T39" fmla="*/ 382 h 414"/>
                  <a:gd name="T40" fmla="*/ 156 w 594"/>
                  <a:gd name="T41" fmla="*/ 354 h 414"/>
                  <a:gd name="T42" fmla="*/ 170 w 594"/>
                  <a:gd name="T43" fmla="*/ 320 h 414"/>
                  <a:gd name="T44" fmla="*/ 138 w 594"/>
                  <a:gd name="T45" fmla="*/ 328 h 414"/>
                  <a:gd name="T46" fmla="*/ 100 w 594"/>
                  <a:gd name="T47" fmla="*/ 328 h 414"/>
                  <a:gd name="T48" fmla="*/ 86 w 594"/>
                  <a:gd name="T49" fmla="*/ 286 h 414"/>
                  <a:gd name="T50" fmla="*/ 56 w 594"/>
                  <a:gd name="T51" fmla="*/ 300 h 414"/>
                  <a:gd name="T52" fmla="*/ 48 w 594"/>
                  <a:gd name="T53" fmla="*/ 274 h 414"/>
                  <a:gd name="T54" fmla="*/ 24 w 594"/>
                  <a:gd name="T55" fmla="*/ 258 h 414"/>
                  <a:gd name="T56" fmla="*/ 46 w 594"/>
                  <a:gd name="T57" fmla="*/ 226 h 414"/>
                  <a:gd name="T58" fmla="*/ 80 w 594"/>
                  <a:gd name="T59" fmla="*/ 214 h 414"/>
                  <a:gd name="T60" fmla="*/ 102 w 594"/>
                  <a:gd name="T61" fmla="*/ 184 h 414"/>
                  <a:gd name="T62" fmla="*/ 86 w 594"/>
                  <a:gd name="T63" fmla="*/ 180 h 414"/>
                  <a:gd name="T64" fmla="*/ 20 w 594"/>
                  <a:gd name="T65" fmla="*/ 168 h 414"/>
                  <a:gd name="T66" fmla="*/ 10 w 594"/>
                  <a:gd name="T67" fmla="*/ 150 h 414"/>
                  <a:gd name="T68" fmla="*/ 60 w 594"/>
                  <a:gd name="T69" fmla="*/ 132 h 414"/>
                  <a:gd name="T70" fmla="*/ 100 w 594"/>
                  <a:gd name="T71" fmla="*/ 142 h 414"/>
                  <a:gd name="T72" fmla="*/ 102 w 594"/>
                  <a:gd name="T73" fmla="*/ 132 h 414"/>
                  <a:gd name="T74" fmla="*/ 84 w 594"/>
                  <a:gd name="T75" fmla="*/ 116 h 414"/>
                  <a:gd name="T76" fmla="*/ 44 w 594"/>
                  <a:gd name="T77" fmla="*/ 94 h 414"/>
                  <a:gd name="T78" fmla="*/ 22 w 594"/>
                  <a:gd name="T79" fmla="*/ 68 h 414"/>
                  <a:gd name="T80" fmla="*/ 88 w 594"/>
                  <a:gd name="T81" fmla="*/ 28 h 414"/>
                  <a:gd name="T82" fmla="*/ 132 w 594"/>
                  <a:gd name="T83" fmla="*/ 12 h 414"/>
                  <a:gd name="T84" fmla="*/ 186 w 594"/>
                  <a:gd name="T85" fmla="*/ 8 h 414"/>
                  <a:gd name="T86" fmla="*/ 244 w 594"/>
                  <a:gd name="T87" fmla="*/ 16 h 414"/>
                  <a:gd name="T88" fmla="*/ 318 w 594"/>
                  <a:gd name="T89" fmla="*/ 30 h 414"/>
                  <a:gd name="T90" fmla="*/ 400 w 594"/>
                  <a:gd name="T91" fmla="*/ 40 h 414"/>
                  <a:gd name="T92" fmla="*/ 438 w 594"/>
                  <a:gd name="T93" fmla="*/ 288 h 414"/>
                  <a:gd name="T94" fmla="*/ 478 w 594"/>
                  <a:gd name="T95" fmla="*/ 316 h 414"/>
                  <a:gd name="T96" fmla="*/ 508 w 594"/>
                  <a:gd name="T97" fmla="*/ 300 h 414"/>
                  <a:gd name="T98" fmla="*/ 556 w 594"/>
                  <a:gd name="T99" fmla="*/ 358 h 414"/>
                  <a:gd name="T100" fmla="*/ 594 w 594"/>
                  <a:gd name="T101" fmla="*/ 394 h 414"/>
                  <a:gd name="T102" fmla="*/ 582 w 594"/>
                  <a:gd name="T103" fmla="*/ 394 h 41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594"/>
                  <a:gd name="T157" fmla="*/ 0 h 414"/>
                  <a:gd name="T158" fmla="*/ 594 w 594"/>
                  <a:gd name="T159" fmla="*/ 414 h 414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594" h="414">
                    <a:moveTo>
                      <a:pt x="568" y="384"/>
                    </a:moveTo>
                    <a:lnTo>
                      <a:pt x="552" y="370"/>
                    </a:lnTo>
                    <a:lnTo>
                      <a:pt x="542" y="362"/>
                    </a:lnTo>
                    <a:lnTo>
                      <a:pt x="540" y="354"/>
                    </a:lnTo>
                    <a:lnTo>
                      <a:pt x="530" y="342"/>
                    </a:lnTo>
                    <a:lnTo>
                      <a:pt x="522" y="336"/>
                    </a:lnTo>
                    <a:lnTo>
                      <a:pt x="518" y="330"/>
                    </a:lnTo>
                    <a:lnTo>
                      <a:pt x="510" y="318"/>
                    </a:lnTo>
                    <a:lnTo>
                      <a:pt x="506" y="322"/>
                    </a:lnTo>
                    <a:lnTo>
                      <a:pt x="510" y="334"/>
                    </a:lnTo>
                    <a:lnTo>
                      <a:pt x="506" y="338"/>
                    </a:lnTo>
                    <a:lnTo>
                      <a:pt x="500" y="332"/>
                    </a:lnTo>
                    <a:lnTo>
                      <a:pt x="496" y="328"/>
                    </a:lnTo>
                    <a:lnTo>
                      <a:pt x="492" y="336"/>
                    </a:lnTo>
                    <a:lnTo>
                      <a:pt x="480" y="332"/>
                    </a:lnTo>
                    <a:lnTo>
                      <a:pt x="464" y="324"/>
                    </a:lnTo>
                    <a:lnTo>
                      <a:pt x="440" y="310"/>
                    </a:lnTo>
                    <a:lnTo>
                      <a:pt x="438" y="302"/>
                    </a:lnTo>
                    <a:lnTo>
                      <a:pt x="426" y="304"/>
                    </a:lnTo>
                    <a:lnTo>
                      <a:pt x="414" y="298"/>
                    </a:lnTo>
                    <a:lnTo>
                      <a:pt x="400" y="296"/>
                    </a:lnTo>
                    <a:lnTo>
                      <a:pt x="378" y="296"/>
                    </a:lnTo>
                    <a:lnTo>
                      <a:pt x="368" y="296"/>
                    </a:lnTo>
                    <a:lnTo>
                      <a:pt x="362" y="288"/>
                    </a:lnTo>
                    <a:lnTo>
                      <a:pt x="348" y="286"/>
                    </a:lnTo>
                    <a:lnTo>
                      <a:pt x="344" y="280"/>
                    </a:lnTo>
                    <a:lnTo>
                      <a:pt x="332" y="274"/>
                    </a:lnTo>
                    <a:lnTo>
                      <a:pt x="318" y="272"/>
                    </a:lnTo>
                    <a:lnTo>
                      <a:pt x="306" y="272"/>
                    </a:lnTo>
                    <a:lnTo>
                      <a:pt x="306" y="280"/>
                    </a:lnTo>
                    <a:lnTo>
                      <a:pt x="310" y="286"/>
                    </a:lnTo>
                    <a:lnTo>
                      <a:pt x="314" y="294"/>
                    </a:lnTo>
                    <a:lnTo>
                      <a:pt x="310" y="296"/>
                    </a:lnTo>
                    <a:lnTo>
                      <a:pt x="294" y="296"/>
                    </a:lnTo>
                    <a:lnTo>
                      <a:pt x="286" y="298"/>
                    </a:lnTo>
                    <a:lnTo>
                      <a:pt x="278" y="304"/>
                    </a:lnTo>
                    <a:lnTo>
                      <a:pt x="268" y="312"/>
                    </a:lnTo>
                    <a:lnTo>
                      <a:pt x="256" y="316"/>
                    </a:lnTo>
                    <a:lnTo>
                      <a:pt x="250" y="308"/>
                    </a:lnTo>
                    <a:lnTo>
                      <a:pt x="252" y="298"/>
                    </a:lnTo>
                    <a:lnTo>
                      <a:pt x="256" y="290"/>
                    </a:lnTo>
                    <a:lnTo>
                      <a:pt x="258" y="280"/>
                    </a:lnTo>
                    <a:lnTo>
                      <a:pt x="262" y="276"/>
                    </a:lnTo>
                    <a:lnTo>
                      <a:pt x="270" y="274"/>
                    </a:lnTo>
                    <a:lnTo>
                      <a:pt x="280" y="272"/>
                    </a:lnTo>
                    <a:lnTo>
                      <a:pt x="284" y="264"/>
                    </a:lnTo>
                    <a:lnTo>
                      <a:pt x="286" y="260"/>
                    </a:lnTo>
                    <a:lnTo>
                      <a:pt x="274" y="266"/>
                    </a:lnTo>
                    <a:lnTo>
                      <a:pt x="264" y="268"/>
                    </a:lnTo>
                    <a:lnTo>
                      <a:pt x="244" y="282"/>
                    </a:lnTo>
                    <a:lnTo>
                      <a:pt x="236" y="290"/>
                    </a:lnTo>
                    <a:lnTo>
                      <a:pt x="236" y="298"/>
                    </a:lnTo>
                    <a:lnTo>
                      <a:pt x="230" y="304"/>
                    </a:lnTo>
                    <a:lnTo>
                      <a:pt x="220" y="306"/>
                    </a:lnTo>
                    <a:lnTo>
                      <a:pt x="216" y="314"/>
                    </a:lnTo>
                    <a:lnTo>
                      <a:pt x="222" y="322"/>
                    </a:lnTo>
                    <a:lnTo>
                      <a:pt x="224" y="326"/>
                    </a:lnTo>
                    <a:lnTo>
                      <a:pt x="218" y="332"/>
                    </a:lnTo>
                    <a:lnTo>
                      <a:pt x="208" y="340"/>
                    </a:lnTo>
                    <a:lnTo>
                      <a:pt x="196" y="348"/>
                    </a:lnTo>
                    <a:lnTo>
                      <a:pt x="176" y="360"/>
                    </a:lnTo>
                    <a:lnTo>
                      <a:pt x="154" y="372"/>
                    </a:lnTo>
                    <a:lnTo>
                      <a:pt x="148" y="378"/>
                    </a:lnTo>
                    <a:lnTo>
                      <a:pt x="146" y="384"/>
                    </a:lnTo>
                    <a:lnTo>
                      <a:pt x="134" y="390"/>
                    </a:lnTo>
                    <a:lnTo>
                      <a:pt x="130" y="394"/>
                    </a:lnTo>
                    <a:lnTo>
                      <a:pt x="116" y="394"/>
                    </a:lnTo>
                    <a:lnTo>
                      <a:pt x="112" y="398"/>
                    </a:lnTo>
                    <a:lnTo>
                      <a:pt x="104" y="402"/>
                    </a:lnTo>
                    <a:lnTo>
                      <a:pt x="98" y="398"/>
                    </a:lnTo>
                    <a:lnTo>
                      <a:pt x="94" y="400"/>
                    </a:lnTo>
                    <a:lnTo>
                      <a:pt x="90" y="408"/>
                    </a:lnTo>
                    <a:lnTo>
                      <a:pt x="84" y="412"/>
                    </a:lnTo>
                    <a:lnTo>
                      <a:pt x="76" y="410"/>
                    </a:lnTo>
                    <a:lnTo>
                      <a:pt x="78" y="402"/>
                    </a:lnTo>
                    <a:lnTo>
                      <a:pt x="84" y="394"/>
                    </a:lnTo>
                    <a:lnTo>
                      <a:pt x="90" y="390"/>
                    </a:lnTo>
                    <a:lnTo>
                      <a:pt x="100" y="388"/>
                    </a:lnTo>
                    <a:lnTo>
                      <a:pt x="110" y="388"/>
                    </a:lnTo>
                    <a:lnTo>
                      <a:pt x="114" y="382"/>
                    </a:lnTo>
                    <a:lnTo>
                      <a:pt x="124" y="378"/>
                    </a:lnTo>
                    <a:lnTo>
                      <a:pt x="140" y="366"/>
                    </a:lnTo>
                    <a:lnTo>
                      <a:pt x="150" y="356"/>
                    </a:lnTo>
                    <a:lnTo>
                      <a:pt x="156" y="354"/>
                    </a:lnTo>
                    <a:lnTo>
                      <a:pt x="160" y="342"/>
                    </a:lnTo>
                    <a:lnTo>
                      <a:pt x="160" y="332"/>
                    </a:lnTo>
                    <a:lnTo>
                      <a:pt x="168" y="328"/>
                    </a:lnTo>
                    <a:lnTo>
                      <a:pt x="170" y="320"/>
                    </a:lnTo>
                    <a:lnTo>
                      <a:pt x="160" y="322"/>
                    </a:lnTo>
                    <a:lnTo>
                      <a:pt x="148" y="328"/>
                    </a:lnTo>
                    <a:lnTo>
                      <a:pt x="142" y="322"/>
                    </a:lnTo>
                    <a:lnTo>
                      <a:pt x="138" y="328"/>
                    </a:lnTo>
                    <a:lnTo>
                      <a:pt x="134" y="330"/>
                    </a:lnTo>
                    <a:lnTo>
                      <a:pt x="126" y="322"/>
                    </a:lnTo>
                    <a:lnTo>
                      <a:pt x="110" y="320"/>
                    </a:lnTo>
                    <a:lnTo>
                      <a:pt x="100" y="328"/>
                    </a:lnTo>
                    <a:lnTo>
                      <a:pt x="90" y="330"/>
                    </a:lnTo>
                    <a:lnTo>
                      <a:pt x="88" y="304"/>
                    </a:lnTo>
                    <a:lnTo>
                      <a:pt x="86" y="296"/>
                    </a:lnTo>
                    <a:lnTo>
                      <a:pt x="86" y="286"/>
                    </a:lnTo>
                    <a:lnTo>
                      <a:pt x="80" y="286"/>
                    </a:lnTo>
                    <a:lnTo>
                      <a:pt x="78" y="296"/>
                    </a:lnTo>
                    <a:lnTo>
                      <a:pt x="74" y="300"/>
                    </a:lnTo>
                    <a:lnTo>
                      <a:pt x="56" y="300"/>
                    </a:lnTo>
                    <a:lnTo>
                      <a:pt x="48" y="292"/>
                    </a:lnTo>
                    <a:lnTo>
                      <a:pt x="40" y="280"/>
                    </a:lnTo>
                    <a:lnTo>
                      <a:pt x="42" y="274"/>
                    </a:lnTo>
                    <a:lnTo>
                      <a:pt x="48" y="274"/>
                    </a:lnTo>
                    <a:lnTo>
                      <a:pt x="40" y="268"/>
                    </a:lnTo>
                    <a:lnTo>
                      <a:pt x="40" y="260"/>
                    </a:lnTo>
                    <a:lnTo>
                      <a:pt x="36" y="268"/>
                    </a:lnTo>
                    <a:lnTo>
                      <a:pt x="24" y="258"/>
                    </a:lnTo>
                    <a:lnTo>
                      <a:pt x="30" y="246"/>
                    </a:lnTo>
                    <a:lnTo>
                      <a:pt x="34" y="242"/>
                    </a:lnTo>
                    <a:lnTo>
                      <a:pt x="46" y="234"/>
                    </a:lnTo>
                    <a:lnTo>
                      <a:pt x="46" y="226"/>
                    </a:lnTo>
                    <a:lnTo>
                      <a:pt x="50" y="220"/>
                    </a:lnTo>
                    <a:lnTo>
                      <a:pt x="58" y="220"/>
                    </a:lnTo>
                    <a:lnTo>
                      <a:pt x="72" y="222"/>
                    </a:lnTo>
                    <a:lnTo>
                      <a:pt x="80" y="214"/>
                    </a:lnTo>
                    <a:lnTo>
                      <a:pt x="88" y="210"/>
                    </a:lnTo>
                    <a:lnTo>
                      <a:pt x="110" y="208"/>
                    </a:lnTo>
                    <a:lnTo>
                      <a:pt x="108" y="194"/>
                    </a:lnTo>
                    <a:lnTo>
                      <a:pt x="102" y="184"/>
                    </a:lnTo>
                    <a:lnTo>
                      <a:pt x="108" y="178"/>
                    </a:lnTo>
                    <a:lnTo>
                      <a:pt x="104" y="174"/>
                    </a:lnTo>
                    <a:lnTo>
                      <a:pt x="94" y="174"/>
                    </a:lnTo>
                    <a:lnTo>
                      <a:pt x="86" y="180"/>
                    </a:lnTo>
                    <a:lnTo>
                      <a:pt x="76" y="186"/>
                    </a:lnTo>
                    <a:lnTo>
                      <a:pt x="22" y="184"/>
                    </a:lnTo>
                    <a:lnTo>
                      <a:pt x="14" y="176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4" y="164"/>
                    </a:lnTo>
                    <a:lnTo>
                      <a:pt x="0" y="156"/>
                    </a:lnTo>
                    <a:lnTo>
                      <a:pt x="10" y="150"/>
                    </a:lnTo>
                    <a:lnTo>
                      <a:pt x="22" y="140"/>
                    </a:lnTo>
                    <a:lnTo>
                      <a:pt x="36" y="136"/>
                    </a:lnTo>
                    <a:lnTo>
                      <a:pt x="52" y="130"/>
                    </a:lnTo>
                    <a:lnTo>
                      <a:pt x="60" y="132"/>
                    </a:lnTo>
                    <a:lnTo>
                      <a:pt x="62" y="140"/>
                    </a:lnTo>
                    <a:lnTo>
                      <a:pt x="72" y="146"/>
                    </a:lnTo>
                    <a:lnTo>
                      <a:pt x="88" y="144"/>
                    </a:lnTo>
                    <a:lnTo>
                      <a:pt x="100" y="142"/>
                    </a:lnTo>
                    <a:lnTo>
                      <a:pt x="114" y="136"/>
                    </a:lnTo>
                    <a:lnTo>
                      <a:pt x="118" y="130"/>
                    </a:lnTo>
                    <a:lnTo>
                      <a:pt x="108" y="128"/>
                    </a:lnTo>
                    <a:lnTo>
                      <a:pt x="102" y="132"/>
                    </a:lnTo>
                    <a:lnTo>
                      <a:pt x="88" y="130"/>
                    </a:lnTo>
                    <a:lnTo>
                      <a:pt x="88" y="122"/>
                    </a:lnTo>
                    <a:lnTo>
                      <a:pt x="92" y="118"/>
                    </a:lnTo>
                    <a:lnTo>
                      <a:pt x="84" y="116"/>
                    </a:lnTo>
                    <a:lnTo>
                      <a:pt x="66" y="120"/>
                    </a:lnTo>
                    <a:lnTo>
                      <a:pt x="60" y="108"/>
                    </a:lnTo>
                    <a:lnTo>
                      <a:pt x="50" y="100"/>
                    </a:lnTo>
                    <a:lnTo>
                      <a:pt x="44" y="94"/>
                    </a:lnTo>
                    <a:lnTo>
                      <a:pt x="38" y="90"/>
                    </a:lnTo>
                    <a:lnTo>
                      <a:pt x="26" y="90"/>
                    </a:lnTo>
                    <a:lnTo>
                      <a:pt x="20" y="82"/>
                    </a:lnTo>
                    <a:lnTo>
                      <a:pt x="22" y="68"/>
                    </a:lnTo>
                    <a:lnTo>
                      <a:pt x="58" y="64"/>
                    </a:lnTo>
                    <a:lnTo>
                      <a:pt x="70" y="54"/>
                    </a:lnTo>
                    <a:lnTo>
                      <a:pt x="74" y="42"/>
                    </a:lnTo>
                    <a:lnTo>
                      <a:pt x="88" y="28"/>
                    </a:lnTo>
                    <a:lnTo>
                      <a:pt x="104" y="28"/>
                    </a:lnTo>
                    <a:lnTo>
                      <a:pt x="120" y="20"/>
                    </a:lnTo>
                    <a:lnTo>
                      <a:pt x="128" y="20"/>
                    </a:lnTo>
                    <a:lnTo>
                      <a:pt x="132" y="12"/>
                    </a:lnTo>
                    <a:lnTo>
                      <a:pt x="158" y="10"/>
                    </a:lnTo>
                    <a:lnTo>
                      <a:pt x="176" y="0"/>
                    </a:lnTo>
                    <a:lnTo>
                      <a:pt x="190" y="2"/>
                    </a:lnTo>
                    <a:lnTo>
                      <a:pt x="186" y="8"/>
                    </a:lnTo>
                    <a:lnTo>
                      <a:pt x="190" y="14"/>
                    </a:lnTo>
                    <a:lnTo>
                      <a:pt x="204" y="8"/>
                    </a:lnTo>
                    <a:lnTo>
                      <a:pt x="212" y="12"/>
                    </a:lnTo>
                    <a:lnTo>
                      <a:pt x="244" y="16"/>
                    </a:lnTo>
                    <a:lnTo>
                      <a:pt x="244" y="22"/>
                    </a:lnTo>
                    <a:lnTo>
                      <a:pt x="268" y="24"/>
                    </a:lnTo>
                    <a:lnTo>
                      <a:pt x="296" y="24"/>
                    </a:lnTo>
                    <a:lnTo>
                      <a:pt x="318" y="30"/>
                    </a:lnTo>
                    <a:lnTo>
                      <a:pt x="344" y="36"/>
                    </a:lnTo>
                    <a:lnTo>
                      <a:pt x="364" y="40"/>
                    </a:lnTo>
                    <a:lnTo>
                      <a:pt x="394" y="36"/>
                    </a:lnTo>
                    <a:lnTo>
                      <a:pt x="400" y="40"/>
                    </a:lnTo>
                    <a:lnTo>
                      <a:pt x="420" y="48"/>
                    </a:lnTo>
                    <a:lnTo>
                      <a:pt x="420" y="288"/>
                    </a:lnTo>
                    <a:lnTo>
                      <a:pt x="430" y="292"/>
                    </a:lnTo>
                    <a:lnTo>
                      <a:pt x="438" y="288"/>
                    </a:lnTo>
                    <a:lnTo>
                      <a:pt x="446" y="286"/>
                    </a:lnTo>
                    <a:lnTo>
                      <a:pt x="454" y="296"/>
                    </a:lnTo>
                    <a:lnTo>
                      <a:pt x="470" y="308"/>
                    </a:lnTo>
                    <a:lnTo>
                      <a:pt x="478" y="316"/>
                    </a:lnTo>
                    <a:lnTo>
                      <a:pt x="488" y="314"/>
                    </a:lnTo>
                    <a:lnTo>
                      <a:pt x="490" y="308"/>
                    </a:lnTo>
                    <a:lnTo>
                      <a:pt x="498" y="304"/>
                    </a:lnTo>
                    <a:lnTo>
                      <a:pt x="508" y="300"/>
                    </a:lnTo>
                    <a:lnTo>
                      <a:pt x="520" y="312"/>
                    </a:lnTo>
                    <a:lnTo>
                      <a:pt x="530" y="322"/>
                    </a:lnTo>
                    <a:lnTo>
                      <a:pt x="546" y="338"/>
                    </a:lnTo>
                    <a:lnTo>
                      <a:pt x="556" y="358"/>
                    </a:lnTo>
                    <a:lnTo>
                      <a:pt x="566" y="370"/>
                    </a:lnTo>
                    <a:lnTo>
                      <a:pt x="578" y="378"/>
                    </a:lnTo>
                    <a:lnTo>
                      <a:pt x="592" y="386"/>
                    </a:lnTo>
                    <a:lnTo>
                      <a:pt x="594" y="394"/>
                    </a:lnTo>
                    <a:lnTo>
                      <a:pt x="590" y="410"/>
                    </a:lnTo>
                    <a:lnTo>
                      <a:pt x="576" y="414"/>
                    </a:lnTo>
                    <a:lnTo>
                      <a:pt x="580" y="404"/>
                    </a:lnTo>
                    <a:lnTo>
                      <a:pt x="582" y="394"/>
                    </a:lnTo>
                    <a:lnTo>
                      <a:pt x="576" y="392"/>
                    </a:lnTo>
                    <a:lnTo>
                      <a:pt x="570" y="386"/>
                    </a:lnTo>
                    <a:lnTo>
                      <a:pt x="568" y="38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27" name="Freeform 234" descr="Diagonal hell nach oben"/>
              <p:cNvSpPr>
                <a:spLocks/>
              </p:cNvSpPr>
              <p:nvPr/>
            </p:nvSpPr>
            <p:spPr bwMode="gray">
              <a:xfrm>
                <a:off x="250" y="1527"/>
                <a:ext cx="38" cy="26"/>
              </a:xfrm>
              <a:custGeom>
                <a:avLst/>
                <a:gdLst>
                  <a:gd name="T0" fmla="*/ 28 w 38"/>
                  <a:gd name="T1" fmla="*/ 2 h 26"/>
                  <a:gd name="T2" fmla="*/ 20 w 38"/>
                  <a:gd name="T3" fmla="*/ 4 h 26"/>
                  <a:gd name="T4" fmla="*/ 14 w 38"/>
                  <a:gd name="T5" fmla="*/ 6 h 26"/>
                  <a:gd name="T6" fmla="*/ 14 w 38"/>
                  <a:gd name="T7" fmla="*/ 14 h 26"/>
                  <a:gd name="T8" fmla="*/ 8 w 38"/>
                  <a:gd name="T9" fmla="*/ 12 h 26"/>
                  <a:gd name="T10" fmla="*/ 4 w 38"/>
                  <a:gd name="T11" fmla="*/ 8 h 26"/>
                  <a:gd name="T12" fmla="*/ 0 w 38"/>
                  <a:gd name="T13" fmla="*/ 12 h 26"/>
                  <a:gd name="T14" fmla="*/ 2 w 38"/>
                  <a:gd name="T15" fmla="*/ 20 h 26"/>
                  <a:gd name="T16" fmla="*/ 8 w 38"/>
                  <a:gd name="T17" fmla="*/ 26 h 26"/>
                  <a:gd name="T18" fmla="*/ 26 w 38"/>
                  <a:gd name="T19" fmla="*/ 24 h 26"/>
                  <a:gd name="T20" fmla="*/ 32 w 38"/>
                  <a:gd name="T21" fmla="*/ 16 h 26"/>
                  <a:gd name="T22" fmla="*/ 38 w 38"/>
                  <a:gd name="T23" fmla="*/ 10 h 26"/>
                  <a:gd name="T24" fmla="*/ 34 w 38"/>
                  <a:gd name="T25" fmla="*/ 0 h 26"/>
                  <a:gd name="T26" fmla="*/ 28 w 38"/>
                  <a:gd name="T27" fmla="*/ 2 h 2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8"/>
                  <a:gd name="T43" fmla="*/ 0 h 26"/>
                  <a:gd name="T44" fmla="*/ 38 w 38"/>
                  <a:gd name="T45" fmla="*/ 26 h 2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8" h="26">
                    <a:moveTo>
                      <a:pt x="28" y="2"/>
                    </a:moveTo>
                    <a:lnTo>
                      <a:pt x="20" y="4"/>
                    </a:lnTo>
                    <a:lnTo>
                      <a:pt x="14" y="6"/>
                    </a:lnTo>
                    <a:lnTo>
                      <a:pt x="14" y="14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0" y="12"/>
                    </a:lnTo>
                    <a:lnTo>
                      <a:pt x="2" y="20"/>
                    </a:lnTo>
                    <a:lnTo>
                      <a:pt x="8" y="26"/>
                    </a:lnTo>
                    <a:lnTo>
                      <a:pt x="26" y="24"/>
                    </a:lnTo>
                    <a:lnTo>
                      <a:pt x="32" y="16"/>
                    </a:lnTo>
                    <a:lnTo>
                      <a:pt x="38" y="10"/>
                    </a:lnTo>
                    <a:lnTo>
                      <a:pt x="34" y="0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28" name="Freeform 235" descr="Diagonal hell nach oben"/>
              <p:cNvSpPr>
                <a:spLocks/>
              </p:cNvSpPr>
              <p:nvPr/>
            </p:nvSpPr>
            <p:spPr bwMode="gray">
              <a:xfrm>
                <a:off x="50" y="1473"/>
                <a:ext cx="26" cy="16"/>
              </a:xfrm>
              <a:custGeom>
                <a:avLst/>
                <a:gdLst>
                  <a:gd name="T0" fmla="*/ 22 w 26"/>
                  <a:gd name="T1" fmla="*/ 0 h 16"/>
                  <a:gd name="T2" fmla="*/ 26 w 26"/>
                  <a:gd name="T3" fmla="*/ 4 h 16"/>
                  <a:gd name="T4" fmla="*/ 26 w 26"/>
                  <a:gd name="T5" fmla="*/ 8 h 16"/>
                  <a:gd name="T6" fmla="*/ 22 w 26"/>
                  <a:gd name="T7" fmla="*/ 16 h 16"/>
                  <a:gd name="T8" fmla="*/ 14 w 26"/>
                  <a:gd name="T9" fmla="*/ 14 h 16"/>
                  <a:gd name="T10" fmla="*/ 10 w 26"/>
                  <a:gd name="T11" fmla="*/ 16 h 16"/>
                  <a:gd name="T12" fmla="*/ 4 w 26"/>
                  <a:gd name="T13" fmla="*/ 10 h 16"/>
                  <a:gd name="T14" fmla="*/ 0 w 26"/>
                  <a:gd name="T15" fmla="*/ 6 h 16"/>
                  <a:gd name="T16" fmla="*/ 2 w 26"/>
                  <a:gd name="T17" fmla="*/ 0 h 16"/>
                  <a:gd name="T18" fmla="*/ 8 w 26"/>
                  <a:gd name="T19" fmla="*/ 0 h 16"/>
                  <a:gd name="T20" fmla="*/ 22 w 26"/>
                  <a:gd name="T21" fmla="*/ 0 h 1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6"/>
                  <a:gd name="T34" fmla="*/ 0 h 16"/>
                  <a:gd name="T35" fmla="*/ 26 w 26"/>
                  <a:gd name="T36" fmla="*/ 16 h 1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6" h="16">
                    <a:moveTo>
                      <a:pt x="22" y="0"/>
                    </a:moveTo>
                    <a:lnTo>
                      <a:pt x="26" y="4"/>
                    </a:lnTo>
                    <a:lnTo>
                      <a:pt x="26" y="8"/>
                    </a:lnTo>
                    <a:lnTo>
                      <a:pt x="22" y="16"/>
                    </a:lnTo>
                    <a:lnTo>
                      <a:pt x="14" y="14"/>
                    </a:lnTo>
                    <a:lnTo>
                      <a:pt x="10" y="16"/>
                    </a:lnTo>
                    <a:lnTo>
                      <a:pt x="4" y="10"/>
                    </a:lnTo>
                    <a:lnTo>
                      <a:pt x="0" y="6"/>
                    </a:lnTo>
                    <a:lnTo>
                      <a:pt x="2" y="0"/>
                    </a:lnTo>
                    <a:lnTo>
                      <a:pt x="8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29" name="Freeform 236" descr="Diagonal hell nach oben"/>
              <p:cNvSpPr>
                <a:spLocks/>
              </p:cNvSpPr>
              <p:nvPr/>
            </p:nvSpPr>
            <p:spPr bwMode="gray">
              <a:xfrm>
                <a:off x="540" y="1525"/>
                <a:ext cx="24" cy="40"/>
              </a:xfrm>
              <a:custGeom>
                <a:avLst/>
                <a:gdLst>
                  <a:gd name="T0" fmla="*/ 0 w 24"/>
                  <a:gd name="T1" fmla="*/ 0 h 40"/>
                  <a:gd name="T2" fmla="*/ 10 w 24"/>
                  <a:gd name="T3" fmla="*/ 2 h 40"/>
                  <a:gd name="T4" fmla="*/ 16 w 24"/>
                  <a:gd name="T5" fmla="*/ 6 h 40"/>
                  <a:gd name="T6" fmla="*/ 18 w 24"/>
                  <a:gd name="T7" fmla="*/ 20 h 40"/>
                  <a:gd name="T8" fmla="*/ 24 w 24"/>
                  <a:gd name="T9" fmla="*/ 30 h 40"/>
                  <a:gd name="T10" fmla="*/ 24 w 24"/>
                  <a:gd name="T11" fmla="*/ 40 h 40"/>
                  <a:gd name="T12" fmla="*/ 16 w 24"/>
                  <a:gd name="T13" fmla="*/ 32 h 40"/>
                  <a:gd name="T14" fmla="*/ 8 w 24"/>
                  <a:gd name="T15" fmla="*/ 22 h 40"/>
                  <a:gd name="T16" fmla="*/ 4 w 24"/>
                  <a:gd name="T17" fmla="*/ 16 h 40"/>
                  <a:gd name="T18" fmla="*/ 0 w 24"/>
                  <a:gd name="T19" fmla="*/ 8 h 40"/>
                  <a:gd name="T20" fmla="*/ 0 w 24"/>
                  <a:gd name="T21" fmla="*/ 0 h 4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4"/>
                  <a:gd name="T34" fmla="*/ 0 h 40"/>
                  <a:gd name="T35" fmla="*/ 24 w 24"/>
                  <a:gd name="T36" fmla="*/ 40 h 4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4" h="40">
                    <a:moveTo>
                      <a:pt x="0" y="0"/>
                    </a:moveTo>
                    <a:lnTo>
                      <a:pt x="10" y="2"/>
                    </a:lnTo>
                    <a:lnTo>
                      <a:pt x="16" y="6"/>
                    </a:lnTo>
                    <a:lnTo>
                      <a:pt x="18" y="20"/>
                    </a:lnTo>
                    <a:lnTo>
                      <a:pt x="24" y="30"/>
                    </a:lnTo>
                    <a:lnTo>
                      <a:pt x="24" y="40"/>
                    </a:lnTo>
                    <a:lnTo>
                      <a:pt x="16" y="32"/>
                    </a:lnTo>
                    <a:lnTo>
                      <a:pt x="8" y="22"/>
                    </a:lnTo>
                    <a:lnTo>
                      <a:pt x="4" y="16"/>
                    </a:lnTo>
                    <a:lnTo>
                      <a:pt x="0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30" name="Freeform 237" descr="Diagonal hell nach oben"/>
              <p:cNvSpPr>
                <a:spLocks/>
              </p:cNvSpPr>
              <p:nvPr/>
            </p:nvSpPr>
            <p:spPr bwMode="gray">
              <a:xfrm>
                <a:off x="584" y="1565"/>
                <a:ext cx="22" cy="38"/>
              </a:xfrm>
              <a:custGeom>
                <a:avLst/>
                <a:gdLst>
                  <a:gd name="T0" fmla="*/ 0 w 22"/>
                  <a:gd name="T1" fmla="*/ 8 h 38"/>
                  <a:gd name="T2" fmla="*/ 0 w 22"/>
                  <a:gd name="T3" fmla="*/ 0 h 38"/>
                  <a:gd name="T4" fmla="*/ 8 w 22"/>
                  <a:gd name="T5" fmla="*/ 2 h 38"/>
                  <a:gd name="T6" fmla="*/ 14 w 22"/>
                  <a:gd name="T7" fmla="*/ 14 h 38"/>
                  <a:gd name="T8" fmla="*/ 22 w 22"/>
                  <a:gd name="T9" fmla="*/ 24 h 38"/>
                  <a:gd name="T10" fmla="*/ 22 w 22"/>
                  <a:gd name="T11" fmla="*/ 32 h 38"/>
                  <a:gd name="T12" fmla="*/ 18 w 22"/>
                  <a:gd name="T13" fmla="*/ 38 h 38"/>
                  <a:gd name="T14" fmla="*/ 12 w 22"/>
                  <a:gd name="T15" fmla="*/ 30 h 38"/>
                  <a:gd name="T16" fmla="*/ 6 w 22"/>
                  <a:gd name="T17" fmla="*/ 24 h 38"/>
                  <a:gd name="T18" fmla="*/ 4 w 22"/>
                  <a:gd name="T19" fmla="*/ 16 h 38"/>
                  <a:gd name="T20" fmla="*/ 0 w 22"/>
                  <a:gd name="T21" fmla="*/ 8 h 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2"/>
                  <a:gd name="T34" fmla="*/ 0 h 38"/>
                  <a:gd name="T35" fmla="*/ 22 w 22"/>
                  <a:gd name="T36" fmla="*/ 38 h 3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2" h="38">
                    <a:moveTo>
                      <a:pt x="0" y="8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14" y="14"/>
                    </a:lnTo>
                    <a:lnTo>
                      <a:pt x="22" y="24"/>
                    </a:lnTo>
                    <a:lnTo>
                      <a:pt x="22" y="32"/>
                    </a:lnTo>
                    <a:lnTo>
                      <a:pt x="18" y="38"/>
                    </a:lnTo>
                    <a:lnTo>
                      <a:pt x="12" y="30"/>
                    </a:lnTo>
                    <a:lnTo>
                      <a:pt x="6" y="24"/>
                    </a:lnTo>
                    <a:lnTo>
                      <a:pt x="4" y="16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31" name="Freeform 238" descr="Diagonal hell nach oben"/>
              <p:cNvSpPr>
                <a:spLocks/>
              </p:cNvSpPr>
              <p:nvPr/>
            </p:nvSpPr>
            <p:spPr bwMode="gray">
              <a:xfrm>
                <a:off x="588" y="1615"/>
                <a:ext cx="26" cy="34"/>
              </a:xfrm>
              <a:custGeom>
                <a:avLst/>
                <a:gdLst>
                  <a:gd name="T0" fmla="*/ 0 w 26"/>
                  <a:gd name="T1" fmla="*/ 0 h 34"/>
                  <a:gd name="T2" fmla="*/ 10 w 26"/>
                  <a:gd name="T3" fmla="*/ 4 h 34"/>
                  <a:gd name="T4" fmla="*/ 18 w 26"/>
                  <a:gd name="T5" fmla="*/ 4 h 34"/>
                  <a:gd name="T6" fmla="*/ 20 w 26"/>
                  <a:gd name="T7" fmla="*/ 8 h 34"/>
                  <a:gd name="T8" fmla="*/ 18 w 26"/>
                  <a:gd name="T9" fmla="*/ 16 h 34"/>
                  <a:gd name="T10" fmla="*/ 22 w 26"/>
                  <a:gd name="T11" fmla="*/ 22 h 34"/>
                  <a:gd name="T12" fmla="*/ 26 w 26"/>
                  <a:gd name="T13" fmla="*/ 34 h 34"/>
                  <a:gd name="T14" fmla="*/ 18 w 26"/>
                  <a:gd name="T15" fmla="*/ 32 h 34"/>
                  <a:gd name="T16" fmla="*/ 8 w 26"/>
                  <a:gd name="T17" fmla="*/ 20 h 34"/>
                  <a:gd name="T18" fmla="*/ 2 w 26"/>
                  <a:gd name="T19" fmla="*/ 12 h 34"/>
                  <a:gd name="T20" fmla="*/ 0 w 26"/>
                  <a:gd name="T21" fmla="*/ 0 h 3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6"/>
                  <a:gd name="T34" fmla="*/ 0 h 34"/>
                  <a:gd name="T35" fmla="*/ 26 w 26"/>
                  <a:gd name="T36" fmla="*/ 34 h 3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6" h="34">
                    <a:moveTo>
                      <a:pt x="0" y="0"/>
                    </a:moveTo>
                    <a:lnTo>
                      <a:pt x="10" y="4"/>
                    </a:lnTo>
                    <a:lnTo>
                      <a:pt x="18" y="4"/>
                    </a:lnTo>
                    <a:lnTo>
                      <a:pt x="20" y="8"/>
                    </a:lnTo>
                    <a:lnTo>
                      <a:pt x="18" y="16"/>
                    </a:lnTo>
                    <a:lnTo>
                      <a:pt x="22" y="22"/>
                    </a:lnTo>
                    <a:lnTo>
                      <a:pt x="26" y="34"/>
                    </a:lnTo>
                    <a:lnTo>
                      <a:pt x="18" y="32"/>
                    </a:lnTo>
                    <a:lnTo>
                      <a:pt x="8" y="20"/>
                    </a:lnTo>
                    <a:lnTo>
                      <a:pt x="2" y="1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32" name="Freeform 239" descr="Diagonal hell nach oben"/>
              <p:cNvSpPr>
                <a:spLocks/>
              </p:cNvSpPr>
              <p:nvPr/>
            </p:nvSpPr>
            <p:spPr bwMode="gray">
              <a:xfrm>
                <a:off x="84" y="1591"/>
                <a:ext cx="32" cy="20"/>
              </a:xfrm>
              <a:custGeom>
                <a:avLst/>
                <a:gdLst>
                  <a:gd name="T0" fmla="*/ 32 w 32"/>
                  <a:gd name="T1" fmla="*/ 4 h 20"/>
                  <a:gd name="T2" fmla="*/ 28 w 32"/>
                  <a:gd name="T3" fmla="*/ 10 h 20"/>
                  <a:gd name="T4" fmla="*/ 22 w 32"/>
                  <a:gd name="T5" fmla="*/ 12 h 20"/>
                  <a:gd name="T6" fmla="*/ 12 w 32"/>
                  <a:gd name="T7" fmla="*/ 14 h 20"/>
                  <a:gd name="T8" fmla="*/ 6 w 32"/>
                  <a:gd name="T9" fmla="*/ 20 h 20"/>
                  <a:gd name="T10" fmla="*/ 0 w 32"/>
                  <a:gd name="T11" fmla="*/ 18 h 20"/>
                  <a:gd name="T12" fmla="*/ 6 w 32"/>
                  <a:gd name="T13" fmla="*/ 8 h 20"/>
                  <a:gd name="T14" fmla="*/ 14 w 32"/>
                  <a:gd name="T15" fmla="*/ 4 h 20"/>
                  <a:gd name="T16" fmla="*/ 26 w 32"/>
                  <a:gd name="T17" fmla="*/ 0 h 20"/>
                  <a:gd name="T18" fmla="*/ 32 w 32"/>
                  <a:gd name="T19" fmla="*/ 4 h 2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2"/>
                  <a:gd name="T31" fmla="*/ 0 h 20"/>
                  <a:gd name="T32" fmla="*/ 32 w 32"/>
                  <a:gd name="T33" fmla="*/ 20 h 2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2" h="20">
                    <a:moveTo>
                      <a:pt x="32" y="4"/>
                    </a:moveTo>
                    <a:lnTo>
                      <a:pt x="28" y="10"/>
                    </a:lnTo>
                    <a:lnTo>
                      <a:pt x="22" y="12"/>
                    </a:lnTo>
                    <a:lnTo>
                      <a:pt x="12" y="14"/>
                    </a:lnTo>
                    <a:lnTo>
                      <a:pt x="6" y="20"/>
                    </a:lnTo>
                    <a:lnTo>
                      <a:pt x="0" y="18"/>
                    </a:lnTo>
                    <a:lnTo>
                      <a:pt x="6" y="8"/>
                    </a:lnTo>
                    <a:lnTo>
                      <a:pt x="14" y="4"/>
                    </a:lnTo>
                    <a:lnTo>
                      <a:pt x="26" y="0"/>
                    </a:lnTo>
                    <a:lnTo>
                      <a:pt x="3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33" name="Freeform 240" descr="Diagonal hell nach oben"/>
              <p:cNvSpPr>
                <a:spLocks/>
              </p:cNvSpPr>
              <p:nvPr/>
            </p:nvSpPr>
            <p:spPr bwMode="gray">
              <a:xfrm>
                <a:off x="560" y="1523"/>
                <a:ext cx="16" cy="30"/>
              </a:xfrm>
              <a:custGeom>
                <a:avLst/>
                <a:gdLst>
                  <a:gd name="T0" fmla="*/ 0 w 16"/>
                  <a:gd name="T1" fmla="*/ 0 h 30"/>
                  <a:gd name="T2" fmla="*/ 10 w 16"/>
                  <a:gd name="T3" fmla="*/ 4 h 30"/>
                  <a:gd name="T4" fmla="*/ 16 w 16"/>
                  <a:gd name="T5" fmla="*/ 16 h 30"/>
                  <a:gd name="T6" fmla="*/ 14 w 16"/>
                  <a:gd name="T7" fmla="*/ 24 h 30"/>
                  <a:gd name="T8" fmla="*/ 10 w 16"/>
                  <a:gd name="T9" fmla="*/ 30 h 30"/>
                  <a:gd name="T10" fmla="*/ 4 w 16"/>
                  <a:gd name="T11" fmla="*/ 22 h 30"/>
                  <a:gd name="T12" fmla="*/ 4 w 16"/>
                  <a:gd name="T13" fmla="*/ 16 h 30"/>
                  <a:gd name="T14" fmla="*/ 0 w 16"/>
                  <a:gd name="T15" fmla="*/ 8 h 30"/>
                  <a:gd name="T16" fmla="*/ 0 w 16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30"/>
                  <a:gd name="T29" fmla="*/ 16 w 16"/>
                  <a:gd name="T30" fmla="*/ 30 h 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30">
                    <a:moveTo>
                      <a:pt x="0" y="0"/>
                    </a:moveTo>
                    <a:lnTo>
                      <a:pt x="10" y="4"/>
                    </a:lnTo>
                    <a:lnTo>
                      <a:pt x="16" y="16"/>
                    </a:lnTo>
                    <a:lnTo>
                      <a:pt x="14" y="24"/>
                    </a:lnTo>
                    <a:lnTo>
                      <a:pt x="10" y="30"/>
                    </a:lnTo>
                    <a:lnTo>
                      <a:pt x="4" y="22"/>
                    </a:lnTo>
                    <a:lnTo>
                      <a:pt x="4" y="16"/>
                    </a:lnTo>
                    <a:lnTo>
                      <a:pt x="0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34" name="Freeform 241" descr="Diagonal hell nach oben"/>
              <p:cNvSpPr>
                <a:spLocks/>
              </p:cNvSpPr>
              <p:nvPr/>
            </p:nvSpPr>
            <p:spPr bwMode="gray">
              <a:xfrm>
                <a:off x="608" y="1575"/>
                <a:ext cx="14" cy="20"/>
              </a:xfrm>
              <a:custGeom>
                <a:avLst/>
                <a:gdLst>
                  <a:gd name="T0" fmla="*/ 0 w 14"/>
                  <a:gd name="T1" fmla="*/ 0 h 20"/>
                  <a:gd name="T2" fmla="*/ 6 w 14"/>
                  <a:gd name="T3" fmla="*/ 4 h 20"/>
                  <a:gd name="T4" fmla="*/ 14 w 14"/>
                  <a:gd name="T5" fmla="*/ 6 h 20"/>
                  <a:gd name="T6" fmla="*/ 12 w 14"/>
                  <a:gd name="T7" fmla="*/ 16 h 20"/>
                  <a:gd name="T8" fmla="*/ 6 w 14"/>
                  <a:gd name="T9" fmla="*/ 20 h 20"/>
                  <a:gd name="T10" fmla="*/ 0 w 14"/>
                  <a:gd name="T11" fmla="*/ 12 h 20"/>
                  <a:gd name="T12" fmla="*/ 0 w 14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0"/>
                  <a:gd name="T23" fmla="*/ 14 w 14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0">
                    <a:moveTo>
                      <a:pt x="0" y="0"/>
                    </a:moveTo>
                    <a:lnTo>
                      <a:pt x="6" y="4"/>
                    </a:lnTo>
                    <a:lnTo>
                      <a:pt x="14" y="6"/>
                    </a:lnTo>
                    <a:lnTo>
                      <a:pt x="12" y="16"/>
                    </a:lnTo>
                    <a:lnTo>
                      <a:pt x="6" y="20"/>
                    </a:lnTo>
                    <a:lnTo>
                      <a:pt x="0" y="1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35" name="Freeform 242" descr="Diagonal hell nach oben"/>
              <p:cNvSpPr>
                <a:spLocks/>
              </p:cNvSpPr>
              <p:nvPr/>
            </p:nvSpPr>
            <p:spPr bwMode="gray">
              <a:xfrm>
                <a:off x="560" y="1523"/>
                <a:ext cx="16" cy="30"/>
              </a:xfrm>
              <a:custGeom>
                <a:avLst/>
                <a:gdLst>
                  <a:gd name="T0" fmla="*/ 0 w 16"/>
                  <a:gd name="T1" fmla="*/ 0 h 30"/>
                  <a:gd name="T2" fmla="*/ 10 w 16"/>
                  <a:gd name="T3" fmla="*/ 4 h 30"/>
                  <a:gd name="T4" fmla="*/ 16 w 16"/>
                  <a:gd name="T5" fmla="*/ 16 h 30"/>
                  <a:gd name="T6" fmla="*/ 14 w 16"/>
                  <a:gd name="T7" fmla="*/ 24 h 30"/>
                  <a:gd name="T8" fmla="*/ 10 w 16"/>
                  <a:gd name="T9" fmla="*/ 30 h 30"/>
                  <a:gd name="T10" fmla="*/ 4 w 16"/>
                  <a:gd name="T11" fmla="*/ 22 h 30"/>
                  <a:gd name="T12" fmla="*/ 4 w 16"/>
                  <a:gd name="T13" fmla="*/ 16 h 30"/>
                  <a:gd name="T14" fmla="*/ 0 w 16"/>
                  <a:gd name="T15" fmla="*/ 8 h 30"/>
                  <a:gd name="T16" fmla="*/ 0 w 16"/>
                  <a:gd name="T17" fmla="*/ 0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30"/>
                  <a:gd name="T29" fmla="*/ 16 w 16"/>
                  <a:gd name="T30" fmla="*/ 30 h 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30">
                    <a:moveTo>
                      <a:pt x="0" y="0"/>
                    </a:moveTo>
                    <a:lnTo>
                      <a:pt x="10" y="4"/>
                    </a:lnTo>
                    <a:lnTo>
                      <a:pt x="16" y="16"/>
                    </a:lnTo>
                    <a:lnTo>
                      <a:pt x="14" y="24"/>
                    </a:lnTo>
                    <a:lnTo>
                      <a:pt x="10" y="30"/>
                    </a:lnTo>
                    <a:lnTo>
                      <a:pt x="4" y="22"/>
                    </a:lnTo>
                    <a:lnTo>
                      <a:pt x="4" y="16"/>
                    </a:lnTo>
                    <a:lnTo>
                      <a:pt x="0" y="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36" name="Freeform 243" descr="Diagonal hell nach oben"/>
              <p:cNvSpPr>
                <a:spLocks/>
              </p:cNvSpPr>
              <p:nvPr/>
            </p:nvSpPr>
            <p:spPr bwMode="gray">
              <a:xfrm>
                <a:off x="608" y="1575"/>
                <a:ext cx="14" cy="20"/>
              </a:xfrm>
              <a:custGeom>
                <a:avLst/>
                <a:gdLst>
                  <a:gd name="T0" fmla="*/ 0 w 14"/>
                  <a:gd name="T1" fmla="*/ 0 h 20"/>
                  <a:gd name="T2" fmla="*/ 6 w 14"/>
                  <a:gd name="T3" fmla="*/ 4 h 20"/>
                  <a:gd name="T4" fmla="*/ 14 w 14"/>
                  <a:gd name="T5" fmla="*/ 6 h 20"/>
                  <a:gd name="T6" fmla="*/ 12 w 14"/>
                  <a:gd name="T7" fmla="*/ 16 h 20"/>
                  <a:gd name="T8" fmla="*/ 6 w 14"/>
                  <a:gd name="T9" fmla="*/ 20 h 20"/>
                  <a:gd name="T10" fmla="*/ 0 w 14"/>
                  <a:gd name="T11" fmla="*/ 12 h 20"/>
                  <a:gd name="T12" fmla="*/ 0 w 14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0"/>
                  <a:gd name="T23" fmla="*/ 14 w 14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0">
                    <a:moveTo>
                      <a:pt x="0" y="0"/>
                    </a:moveTo>
                    <a:lnTo>
                      <a:pt x="6" y="4"/>
                    </a:lnTo>
                    <a:lnTo>
                      <a:pt x="14" y="6"/>
                    </a:lnTo>
                    <a:lnTo>
                      <a:pt x="12" y="16"/>
                    </a:lnTo>
                    <a:lnTo>
                      <a:pt x="6" y="20"/>
                    </a:lnTo>
                    <a:lnTo>
                      <a:pt x="0" y="1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34" charset="-128"/>
                  <a:cs typeface="+mn-cs"/>
                </a:endParaRPr>
              </a:p>
            </p:txBody>
          </p:sp>
          <p:sp>
            <p:nvSpPr>
              <p:cNvPr id="237" name="Freeform 244" descr="Diagonal hell nach oben"/>
              <p:cNvSpPr>
                <a:spLocks/>
              </p:cNvSpPr>
              <p:nvPr/>
            </p:nvSpPr>
            <p:spPr bwMode="gray">
              <a:xfrm>
                <a:off x="576" y="1551"/>
                <a:ext cx="14" cy="14"/>
              </a:xfrm>
              <a:custGeom>
                <a:avLst/>
                <a:gdLst>
                  <a:gd name="T0" fmla="*/ 4 w 14"/>
                  <a:gd name="T1" fmla="*/ 0 h 14"/>
                  <a:gd name="T2" fmla="*/ 8 w 14"/>
                  <a:gd name="T3" fmla="*/ 0 h 14"/>
                  <a:gd name="T4" fmla="*/ 14 w 14"/>
                  <a:gd name="T5" fmla="*/ 6 h 14"/>
                  <a:gd name="T6" fmla="*/ 8 w 14"/>
                  <a:gd name="T7" fmla="*/ 10 h 14"/>
                  <a:gd name="T8" fmla="*/ 2 w 14"/>
                  <a:gd name="T9" fmla="*/ 14 h 14"/>
                  <a:gd name="T10" fmla="*/ 0 w 14"/>
                  <a:gd name="T11" fmla="*/ 6 h 14"/>
                  <a:gd name="T12" fmla="*/ 4 w 14"/>
                  <a:gd name="T13" fmla="*/ 0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14"/>
                  <a:gd name="T23" fmla="*/ 14 w 14"/>
                  <a:gd name="T24" fmla="*/ 14 h 1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14">
                    <a:moveTo>
                      <a:pt x="4" y="0"/>
                    </a:moveTo>
                    <a:lnTo>
                      <a:pt x="8" y="0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2" y="14"/>
                    </a:lnTo>
                    <a:lnTo>
                      <a:pt x="0" y="6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eaLnBrk="0" hangingPunct="0">
                  <a:defRPr/>
                </a:pPr>
                <a:endParaRPr lang="de-DE">
                  <a:ea typeface="ＭＳ Ｐゴシック" pitchFamily="34" charset="-128"/>
                  <a:cs typeface="+mn-cs"/>
                </a:endParaRPr>
              </a:p>
            </p:txBody>
          </p:sp>
        </p:grpSp>
        <p:sp>
          <p:nvSpPr>
            <p:cNvPr id="33017" name="Freeform 245" descr="Diagonal hell nach oben"/>
            <p:cNvSpPr>
              <a:spLocks/>
            </p:cNvSpPr>
            <p:nvPr/>
          </p:nvSpPr>
          <p:spPr bwMode="gray">
            <a:xfrm>
              <a:off x="2093913" y="3195638"/>
              <a:ext cx="1082675" cy="541337"/>
            </a:xfrm>
            <a:custGeom>
              <a:avLst/>
              <a:gdLst>
                <a:gd name="T0" fmla="*/ 2147483647 w 912"/>
                <a:gd name="T1" fmla="*/ 2147483647 h 448"/>
                <a:gd name="T2" fmla="*/ 2147483647 w 912"/>
                <a:gd name="T3" fmla="*/ 2147483647 h 448"/>
                <a:gd name="T4" fmla="*/ 2147483647 w 912"/>
                <a:gd name="T5" fmla="*/ 2147483647 h 448"/>
                <a:gd name="T6" fmla="*/ 2147483647 w 912"/>
                <a:gd name="T7" fmla="*/ 2147483647 h 448"/>
                <a:gd name="T8" fmla="*/ 2147483647 w 912"/>
                <a:gd name="T9" fmla="*/ 2147483647 h 448"/>
                <a:gd name="T10" fmla="*/ 2147483647 w 912"/>
                <a:gd name="T11" fmla="*/ 2147483647 h 448"/>
                <a:gd name="T12" fmla="*/ 2147483647 w 912"/>
                <a:gd name="T13" fmla="*/ 2147483647 h 448"/>
                <a:gd name="T14" fmla="*/ 2147483647 w 912"/>
                <a:gd name="T15" fmla="*/ 2147483647 h 448"/>
                <a:gd name="T16" fmla="*/ 2147483647 w 912"/>
                <a:gd name="T17" fmla="*/ 2147483647 h 448"/>
                <a:gd name="T18" fmla="*/ 2147483647 w 912"/>
                <a:gd name="T19" fmla="*/ 2147483647 h 448"/>
                <a:gd name="T20" fmla="*/ 2147483647 w 912"/>
                <a:gd name="T21" fmla="*/ 2147483647 h 448"/>
                <a:gd name="T22" fmla="*/ 2147483647 w 912"/>
                <a:gd name="T23" fmla="*/ 2147483647 h 448"/>
                <a:gd name="T24" fmla="*/ 2147483647 w 912"/>
                <a:gd name="T25" fmla="*/ 2147483647 h 448"/>
                <a:gd name="T26" fmla="*/ 2147483647 w 912"/>
                <a:gd name="T27" fmla="*/ 2147483647 h 448"/>
                <a:gd name="T28" fmla="*/ 2147483647 w 912"/>
                <a:gd name="T29" fmla="*/ 2147483647 h 448"/>
                <a:gd name="T30" fmla="*/ 2147483647 w 912"/>
                <a:gd name="T31" fmla="*/ 2147483647 h 448"/>
                <a:gd name="T32" fmla="*/ 2147483647 w 912"/>
                <a:gd name="T33" fmla="*/ 2147483647 h 448"/>
                <a:gd name="T34" fmla="*/ 2147483647 w 912"/>
                <a:gd name="T35" fmla="*/ 2147483647 h 448"/>
                <a:gd name="T36" fmla="*/ 2147483647 w 912"/>
                <a:gd name="T37" fmla="*/ 2147483647 h 448"/>
                <a:gd name="T38" fmla="*/ 2147483647 w 912"/>
                <a:gd name="T39" fmla="*/ 2147483647 h 448"/>
                <a:gd name="T40" fmla="*/ 2147483647 w 912"/>
                <a:gd name="T41" fmla="*/ 2147483647 h 448"/>
                <a:gd name="T42" fmla="*/ 2147483647 w 912"/>
                <a:gd name="T43" fmla="*/ 2147483647 h 448"/>
                <a:gd name="T44" fmla="*/ 2147483647 w 912"/>
                <a:gd name="T45" fmla="*/ 2147483647 h 448"/>
                <a:gd name="T46" fmla="*/ 2147483647 w 912"/>
                <a:gd name="T47" fmla="*/ 2147483647 h 448"/>
                <a:gd name="T48" fmla="*/ 2147483647 w 912"/>
                <a:gd name="T49" fmla="*/ 2147483647 h 448"/>
                <a:gd name="T50" fmla="*/ 2147483647 w 912"/>
                <a:gd name="T51" fmla="*/ 2147483647 h 448"/>
                <a:gd name="T52" fmla="*/ 2147483647 w 912"/>
                <a:gd name="T53" fmla="*/ 2147483647 h 448"/>
                <a:gd name="T54" fmla="*/ 2147483647 w 912"/>
                <a:gd name="T55" fmla="*/ 2147483647 h 448"/>
                <a:gd name="T56" fmla="*/ 2147483647 w 912"/>
                <a:gd name="T57" fmla="*/ 2147483647 h 448"/>
                <a:gd name="T58" fmla="*/ 2147483647 w 912"/>
                <a:gd name="T59" fmla="*/ 2147483647 h 448"/>
                <a:gd name="T60" fmla="*/ 2147483647 w 912"/>
                <a:gd name="T61" fmla="*/ 2147483647 h 448"/>
                <a:gd name="T62" fmla="*/ 2147483647 w 912"/>
                <a:gd name="T63" fmla="*/ 2147483647 h 448"/>
                <a:gd name="T64" fmla="*/ 2147483647 w 912"/>
                <a:gd name="T65" fmla="*/ 2147483647 h 448"/>
                <a:gd name="T66" fmla="*/ 2147483647 w 912"/>
                <a:gd name="T67" fmla="*/ 2147483647 h 448"/>
                <a:gd name="T68" fmla="*/ 2147483647 w 912"/>
                <a:gd name="T69" fmla="*/ 2147483647 h 448"/>
                <a:gd name="T70" fmla="*/ 2147483647 w 912"/>
                <a:gd name="T71" fmla="*/ 2147483647 h 448"/>
                <a:gd name="T72" fmla="*/ 2147483647 w 912"/>
                <a:gd name="T73" fmla="*/ 2147483647 h 448"/>
                <a:gd name="T74" fmla="*/ 2147483647 w 912"/>
                <a:gd name="T75" fmla="*/ 2147483647 h 448"/>
                <a:gd name="T76" fmla="*/ 2147483647 w 912"/>
                <a:gd name="T77" fmla="*/ 2147483647 h 448"/>
                <a:gd name="T78" fmla="*/ 2147483647 w 912"/>
                <a:gd name="T79" fmla="*/ 2147483647 h 448"/>
                <a:gd name="T80" fmla="*/ 2147483647 w 912"/>
                <a:gd name="T81" fmla="*/ 2147483647 h 448"/>
                <a:gd name="T82" fmla="*/ 2147483647 w 912"/>
                <a:gd name="T83" fmla="*/ 2147483647 h 448"/>
                <a:gd name="T84" fmla="*/ 2147483647 w 912"/>
                <a:gd name="T85" fmla="*/ 2147483647 h 448"/>
                <a:gd name="T86" fmla="*/ 2147483647 w 912"/>
                <a:gd name="T87" fmla="*/ 2147483647 h 448"/>
                <a:gd name="T88" fmla="*/ 2147483647 w 912"/>
                <a:gd name="T89" fmla="*/ 2147483647 h 448"/>
                <a:gd name="T90" fmla="*/ 2147483647 w 912"/>
                <a:gd name="T91" fmla="*/ 2147483647 h 448"/>
                <a:gd name="T92" fmla="*/ 2147483647 w 912"/>
                <a:gd name="T93" fmla="*/ 2147483647 h 448"/>
                <a:gd name="T94" fmla="*/ 2147483647 w 912"/>
                <a:gd name="T95" fmla="*/ 2147483647 h 448"/>
                <a:gd name="T96" fmla="*/ 2147483647 w 912"/>
                <a:gd name="T97" fmla="*/ 2147483647 h 448"/>
                <a:gd name="T98" fmla="*/ 2147483647 w 912"/>
                <a:gd name="T99" fmla="*/ 2147483647 h 448"/>
                <a:gd name="T100" fmla="*/ 2147483647 w 912"/>
                <a:gd name="T101" fmla="*/ 2147483647 h 448"/>
                <a:gd name="T102" fmla="*/ 2147483647 w 912"/>
                <a:gd name="T103" fmla="*/ 2147483647 h 44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912"/>
                <a:gd name="T157" fmla="*/ 0 h 448"/>
                <a:gd name="T158" fmla="*/ 912 w 912"/>
                <a:gd name="T159" fmla="*/ 448 h 44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912" h="448">
                  <a:moveTo>
                    <a:pt x="4" y="38"/>
                  </a:moveTo>
                  <a:lnTo>
                    <a:pt x="0" y="28"/>
                  </a:lnTo>
                  <a:lnTo>
                    <a:pt x="8" y="24"/>
                  </a:lnTo>
                  <a:lnTo>
                    <a:pt x="18" y="28"/>
                  </a:lnTo>
                  <a:lnTo>
                    <a:pt x="24" y="30"/>
                  </a:lnTo>
                  <a:lnTo>
                    <a:pt x="26" y="38"/>
                  </a:lnTo>
                  <a:lnTo>
                    <a:pt x="28" y="44"/>
                  </a:lnTo>
                  <a:lnTo>
                    <a:pt x="34" y="38"/>
                  </a:lnTo>
                  <a:lnTo>
                    <a:pt x="36" y="28"/>
                  </a:lnTo>
                  <a:lnTo>
                    <a:pt x="30" y="20"/>
                  </a:lnTo>
                  <a:lnTo>
                    <a:pt x="30" y="8"/>
                  </a:lnTo>
                  <a:lnTo>
                    <a:pt x="460" y="8"/>
                  </a:lnTo>
                  <a:lnTo>
                    <a:pt x="462" y="0"/>
                  </a:lnTo>
                  <a:lnTo>
                    <a:pt x="470" y="0"/>
                  </a:lnTo>
                  <a:lnTo>
                    <a:pt x="472" y="8"/>
                  </a:lnTo>
                  <a:lnTo>
                    <a:pt x="476" y="12"/>
                  </a:lnTo>
                  <a:lnTo>
                    <a:pt x="488" y="16"/>
                  </a:lnTo>
                  <a:lnTo>
                    <a:pt x="512" y="20"/>
                  </a:lnTo>
                  <a:lnTo>
                    <a:pt x="526" y="24"/>
                  </a:lnTo>
                  <a:lnTo>
                    <a:pt x="550" y="28"/>
                  </a:lnTo>
                  <a:lnTo>
                    <a:pt x="548" y="32"/>
                  </a:lnTo>
                  <a:lnTo>
                    <a:pt x="536" y="36"/>
                  </a:lnTo>
                  <a:lnTo>
                    <a:pt x="528" y="40"/>
                  </a:lnTo>
                  <a:lnTo>
                    <a:pt x="520" y="48"/>
                  </a:lnTo>
                  <a:lnTo>
                    <a:pt x="516" y="52"/>
                  </a:lnTo>
                  <a:lnTo>
                    <a:pt x="526" y="56"/>
                  </a:lnTo>
                  <a:lnTo>
                    <a:pt x="540" y="56"/>
                  </a:lnTo>
                  <a:lnTo>
                    <a:pt x="552" y="56"/>
                  </a:lnTo>
                  <a:lnTo>
                    <a:pt x="558" y="52"/>
                  </a:lnTo>
                  <a:lnTo>
                    <a:pt x="562" y="48"/>
                  </a:lnTo>
                  <a:lnTo>
                    <a:pt x="570" y="42"/>
                  </a:lnTo>
                  <a:lnTo>
                    <a:pt x="574" y="48"/>
                  </a:lnTo>
                  <a:lnTo>
                    <a:pt x="584" y="54"/>
                  </a:lnTo>
                  <a:lnTo>
                    <a:pt x="594" y="58"/>
                  </a:lnTo>
                  <a:lnTo>
                    <a:pt x="604" y="56"/>
                  </a:lnTo>
                  <a:lnTo>
                    <a:pt x="612" y="56"/>
                  </a:lnTo>
                  <a:lnTo>
                    <a:pt x="622" y="54"/>
                  </a:lnTo>
                  <a:lnTo>
                    <a:pt x="628" y="58"/>
                  </a:lnTo>
                  <a:lnTo>
                    <a:pt x="636" y="64"/>
                  </a:lnTo>
                  <a:lnTo>
                    <a:pt x="636" y="68"/>
                  </a:lnTo>
                  <a:lnTo>
                    <a:pt x="628" y="64"/>
                  </a:lnTo>
                  <a:lnTo>
                    <a:pt x="618" y="64"/>
                  </a:lnTo>
                  <a:lnTo>
                    <a:pt x="610" y="70"/>
                  </a:lnTo>
                  <a:lnTo>
                    <a:pt x="604" y="72"/>
                  </a:lnTo>
                  <a:lnTo>
                    <a:pt x="600" y="68"/>
                  </a:lnTo>
                  <a:lnTo>
                    <a:pt x="596" y="72"/>
                  </a:lnTo>
                  <a:lnTo>
                    <a:pt x="588" y="80"/>
                  </a:lnTo>
                  <a:lnTo>
                    <a:pt x="578" y="88"/>
                  </a:lnTo>
                  <a:lnTo>
                    <a:pt x="580" y="96"/>
                  </a:lnTo>
                  <a:lnTo>
                    <a:pt x="588" y="94"/>
                  </a:lnTo>
                  <a:lnTo>
                    <a:pt x="592" y="86"/>
                  </a:lnTo>
                  <a:lnTo>
                    <a:pt x="584" y="104"/>
                  </a:lnTo>
                  <a:lnTo>
                    <a:pt x="580" y="128"/>
                  </a:lnTo>
                  <a:lnTo>
                    <a:pt x="580" y="140"/>
                  </a:lnTo>
                  <a:lnTo>
                    <a:pt x="584" y="154"/>
                  </a:lnTo>
                  <a:lnTo>
                    <a:pt x="594" y="152"/>
                  </a:lnTo>
                  <a:lnTo>
                    <a:pt x="604" y="144"/>
                  </a:lnTo>
                  <a:lnTo>
                    <a:pt x="608" y="134"/>
                  </a:lnTo>
                  <a:lnTo>
                    <a:pt x="608" y="122"/>
                  </a:lnTo>
                  <a:lnTo>
                    <a:pt x="608" y="112"/>
                  </a:lnTo>
                  <a:lnTo>
                    <a:pt x="608" y="100"/>
                  </a:lnTo>
                  <a:lnTo>
                    <a:pt x="608" y="92"/>
                  </a:lnTo>
                  <a:lnTo>
                    <a:pt x="610" y="88"/>
                  </a:lnTo>
                  <a:lnTo>
                    <a:pt x="616" y="88"/>
                  </a:lnTo>
                  <a:lnTo>
                    <a:pt x="620" y="84"/>
                  </a:lnTo>
                  <a:lnTo>
                    <a:pt x="624" y="78"/>
                  </a:lnTo>
                  <a:lnTo>
                    <a:pt x="632" y="76"/>
                  </a:lnTo>
                  <a:lnTo>
                    <a:pt x="640" y="80"/>
                  </a:lnTo>
                  <a:lnTo>
                    <a:pt x="650" y="82"/>
                  </a:lnTo>
                  <a:lnTo>
                    <a:pt x="654" y="90"/>
                  </a:lnTo>
                  <a:lnTo>
                    <a:pt x="652" y="100"/>
                  </a:lnTo>
                  <a:lnTo>
                    <a:pt x="648" y="108"/>
                  </a:lnTo>
                  <a:lnTo>
                    <a:pt x="644" y="112"/>
                  </a:lnTo>
                  <a:lnTo>
                    <a:pt x="646" y="116"/>
                  </a:lnTo>
                  <a:lnTo>
                    <a:pt x="652" y="112"/>
                  </a:lnTo>
                  <a:lnTo>
                    <a:pt x="658" y="108"/>
                  </a:lnTo>
                  <a:lnTo>
                    <a:pt x="664" y="110"/>
                  </a:lnTo>
                  <a:lnTo>
                    <a:pt x="664" y="120"/>
                  </a:lnTo>
                  <a:lnTo>
                    <a:pt x="662" y="126"/>
                  </a:lnTo>
                  <a:lnTo>
                    <a:pt x="662" y="134"/>
                  </a:lnTo>
                  <a:lnTo>
                    <a:pt x="656" y="140"/>
                  </a:lnTo>
                  <a:lnTo>
                    <a:pt x="652" y="148"/>
                  </a:lnTo>
                  <a:lnTo>
                    <a:pt x="660" y="154"/>
                  </a:lnTo>
                  <a:lnTo>
                    <a:pt x="678" y="154"/>
                  </a:lnTo>
                  <a:lnTo>
                    <a:pt x="690" y="148"/>
                  </a:lnTo>
                  <a:lnTo>
                    <a:pt x="702" y="144"/>
                  </a:lnTo>
                  <a:lnTo>
                    <a:pt x="714" y="138"/>
                  </a:lnTo>
                  <a:lnTo>
                    <a:pt x="720" y="136"/>
                  </a:lnTo>
                  <a:lnTo>
                    <a:pt x="722" y="130"/>
                  </a:lnTo>
                  <a:lnTo>
                    <a:pt x="720" y="124"/>
                  </a:lnTo>
                  <a:lnTo>
                    <a:pt x="722" y="120"/>
                  </a:lnTo>
                  <a:lnTo>
                    <a:pt x="744" y="122"/>
                  </a:lnTo>
                  <a:lnTo>
                    <a:pt x="756" y="120"/>
                  </a:lnTo>
                  <a:lnTo>
                    <a:pt x="766" y="112"/>
                  </a:lnTo>
                  <a:lnTo>
                    <a:pt x="766" y="100"/>
                  </a:lnTo>
                  <a:lnTo>
                    <a:pt x="774" y="94"/>
                  </a:lnTo>
                  <a:lnTo>
                    <a:pt x="782" y="88"/>
                  </a:lnTo>
                  <a:lnTo>
                    <a:pt x="840" y="88"/>
                  </a:lnTo>
                  <a:lnTo>
                    <a:pt x="852" y="82"/>
                  </a:lnTo>
                  <a:lnTo>
                    <a:pt x="858" y="74"/>
                  </a:lnTo>
                  <a:lnTo>
                    <a:pt x="862" y="58"/>
                  </a:lnTo>
                  <a:lnTo>
                    <a:pt x="870" y="44"/>
                  </a:lnTo>
                  <a:lnTo>
                    <a:pt x="878" y="36"/>
                  </a:lnTo>
                  <a:lnTo>
                    <a:pt x="886" y="40"/>
                  </a:lnTo>
                  <a:lnTo>
                    <a:pt x="900" y="44"/>
                  </a:lnTo>
                  <a:lnTo>
                    <a:pt x="902" y="52"/>
                  </a:lnTo>
                  <a:lnTo>
                    <a:pt x="900" y="68"/>
                  </a:lnTo>
                  <a:lnTo>
                    <a:pt x="902" y="76"/>
                  </a:lnTo>
                  <a:lnTo>
                    <a:pt x="908" y="82"/>
                  </a:lnTo>
                  <a:lnTo>
                    <a:pt x="912" y="90"/>
                  </a:lnTo>
                  <a:lnTo>
                    <a:pt x="908" y="96"/>
                  </a:lnTo>
                  <a:lnTo>
                    <a:pt x="896" y="96"/>
                  </a:lnTo>
                  <a:lnTo>
                    <a:pt x="884" y="98"/>
                  </a:lnTo>
                  <a:lnTo>
                    <a:pt x="874" y="104"/>
                  </a:lnTo>
                  <a:lnTo>
                    <a:pt x="864" y="110"/>
                  </a:lnTo>
                  <a:lnTo>
                    <a:pt x="858" y="124"/>
                  </a:lnTo>
                  <a:lnTo>
                    <a:pt x="850" y="134"/>
                  </a:lnTo>
                  <a:lnTo>
                    <a:pt x="850" y="142"/>
                  </a:lnTo>
                  <a:lnTo>
                    <a:pt x="854" y="146"/>
                  </a:lnTo>
                  <a:lnTo>
                    <a:pt x="862" y="148"/>
                  </a:lnTo>
                  <a:lnTo>
                    <a:pt x="854" y="154"/>
                  </a:lnTo>
                  <a:lnTo>
                    <a:pt x="848" y="154"/>
                  </a:lnTo>
                  <a:lnTo>
                    <a:pt x="838" y="158"/>
                  </a:lnTo>
                  <a:lnTo>
                    <a:pt x="822" y="162"/>
                  </a:lnTo>
                  <a:lnTo>
                    <a:pt x="804" y="166"/>
                  </a:lnTo>
                  <a:lnTo>
                    <a:pt x="800" y="170"/>
                  </a:lnTo>
                  <a:lnTo>
                    <a:pt x="802" y="182"/>
                  </a:lnTo>
                  <a:lnTo>
                    <a:pt x="796" y="190"/>
                  </a:lnTo>
                  <a:lnTo>
                    <a:pt x="790" y="200"/>
                  </a:lnTo>
                  <a:lnTo>
                    <a:pt x="782" y="198"/>
                  </a:lnTo>
                  <a:lnTo>
                    <a:pt x="786" y="210"/>
                  </a:lnTo>
                  <a:lnTo>
                    <a:pt x="782" y="218"/>
                  </a:lnTo>
                  <a:lnTo>
                    <a:pt x="774" y="228"/>
                  </a:lnTo>
                  <a:lnTo>
                    <a:pt x="770" y="234"/>
                  </a:lnTo>
                  <a:lnTo>
                    <a:pt x="770" y="220"/>
                  </a:lnTo>
                  <a:lnTo>
                    <a:pt x="766" y="208"/>
                  </a:lnTo>
                  <a:lnTo>
                    <a:pt x="768" y="198"/>
                  </a:lnTo>
                  <a:lnTo>
                    <a:pt x="764" y="194"/>
                  </a:lnTo>
                  <a:lnTo>
                    <a:pt x="762" y="202"/>
                  </a:lnTo>
                  <a:lnTo>
                    <a:pt x="760" y="214"/>
                  </a:lnTo>
                  <a:lnTo>
                    <a:pt x="754" y="212"/>
                  </a:lnTo>
                  <a:lnTo>
                    <a:pt x="750" y="214"/>
                  </a:lnTo>
                  <a:lnTo>
                    <a:pt x="758" y="222"/>
                  </a:lnTo>
                  <a:lnTo>
                    <a:pt x="764" y="228"/>
                  </a:lnTo>
                  <a:lnTo>
                    <a:pt x="762" y="234"/>
                  </a:lnTo>
                  <a:lnTo>
                    <a:pt x="764" y="244"/>
                  </a:lnTo>
                  <a:lnTo>
                    <a:pt x="770" y="246"/>
                  </a:lnTo>
                  <a:lnTo>
                    <a:pt x="774" y="256"/>
                  </a:lnTo>
                  <a:lnTo>
                    <a:pt x="770" y="264"/>
                  </a:lnTo>
                  <a:lnTo>
                    <a:pt x="762" y="270"/>
                  </a:lnTo>
                  <a:lnTo>
                    <a:pt x="762" y="278"/>
                  </a:lnTo>
                  <a:lnTo>
                    <a:pt x="752" y="280"/>
                  </a:lnTo>
                  <a:lnTo>
                    <a:pt x="738" y="292"/>
                  </a:lnTo>
                  <a:lnTo>
                    <a:pt x="734" y="296"/>
                  </a:lnTo>
                  <a:lnTo>
                    <a:pt x="724" y="298"/>
                  </a:lnTo>
                  <a:lnTo>
                    <a:pt x="714" y="314"/>
                  </a:lnTo>
                  <a:lnTo>
                    <a:pt x="702" y="318"/>
                  </a:lnTo>
                  <a:lnTo>
                    <a:pt x="696" y="326"/>
                  </a:lnTo>
                  <a:lnTo>
                    <a:pt x="686" y="338"/>
                  </a:lnTo>
                  <a:lnTo>
                    <a:pt x="682" y="350"/>
                  </a:lnTo>
                  <a:lnTo>
                    <a:pt x="686" y="364"/>
                  </a:lnTo>
                  <a:lnTo>
                    <a:pt x="692" y="378"/>
                  </a:lnTo>
                  <a:lnTo>
                    <a:pt x="696" y="392"/>
                  </a:lnTo>
                  <a:lnTo>
                    <a:pt x="702" y="406"/>
                  </a:lnTo>
                  <a:lnTo>
                    <a:pt x="704" y="424"/>
                  </a:lnTo>
                  <a:lnTo>
                    <a:pt x="704" y="440"/>
                  </a:lnTo>
                  <a:lnTo>
                    <a:pt x="702" y="448"/>
                  </a:lnTo>
                  <a:lnTo>
                    <a:pt x="694" y="448"/>
                  </a:lnTo>
                  <a:lnTo>
                    <a:pt x="686" y="440"/>
                  </a:lnTo>
                  <a:lnTo>
                    <a:pt x="680" y="428"/>
                  </a:lnTo>
                  <a:lnTo>
                    <a:pt x="672" y="422"/>
                  </a:lnTo>
                  <a:lnTo>
                    <a:pt x="664" y="416"/>
                  </a:lnTo>
                  <a:lnTo>
                    <a:pt x="662" y="404"/>
                  </a:lnTo>
                  <a:lnTo>
                    <a:pt x="662" y="392"/>
                  </a:lnTo>
                  <a:lnTo>
                    <a:pt x="664" y="382"/>
                  </a:lnTo>
                  <a:lnTo>
                    <a:pt x="656" y="374"/>
                  </a:lnTo>
                  <a:lnTo>
                    <a:pt x="650" y="366"/>
                  </a:lnTo>
                  <a:lnTo>
                    <a:pt x="640" y="362"/>
                  </a:lnTo>
                  <a:lnTo>
                    <a:pt x="634" y="364"/>
                  </a:lnTo>
                  <a:lnTo>
                    <a:pt x="626" y="372"/>
                  </a:lnTo>
                  <a:lnTo>
                    <a:pt x="618" y="362"/>
                  </a:lnTo>
                  <a:lnTo>
                    <a:pt x="606" y="360"/>
                  </a:lnTo>
                  <a:lnTo>
                    <a:pt x="592" y="358"/>
                  </a:lnTo>
                  <a:lnTo>
                    <a:pt x="582" y="354"/>
                  </a:lnTo>
                  <a:lnTo>
                    <a:pt x="566" y="354"/>
                  </a:lnTo>
                  <a:lnTo>
                    <a:pt x="552" y="356"/>
                  </a:lnTo>
                  <a:lnTo>
                    <a:pt x="542" y="358"/>
                  </a:lnTo>
                  <a:lnTo>
                    <a:pt x="548" y="364"/>
                  </a:lnTo>
                  <a:lnTo>
                    <a:pt x="554" y="368"/>
                  </a:lnTo>
                  <a:lnTo>
                    <a:pt x="560" y="374"/>
                  </a:lnTo>
                  <a:lnTo>
                    <a:pt x="552" y="376"/>
                  </a:lnTo>
                  <a:lnTo>
                    <a:pt x="544" y="376"/>
                  </a:lnTo>
                  <a:lnTo>
                    <a:pt x="534" y="378"/>
                  </a:lnTo>
                  <a:lnTo>
                    <a:pt x="526" y="372"/>
                  </a:lnTo>
                  <a:lnTo>
                    <a:pt x="516" y="368"/>
                  </a:lnTo>
                  <a:lnTo>
                    <a:pt x="512" y="370"/>
                  </a:lnTo>
                  <a:lnTo>
                    <a:pt x="508" y="372"/>
                  </a:lnTo>
                  <a:lnTo>
                    <a:pt x="498" y="366"/>
                  </a:lnTo>
                  <a:lnTo>
                    <a:pt x="488" y="366"/>
                  </a:lnTo>
                  <a:lnTo>
                    <a:pt x="484" y="372"/>
                  </a:lnTo>
                  <a:lnTo>
                    <a:pt x="476" y="374"/>
                  </a:lnTo>
                  <a:lnTo>
                    <a:pt x="470" y="370"/>
                  </a:lnTo>
                  <a:lnTo>
                    <a:pt x="466" y="378"/>
                  </a:lnTo>
                  <a:lnTo>
                    <a:pt x="460" y="384"/>
                  </a:lnTo>
                  <a:lnTo>
                    <a:pt x="454" y="388"/>
                  </a:lnTo>
                  <a:lnTo>
                    <a:pt x="442" y="388"/>
                  </a:lnTo>
                  <a:lnTo>
                    <a:pt x="438" y="394"/>
                  </a:lnTo>
                  <a:lnTo>
                    <a:pt x="432" y="400"/>
                  </a:lnTo>
                  <a:lnTo>
                    <a:pt x="428" y="408"/>
                  </a:lnTo>
                  <a:lnTo>
                    <a:pt x="430" y="420"/>
                  </a:lnTo>
                  <a:lnTo>
                    <a:pt x="434" y="432"/>
                  </a:lnTo>
                  <a:lnTo>
                    <a:pt x="422" y="430"/>
                  </a:lnTo>
                  <a:lnTo>
                    <a:pt x="406" y="424"/>
                  </a:lnTo>
                  <a:lnTo>
                    <a:pt x="398" y="412"/>
                  </a:lnTo>
                  <a:lnTo>
                    <a:pt x="390" y="400"/>
                  </a:lnTo>
                  <a:lnTo>
                    <a:pt x="380" y="388"/>
                  </a:lnTo>
                  <a:lnTo>
                    <a:pt x="374" y="374"/>
                  </a:lnTo>
                  <a:lnTo>
                    <a:pt x="360" y="368"/>
                  </a:lnTo>
                  <a:lnTo>
                    <a:pt x="352" y="364"/>
                  </a:lnTo>
                  <a:lnTo>
                    <a:pt x="344" y="368"/>
                  </a:lnTo>
                  <a:lnTo>
                    <a:pt x="342" y="378"/>
                  </a:lnTo>
                  <a:lnTo>
                    <a:pt x="330" y="380"/>
                  </a:lnTo>
                  <a:lnTo>
                    <a:pt x="314" y="370"/>
                  </a:lnTo>
                  <a:lnTo>
                    <a:pt x="312" y="354"/>
                  </a:lnTo>
                  <a:lnTo>
                    <a:pt x="302" y="346"/>
                  </a:lnTo>
                  <a:lnTo>
                    <a:pt x="282" y="330"/>
                  </a:lnTo>
                  <a:lnTo>
                    <a:pt x="262" y="334"/>
                  </a:lnTo>
                  <a:lnTo>
                    <a:pt x="254" y="340"/>
                  </a:lnTo>
                  <a:lnTo>
                    <a:pt x="208" y="340"/>
                  </a:lnTo>
                  <a:lnTo>
                    <a:pt x="192" y="334"/>
                  </a:lnTo>
                  <a:lnTo>
                    <a:pt x="166" y="322"/>
                  </a:lnTo>
                  <a:lnTo>
                    <a:pt x="148" y="316"/>
                  </a:lnTo>
                  <a:lnTo>
                    <a:pt x="116" y="318"/>
                  </a:lnTo>
                  <a:lnTo>
                    <a:pt x="112" y="306"/>
                  </a:lnTo>
                  <a:lnTo>
                    <a:pt x="104" y="298"/>
                  </a:lnTo>
                  <a:lnTo>
                    <a:pt x="98" y="294"/>
                  </a:lnTo>
                  <a:lnTo>
                    <a:pt x="84" y="290"/>
                  </a:lnTo>
                  <a:lnTo>
                    <a:pt x="74" y="282"/>
                  </a:lnTo>
                  <a:lnTo>
                    <a:pt x="60" y="286"/>
                  </a:lnTo>
                  <a:lnTo>
                    <a:pt x="58" y="272"/>
                  </a:lnTo>
                  <a:lnTo>
                    <a:pt x="48" y="258"/>
                  </a:lnTo>
                  <a:lnTo>
                    <a:pt x="38" y="248"/>
                  </a:lnTo>
                  <a:lnTo>
                    <a:pt x="42" y="242"/>
                  </a:lnTo>
                  <a:lnTo>
                    <a:pt x="36" y="238"/>
                  </a:lnTo>
                  <a:lnTo>
                    <a:pt x="32" y="228"/>
                  </a:lnTo>
                  <a:lnTo>
                    <a:pt x="38" y="218"/>
                  </a:lnTo>
                  <a:lnTo>
                    <a:pt x="26" y="218"/>
                  </a:lnTo>
                  <a:lnTo>
                    <a:pt x="18" y="210"/>
                  </a:lnTo>
                  <a:lnTo>
                    <a:pt x="10" y="198"/>
                  </a:lnTo>
                  <a:lnTo>
                    <a:pt x="10" y="186"/>
                  </a:lnTo>
                  <a:lnTo>
                    <a:pt x="2" y="178"/>
                  </a:lnTo>
                  <a:lnTo>
                    <a:pt x="2" y="170"/>
                  </a:lnTo>
                  <a:lnTo>
                    <a:pt x="6" y="148"/>
                  </a:lnTo>
                  <a:lnTo>
                    <a:pt x="2" y="122"/>
                  </a:lnTo>
                  <a:lnTo>
                    <a:pt x="6" y="112"/>
                  </a:lnTo>
                  <a:lnTo>
                    <a:pt x="10" y="64"/>
                  </a:lnTo>
                  <a:lnTo>
                    <a:pt x="16" y="64"/>
                  </a:lnTo>
                  <a:lnTo>
                    <a:pt x="10" y="54"/>
                  </a:lnTo>
                  <a:lnTo>
                    <a:pt x="6" y="48"/>
                  </a:lnTo>
                  <a:lnTo>
                    <a:pt x="8" y="42"/>
                  </a:lnTo>
                  <a:lnTo>
                    <a:pt x="4" y="3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18" name="Freeform 253"/>
            <p:cNvSpPr>
              <a:spLocks/>
            </p:cNvSpPr>
            <p:nvPr/>
          </p:nvSpPr>
          <p:spPr bwMode="gray">
            <a:xfrm>
              <a:off x="2868613" y="4044950"/>
              <a:ext cx="122237" cy="46038"/>
            </a:xfrm>
            <a:custGeom>
              <a:avLst/>
              <a:gdLst>
                <a:gd name="T0" fmla="*/ 2147483647 w 102"/>
                <a:gd name="T1" fmla="*/ 2147483647 h 38"/>
                <a:gd name="T2" fmla="*/ 2147483647 w 102"/>
                <a:gd name="T3" fmla="*/ 2147483647 h 38"/>
                <a:gd name="T4" fmla="*/ 2147483647 w 102"/>
                <a:gd name="T5" fmla="*/ 2147483647 h 38"/>
                <a:gd name="T6" fmla="*/ 2147483647 w 102"/>
                <a:gd name="T7" fmla="*/ 2147483647 h 38"/>
                <a:gd name="T8" fmla="*/ 2147483647 w 102"/>
                <a:gd name="T9" fmla="*/ 2147483647 h 38"/>
                <a:gd name="T10" fmla="*/ 2147483647 w 102"/>
                <a:gd name="T11" fmla="*/ 2147483647 h 38"/>
                <a:gd name="T12" fmla="*/ 2147483647 w 102"/>
                <a:gd name="T13" fmla="*/ 2147483647 h 38"/>
                <a:gd name="T14" fmla="*/ 2147483647 w 102"/>
                <a:gd name="T15" fmla="*/ 2147483647 h 38"/>
                <a:gd name="T16" fmla="*/ 2147483647 w 102"/>
                <a:gd name="T17" fmla="*/ 2147483647 h 38"/>
                <a:gd name="T18" fmla="*/ 2147483647 w 102"/>
                <a:gd name="T19" fmla="*/ 2147483647 h 38"/>
                <a:gd name="T20" fmla="*/ 2147483647 w 102"/>
                <a:gd name="T21" fmla="*/ 2147483647 h 38"/>
                <a:gd name="T22" fmla="*/ 2147483647 w 102"/>
                <a:gd name="T23" fmla="*/ 2147483647 h 38"/>
                <a:gd name="T24" fmla="*/ 2147483647 w 102"/>
                <a:gd name="T25" fmla="*/ 2147483647 h 38"/>
                <a:gd name="T26" fmla="*/ 2147483647 w 102"/>
                <a:gd name="T27" fmla="*/ 2147483647 h 38"/>
                <a:gd name="T28" fmla="*/ 2147483647 w 102"/>
                <a:gd name="T29" fmla="*/ 2147483647 h 38"/>
                <a:gd name="T30" fmla="*/ 2147483647 w 102"/>
                <a:gd name="T31" fmla="*/ 2147483647 h 38"/>
                <a:gd name="T32" fmla="*/ 2147483647 w 102"/>
                <a:gd name="T33" fmla="*/ 2147483647 h 38"/>
                <a:gd name="T34" fmla="*/ 2147483647 w 102"/>
                <a:gd name="T35" fmla="*/ 2147483647 h 38"/>
                <a:gd name="T36" fmla="*/ 2147483647 w 102"/>
                <a:gd name="T37" fmla="*/ 2147483647 h 38"/>
                <a:gd name="T38" fmla="*/ 2147483647 w 102"/>
                <a:gd name="T39" fmla="*/ 2147483647 h 38"/>
                <a:gd name="T40" fmla="*/ 2147483647 w 102"/>
                <a:gd name="T41" fmla="*/ 2147483647 h 38"/>
                <a:gd name="T42" fmla="*/ 2147483647 w 102"/>
                <a:gd name="T43" fmla="*/ 2147483647 h 38"/>
                <a:gd name="T44" fmla="*/ 0 w 102"/>
                <a:gd name="T45" fmla="*/ 2147483647 h 38"/>
                <a:gd name="T46" fmla="*/ 2147483647 w 102"/>
                <a:gd name="T47" fmla="*/ 2147483647 h 38"/>
                <a:gd name="T48" fmla="*/ 2147483647 w 102"/>
                <a:gd name="T49" fmla="*/ 2147483647 h 38"/>
                <a:gd name="T50" fmla="*/ 2147483647 w 102"/>
                <a:gd name="T51" fmla="*/ 2147483647 h 38"/>
                <a:gd name="T52" fmla="*/ 2147483647 w 102"/>
                <a:gd name="T53" fmla="*/ 2147483647 h 38"/>
                <a:gd name="T54" fmla="*/ 2147483647 w 102"/>
                <a:gd name="T55" fmla="*/ 2147483647 h 38"/>
                <a:gd name="T56" fmla="*/ 2147483647 w 102"/>
                <a:gd name="T57" fmla="*/ 2147483647 h 38"/>
                <a:gd name="T58" fmla="*/ 2147483647 w 102"/>
                <a:gd name="T59" fmla="*/ 2147483647 h 38"/>
                <a:gd name="T60" fmla="*/ 2147483647 w 102"/>
                <a:gd name="T61" fmla="*/ 2147483647 h 38"/>
                <a:gd name="T62" fmla="*/ 2147483647 w 102"/>
                <a:gd name="T63" fmla="*/ 2147483647 h 38"/>
                <a:gd name="T64" fmla="*/ 2147483647 w 102"/>
                <a:gd name="T65" fmla="*/ 2147483647 h 38"/>
                <a:gd name="T66" fmla="*/ 2147483647 w 102"/>
                <a:gd name="T67" fmla="*/ 0 h 38"/>
                <a:gd name="T68" fmla="*/ 2147483647 w 102"/>
                <a:gd name="T69" fmla="*/ 2147483647 h 38"/>
                <a:gd name="T70" fmla="*/ 2147483647 w 102"/>
                <a:gd name="T71" fmla="*/ 2147483647 h 38"/>
                <a:gd name="T72" fmla="*/ 2147483647 w 102"/>
                <a:gd name="T73" fmla="*/ 2147483647 h 38"/>
                <a:gd name="T74" fmla="*/ 2147483647 w 102"/>
                <a:gd name="T75" fmla="*/ 2147483647 h 38"/>
                <a:gd name="T76" fmla="*/ 2147483647 w 102"/>
                <a:gd name="T77" fmla="*/ 2147483647 h 38"/>
                <a:gd name="T78" fmla="*/ 2147483647 w 102"/>
                <a:gd name="T79" fmla="*/ 2147483647 h 38"/>
                <a:gd name="T80" fmla="*/ 2147483647 w 102"/>
                <a:gd name="T81" fmla="*/ 2147483647 h 38"/>
                <a:gd name="T82" fmla="*/ 2147483647 w 102"/>
                <a:gd name="T83" fmla="*/ 2147483647 h 3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02"/>
                <a:gd name="T127" fmla="*/ 0 h 38"/>
                <a:gd name="T128" fmla="*/ 102 w 102"/>
                <a:gd name="T129" fmla="*/ 38 h 3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02" h="38">
                  <a:moveTo>
                    <a:pt x="88" y="34"/>
                  </a:moveTo>
                  <a:lnTo>
                    <a:pt x="82" y="32"/>
                  </a:lnTo>
                  <a:lnTo>
                    <a:pt x="80" y="28"/>
                  </a:lnTo>
                  <a:lnTo>
                    <a:pt x="80" y="22"/>
                  </a:lnTo>
                  <a:lnTo>
                    <a:pt x="80" y="16"/>
                  </a:lnTo>
                  <a:lnTo>
                    <a:pt x="78" y="12"/>
                  </a:lnTo>
                  <a:lnTo>
                    <a:pt x="72" y="10"/>
                  </a:lnTo>
                  <a:lnTo>
                    <a:pt x="66" y="10"/>
                  </a:lnTo>
                  <a:lnTo>
                    <a:pt x="62" y="12"/>
                  </a:lnTo>
                  <a:lnTo>
                    <a:pt x="60" y="16"/>
                  </a:lnTo>
                  <a:lnTo>
                    <a:pt x="52" y="18"/>
                  </a:lnTo>
                  <a:lnTo>
                    <a:pt x="48" y="22"/>
                  </a:lnTo>
                  <a:lnTo>
                    <a:pt x="50" y="26"/>
                  </a:lnTo>
                  <a:lnTo>
                    <a:pt x="52" y="30"/>
                  </a:lnTo>
                  <a:lnTo>
                    <a:pt x="52" y="36"/>
                  </a:lnTo>
                  <a:lnTo>
                    <a:pt x="44" y="38"/>
                  </a:lnTo>
                  <a:lnTo>
                    <a:pt x="38" y="32"/>
                  </a:lnTo>
                  <a:lnTo>
                    <a:pt x="32" y="26"/>
                  </a:lnTo>
                  <a:lnTo>
                    <a:pt x="26" y="22"/>
                  </a:lnTo>
                  <a:lnTo>
                    <a:pt x="18" y="20"/>
                  </a:lnTo>
                  <a:lnTo>
                    <a:pt x="14" y="18"/>
                  </a:lnTo>
                  <a:lnTo>
                    <a:pt x="8" y="20"/>
                  </a:lnTo>
                  <a:lnTo>
                    <a:pt x="0" y="18"/>
                  </a:lnTo>
                  <a:lnTo>
                    <a:pt x="4" y="14"/>
                  </a:lnTo>
                  <a:lnTo>
                    <a:pt x="6" y="8"/>
                  </a:lnTo>
                  <a:lnTo>
                    <a:pt x="12" y="2"/>
                  </a:lnTo>
                  <a:lnTo>
                    <a:pt x="18" y="4"/>
                  </a:lnTo>
                  <a:lnTo>
                    <a:pt x="22" y="8"/>
                  </a:lnTo>
                  <a:lnTo>
                    <a:pt x="30" y="12"/>
                  </a:lnTo>
                  <a:lnTo>
                    <a:pt x="38" y="12"/>
                  </a:lnTo>
                  <a:lnTo>
                    <a:pt x="44" y="10"/>
                  </a:lnTo>
                  <a:lnTo>
                    <a:pt x="52" y="6"/>
                  </a:lnTo>
                  <a:lnTo>
                    <a:pt x="62" y="2"/>
                  </a:lnTo>
                  <a:lnTo>
                    <a:pt x="72" y="0"/>
                  </a:lnTo>
                  <a:lnTo>
                    <a:pt x="82" y="2"/>
                  </a:lnTo>
                  <a:lnTo>
                    <a:pt x="88" y="6"/>
                  </a:lnTo>
                  <a:lnTo>
                    <a:pt x="94" y="10"/>
                  </a:lnTo>
                  <a:lnTo>
                    <a:pt x="98" y="16"/>
                  </a:lnTo>
                  <a:lnTo>
                    <a:pt x="102" y="20"/>
                  </a:lnTo>
                  <a:lnTo>
                    <a:pt x="100" y="26"/>
                  </a:lnTo>
                  <a:lnTo>
                    <a:pt x="94" y="30"/>
                  </a:lnTo>
                  <a:lnTo>
                    <a:pt x="88" y="34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19" name="Freeform 254"/>
            <p:cNvSpPr>
              <a:spLocks/>
            </p:cNvSpPr>
            <p:nvPr/>
          </p:nvSpPr>
          <p:spPr bwMode="gray">
            <a:xfrm>
              <a:off x="2917825" y="4202113"/>
              <a:ext cx="104775" cy="122237"/>
            </a:xfrm>
            <a:custGeom>
              <a:avLst/>
              <a:gdLst>
                <a:gd name="T0" fmla="*/ 2147483647 w 88"/>
                <a:gd name="T1" fmla="*/ 2147483647 h 100"/>
                <a:gd name="T2" fmla="*/ 2147483647 w 88"/>
                <a:gd name="T3" fmla="*/ 2147483647 h 100"/>
                <a:gd name="T4" fmla="*/ 2147483647 w 88"/>
                <a:gd name="T5" fmla="*/ 2147483647 h 100"/>
                <a:gd name="T6" fmla="*/ 2147483647 w 88"/>
                <a:gd name="T7" fmla="*/ 2147483647 h 100"/>
                <a:gd name="T8" fmla="*/ 2147483647 w 88"/>
                <a:gd name="T9" fmla="*/ 2147483647 h 100"/>
                <a:gd name="T10" fmla="*/ 2147483647 w 88"/>
                <a:gd name="T11" fmla="*/ 2147483647 h 100"/>
                <a:gd name="T12" fmla="*/ 2147483647 w 88"/>
                <a:gd name="T13" fmla="*/ 2147483647 h 100"/>
                <a:gd name="T14" fmla="*/ 2147483647 w 88"/>
                <a:gd name="T15" fmla="*/ 2147483647 h 100"/>
                <a:gd name="T16" fmla="*/ 2147483647 w 88"/>
                <a:gd name="T17" fmla="*/ 2147483647 h 100"/>
                <a:gd name="T18" fmla="*/ 2147483647 w 88"/>
                <a:gd name="T19" fmla="*/ 2147483647 h 100"/>
                <a:gd name="T20" fmla="*/ 0 w 88"/>
                <a:gd name="T21" fmla="*/ 2147483647 h 100"/>
                <a:gd name="T22" fmla="*/ 0 w 88"/>
                <a:gd name="T23" fmla="*/ 2147483647 h 100"/>
                <a:gd name="T24" fmla="*/ 2147483647 w 88"/>
                <a:gd name="T25" fmla="*/ 2147483647 h 100"/>
                <a:gd name="T26" fmla="*/ 2147483647 w 88"/>
                <a:gd name="T27" fmla="*/ 2147483647 h 100"/>
                <a:gd name="T28" fmla="*/ 2147483647 w 88"/>
                <a:gd name="T29" fmla="*/ 2147483647 h 100"/>
                <a:gd name="T30" fmla="*/ 2147483647 w 88"/>
                <a:gd name="T31" fmla="*/ 2147483647 h 100"/>
                <a:gd name="T32" fmla="*/ 2147483647 w 88"/>
                <a:gd name="T33" fmla="*/ 2147483647 h 100"/>
                <a:gd name="T34" fmla="*/ 2147483647 w 88"/>
                <a:gd name="T35" fmla="*/ 0 h 100"/>
                <a:gd name="T36" fmla="*/ 2147483647 w 88"/>
                <a:gd name="T37" fmla="*/ 2147483647 h 100"/>
                <a:gd name="T38" fmla="*/ 2147483647 w 88"/>
                <a:gd name="T39" fmla="*/ 2147483647 h 100"/>
                <a:gd name="T40" fmla="*/ 2147483647 w 88"/>
                <a:gd name="T41" fmla="*/ 2147483647 h 100"/>
                <a:gd name="T42" fmla="*/ 2147483647 w 88"/>
                <a:gd name="T43" fmla="*/ 2147483647 h 100"/>
                <a:gd name="T44" fmla="*/ 2147483647 w 88"/>
                <a:gd name="T45" fmla="*/ 2147483647 h 100"/>
                <a:gd name="T46" fmla="*/ 2147483647 w 88"/>
                <a:gd name="T47" fmla="*/ 2147483647 h 100"/>
                <a:gd name="T48" fmla="*/ 2147483647 w 88"/>
                <a:gd name="T49" fmla="*/ 2147483647 h 100"/>
                <a:gd name="T50" fmla="*/ 2147483647 w 88"/>
                <a:gd name="T51" fmla="*/ 2147483647 h 100"/>
                <a:gd name="T52" fmla="*/ 2147483647 w 88"/>
                <a:gd name="T53" fmla="*/ 2147483647 h 100"/>
                <a:gd name="T54" fmla="*/ 2147483647 w 88"/>
                <a:gd name="T55" fmla="*/ 2147483647 h 100"/>
                <a:gd name="T56" fmla="*/ 2147483647 w 88"/>
                <a:gd name="T57" fmla="*/ 2147483647 h 100"/>
                <a:gd name="T58" fmla="*/ 2147483647 w 88"/>
                <a:gd name="T59" fmla="*/ 2147483647 h 100"/>
                <a:gd name="T60" fmla="*/ 2147483647 w 88"/>
                <a:gd name="T61" fmla="*/ 2147483647 h 10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8"/>
                <a:gd name="T94" fmla="*/ 0 h 100"/>
                <a:gd name="T95" fmla="*/ 88 w 88"/>
                <a:gd name="T96" fmla="*/ 100 h 10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8" h="100">
                  <a:moveTo>
                    <a:pt x="26" y="100"/>
                  </a:moveTo>
                  <a:lnTo>
                    <a:pt x="20" y="94"/>
                  </a:lnTo>
                  <a:lnTo>
                    <a:pt x="8" y="88"/>
                  </a:lnTo>
                  <a:lnTo>
                    <a:pt x="8" y="76"/>
                  </a:lnTo>
                  <a:lnTo>
                    <a:pt x="14" y="72"/>
                  </a:lnTo>
                  <a:lnTo>
                    <a:pt x="18" y="64"/>
                  </a:lnTo>
                  <a:lnTo>
                    <a:pt x="18" y="58"/>
                  </a:lnTo>
                  <a:lnTo>
                    <a:pt x="14" y="58"/>
                  </a:lnTo>
                  <a:lnTo>
                    <a:pt x="10" y="62"/>
                  </a:lnTo>
                  <a:lnTo>
                    <a:pt x="6" y="62"/>
                  </a:lnTo>
                  <a:lnTo>
                    <a:pt x="0" y="58"/>
                  </a:lnTo>
                  <a:lnTo>
                    <a:pt x="0" y="48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0" y="18"/>
                  </a:lnTo>
                  <a:lnTo>
                    <a:pt x="14" y="12"/>
                  </a:lnTo>
                  <a:lnTo>
                    <a:pt x="22" y="6"/>
                  </a:lnTo>
                  <a:lnTo>
                    <a:pt x="32" y="0"/>
                  </a:lnTo>
                  <a:lnTo>
                    <a:pt x="58" y="16"/>
                  </a:lnTo>
                  <a:lnTo>
                    <a:pt x="70" y="16"/>
                  </a:lnTo>
                  <a:lnTo>
                    <a:pt x="88" y="22"/>
                  </a:lnTo>
                  <a:lnTo>
                    <a:pt x="86" y="30"/>
                  </a:lnTo>
                  <a:lnTo>
                    <a:pt x="86" y="40"/>
                  </a:lnTo>
                  <a:lnTo>
                    <a:pt x="82" y="48"/>
                  </a:lnTo>
                  <a:lnTo>
                    <a:pt x="76" y="56"/>
                  </a:lnTo>
                  <a:lnTo>
                    <a:pt x="68" y="62"/>
                  </a:lnTo>
                  <a:lnTo>
                    <a:pt x="52" y="68"/>
                  </a:lnTo>
                  <a:lnTo>
                    <a:pt x="46" y="74"/>
                  </a:lnTo>
                  <a:lnTo>
                    <a:pt x="40" y="82"/>
                  </a:lnTo>
                  <a:lnTo>
                    <a:pt x="36" y="92"/>
                  </a:lnTo>
                  <a:lnTo>
                    <a:pt x="26" y="10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20" name="Freeform 255"/>
            <p:cNvSpPr>
              <a:spLocks/>
            </p:cNvSpPr>
            <p:nvPr/>
          </p:nvSpPr>
          <p:spPr bwMode="gray">
            <a:xfrm>
              <a:off x="3044825" y="4127500"/>
              <a:ext cx="736600" cy="773113"/>
            </a:xfrm>
            <a:custGeom>
              <a:avLst/>
              <a:gdLst>
                <a:gd name="T0" fmla="*/ 2147483647 w 620"/>
                <a:gd name="T1" fmla="*/ 2147483647 h 638"/>
                <a:gd name="T2" fmla="*/ 2147483647 w 620"/>
                <a:gd name="T3" fmla="*/ 2147483647 h 638"/>
                <a:gd name="T4" fmla="*/ 2147483647 w 620"/>
                <a:gd name="T5" fmla="*/ 2147483647 h 638"/>
                <a:gd name="T6" fmla="*/ 2147483647 w 620"/>
                <a:gd name="T7" fmla="*/ 2147483647 h 638"/>
                <a:gd name="T8" fmla="*/ 2147483647 w 620"/>
                <a:gd name="T9" fmla="*/ 2147483647 h 638"/>
                <a:gd name="T10" fmla="*/ 2147483647 w 620"/>
                <a:gd name="T11" fmla="*/ 2147483647 h 638"/>
                <a:gd name="T12" fmla="*/ 2147483647 w 620"/>
                <a:gd name="T13" fmla="*/ 2147483647 h 638"/>
                <a:gd name="T14" fmla="*/ 2147483647 w 620"/>
                <a:gd name="T15" fmla="*/ 2147483647 h 638"/>
                <a:gd name="T16" fmla="*/ 2147483647 w 620"/>
                <a:gd name="T17" fmla="*/ 2147483647 h 638"/>
                <a:gd name="T18" fmla="*/ 2147483647 w 620"/>
                <a:gd name="T19" fmla="*/ 2147483647 h 638"/>
                <a:gd name="T20" fmla="*/ 2147483647 w 620"/>
                <a:gd name="T21" fmla="*/ 2147483647 h 638"/>
                <a:gd name="T22" fmla="*/ 2147483647 w 620"/>
                <a:gd name="T23" fmla="*/ 2147483647 h 638"/>
                <a:gd name="T24" fmla="*/ 2147483647 w 620"/>
                <a:gd name="T25" fmla="*/ 2147483647 h 638"/>
                <a:gd name="T26" fmla="*/ 2147483647 w 620"/>
                <a:gd name="T27" fmla="*/ 2147483647 h 638"/>
                <a:gd name="T28" fmla="*/ 2147483647 w 620"/>
                <a:gd name="T29" fmla="*/ 2147483647 h 638"/>
                <a:gd name="T30" fmla="*/ 2147483647 w 620"/>
                <a:gd name="T31" fmla="*/ 2147483647 h 638"/>
                <a:gd name="T32" fmla="*/ 2147483647 w 620"/>
                <a:gd name="T33" fmla="*/ 2147483647 h 638"/>
                <a:gd name="T34" fmla="*/ 2147483647 w 620"/>
                <a:gd name="T35" fmla="*/ 2147483647 h 638"/>
                <a:gd name="T36" fmla="*/ 2147483647 w 620"/>
                <a:gd name="T37" fmla="*/ 2147483647 h 638"/>
                <a:gd name="T38" fmla="*/ 2147483647 w 620"/>
                <a:gd name="T39" fmla="*/ 2147483647 h 638"/>
                <a:gd name="T40" fmla="*/ 2147483647 w 620"/>
                <a:gd name="T41" fmla="*/ 2147483647 h 638"/>
                <a:gd name="T42" fmla="*/ 2147483647 w 620"/>
                <a:gd name="T43" fmla="*/ 2147483647 h 638"/>
                <a:gd name="T44" fmla="*/ 2147483647 w 620"/>
                <a:gd name="T45" fmla="*/ 2147483647 h 638"/>
                <a:gd name="T46" fmla="*/ 2147483647 w 620"/>
                <a:gd name="T47" fmla="*/ 2147483647 h 638"/>
                <a:gd name="T48" fmla="*/ 2147483647 w 620"/>
                <a:gd name="T49" fmla="*/ 2147483647 h 638"/>
                <a:gd name="T50" fmla="*/ 2147483647 w 620"/>
                <a:gd name="T51" fmla="*/ 2147483647 h 638"/>
                <a:gd name="T52" fmla="*/ 2147483647 w 620"/>
                <a:gd name="T53" fmla="*/ 2147483647 h 638"/>
                <a:gd name="T54" fmla="*/ 2147483647 w 620"/>
                <a:gd name="T55" fmla="*/ 2147483647 h 638"/>
                <a:gd name="T56" fmla="*/ 2147483647 w 620"/>
                <a:gd name="T57" fmla="*/ 2147483647 h 638"/>
                <a:gd name="T58" fmla="*/ 2147483647 w 620"/>
                <a:gd name="T59" fmla="*/ 2147483647 h 638"/>
                <a:gd name="T60" fmla="*/ 2147483647 w 620"/>
                <a:gd name="T61" fmla="*/ 2147483647 h 638"/>
                <a:gd name="T62" fmla="*/ 2147483647 w 620"/>
                <a:gd name="T63" fmla="*/ 2147483647 h 638"/>
                <a:gd name="T64" fmla="*/ 2147483647 w 620"/>
                <a:gd name="T65" fmla="*/ 2147483647 h 638"/>
                <a:gd name="T66" fmla="*/ 2147483647 w 620"/>
                <a:gd name="T67" fmla="*/ 2147483647 h 638"/>
                <a:gd name="T68" fmla="*/ 2147483647 w 620"/>
                <a:gd name="T69" fmla="*/ 2147483647 h 638"/>
                <a:gd name="T70" fmla="*/ 2147483647 w 620"/>
                <a:gd name="T71" fmla="*/ 2147483647 h 638"/>
                <a:gd name="T72" fmla="*/ 2147483647 w 620"/>
                <a:gd name="T73" fmla="*/ 2147483647 h 638"/>
                <a:gd name="T74" fmla="*/ 2147483647 w 620"/>
                <a:gd name="T75" fmla="*/ 2147483647 h 638"/>
                <a:gd name="T76" fmla="*/ 2147483647 w 620"/>
                <a:gd name="T77" fmla="*/ 2147483647 h 638"/>
                <a:gd name="T78" fmla="*/ 2147483647 w 620"/>
                <a:gd name="T79" fmla="*/ 2147483647 h 638"/>
                <a:gd name="T80" fmla="*/ 2147483647 w 620"/>
                <a:gd name="T81" fmla="*/ 2147483647 h 638"/>
                <a:gd name="T82" fmla="*/ 2147483647 w 620"/>
                <a:gd name="T83" fmla="*/ 2147483647 h 638"/>
                <a:gd name="T84" fmla="*/ 2147483647 w 620"/>
                <a:gd name="T85" fmla="*/ 2147483647 h 638"/>
                <a:gd name="T86" fmla="*/ 2147483647 w 620"/>
                <a:gd name="T87" fmla="*/ 2147483647 h 638"/>
                <a:gd name="T88" fmla="*/ 2147483647 w 620"/>
                <a:gd name="T89" fmla="*/ 2147483647 h 638"/>
                <a:gd name="T90" fmla="*/ 2147483647 w 620"/>
                <a:gd name="T91" fmla="*/ 2147483647 h 638"/>
                <a:gd name="T92" fmla="*/ 2147483647 w 620"/>
                <a:gd name="T93" fmla="*/ 2147483647 h 638"/>
                <a:gd name="T94" fmla="*/ 2147483647 w 620"/>
                <a:gd name="T95" fmla="*/ 2147483647 h 638"/>
                <a:gd name="T96" fmla="*/ 2147483647 w 620"/>
                <a:gd name="T97" fmla="*/ 2147483647 h 638"/>
                <a:gd name="T98" fmla="*/ 2147483647 w 620"/>
                <a:gd name="T99" fmla="*/ 2147483647 h 638"/>
                <a:gd name="T100" fmla="*/ 2147483647 w 620"/>
                <a:gd name="T101" fmla="*/ 2147483647 h 638"/>
                <a:gd name="T102" fmla="*/ 2147483647 w 620"/>
                <a:gd name="T103" fmla="*/ 2147483647 h 638"/>
                <a:gd name="T104" fmla="*/ 2147483647 w 620"/>
                <a:gd name="T105" fmla="*/ 2147483647 h 63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20"/>
                <a:gd name="T160" fmla="*/ 0 h 638"/>
                <a:gd name="T161" fmla="*/ 620 w 620"/>
                <a:gd name="T162" fmla="*/ 638 h 63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20" h="638">
                  <a:moveTo>
                    <a:pt x="356" y="18"/>
                  </a:moveTo>
                  <a:lnTo>
                    <a:pt x="362" y="20"/>
                  </a:lnTo>
                  <a:lnTo>
                    <a:pt x="366" y="24"/>
                  </a:lnTo>
                  <a:lnTo>
                    <a:pt x="364" y="28"/>
                  </a:lnTo>
                  <a:lnTo>
                    <a:pt x="366" y="36"/>
                  </a:lnTo>
                  <a:lnTo>
                    <a:pt x="368" y="44"/>
                  </a:lnTo>
                  <a:lnTo>
                    <a:pt x="376" y="54"/>
                  </a:lnTo>
                  <a:lnTo>
                    <a:pt x="382" y="60"/>
                  </a:lnTo>
                  <a:lnTo>
                    <a:pt x="382" y="68"/>
                  </a:lnTo>
                  <a:lnTo>
                    <a:pt x="378" y="70"/>
                  </a:lnTo>
                  <a:lnTo>
                    <a:pt x="370" y="76"/>
                  </a:lnTo>
                  <a:lnTo>
                    <a:pt x="362" y="84"/>
                  </a:lnTo>
                  <a:lnTo>
                    <a:pt x="360" y="88"/>
                  </a:lnTo>
                  <a:lnTo>
                    <a:pt x="360" y="96"/>
                  </a:lnTo>
                  <a:lnTo>
                    <a:pt x="362" y="100"/>
                  </a:lnTo>
                  <a:lnTo>
                    <a:pt x="368" y="98"/>
                  </a:lnTo>
                  <a:lnTo>
                    <a:pt x="372" y="92"/>
                  </a:lnTo>
                  <a:lnTo>
                    <a:pt x="372" y="82"/>
                  </a:lnTo>
                  <a:lnTo>
                    <a:pt x="380" y="78"/>
                  </a:lnTo>
                  <a:lnTo>
                    <a:pt x="388" y="78"/>
                  </a:lnTo>
                  <a:lnTo>
                    <a:pt x="392" y="82"/>
                  </a:lnTo>
                  <a:lnTo>
                    <a:pt x="400" y="84"/>
                  </a:lnTo>
                  <a:lnTo>
                    <a:pt x="404" y="88"/>
                  </a:lnTo>
                  <a:lnTo>
                    <a:pt x="404" y="92"/>
                  </a:lnTo>
                  <a:lnTo>
                    <a:pt x="402" y="98"/>
                  </a:lnTo>
                  <a:lnTo>
                    <a:pt x="398" y="102"/>
                  </a:lnTo>
                  <a:lnTo>
                    <a:pt x="392" y="108"/>
                  </a:lnTo>
                  <a:lnTo>
                    <a:pt x="392" y="116"/>
                  </a:lnTo>
                  <a:lnTo>
                    <a:pt x="396" y="116"/>
                  </a:lnTo>
                  <a:lnTo>
                    <a:pt x="404" y="108"/>
                  </a:lnTo>
                  <a:lnTo>
                    <a:pt x="406" y="108"/>
                  </a:lnTo>
                  <a:lnTo>
                    <a:pt x="408" y="104"/>
                  </a:lnTo>
                  <a:lnTo>
                    <a:pt x="410" y="98"/>
                  </a:lnTo>
                  <a:lnTo>
                    <a:pt x="414" y="94"/>
                  </a:lnTo>
                  <a:lnTo>
                    <a:pt x="420" y="92"/>
                  </a:lnTo>
                  <a:lnTo>
                    <a:pt x="426" y="94"/>
                  </a:lnTo>
                  <a:lnTo>
                    <a:pt x="440" y="98"/>
                  </a:lnTo>
                  <a:lnTo>
                    <a:pt x="448" y="104"/>
                  </a:lnTo>
                  <a:lnTo>
                    <a:pt x="462" y="110"/>
                  </a:lnTo>
                  <a:lnTo>
                    <a:pt x="472" y="114"/>
                  </a:lnTo>
                  <a:lnTo>
                    <a:pt x="472" y="120"/>
                  </a:lnTo>
                  <a:lnTo>
                    <a:pt x="468" y="126"/>
                  </a:lnTo>
                  <a:lnTo>
                    <a:pt x="466" y="134"/>
                  </a:lnTo>
                  <a:lnTo>
                    <a:pt x="468" y="134"/>
                  </a:lnTo>
                  <a:lnTo>
                    <a:pt x="476" y="126"/>
                  </a:lnTo>
                  <a:lnTo>
                    <a:pt x="482" y="124"/>
                  </a:lnTo>
                  <a:lnTo>
                    <a:pt x="488" y="122"/>
                  </a:lnTo>
                  <a:lnTo>
                    <a:pt x="496" y="124"/>
                  </a:lnTo>
                  <a:lnTo>
                    <a:pt x="506" y="128"/>
                  </a:lnTo>
                  <a:lnTo>
                    <a:pt x="516" y="130"/>
                  </a:lnTo>
                  <a:lnTo>
                    <a:pt x="528" y="130"/>
                  </a:lnTo>
                  <a:lnTo>
                    <a:pt x="538" y="132"/>
                  </a:lnTo>
                  <a:lnTo>
                    <a:pt x="548" y="134"/>
                  </a:lnTo>
                  <a:lnTo>
                    <a:pt x="560" y="142"/>
                  </a:lnTo>
                  <a:lnTo>
                    <a:pt x="572" y="152"/>
                  </a:lnTo>
                  <a:lnTo>
                    <a:pt x="582" y="160"/>
                  </a:lnTo>
                  <a:lnTo>
                    <a:pt x="592" y="166"/>
                  </a:lnTo>
                  <a:lnTo>
                    <a:pt x="602" y="164"/>
                  </a:lnTo>
                  <a:lnTo>
                    <a:pt x="610" y="164"/>
                  </a:lnTo>
                  <a:lnTo>
                    <a:pt x="614" y="174"/>
                  </a:lnTo>
                  <a:lnTo>
                    <a:pt x="620" y="190"/>
                  </a:lnTo>
                  <a:lnTo>
                    <a:pt x="620" y="206"/>
                  </a:lnTo>
                  <a:lnTo>
                    <a:pt x="618" y="224"/>
                  </a:lnTo>
                  <a:lnTo>
                    <a:pt x="608" y="236"/>
                  </a:lnTo>
                  <a:lnTo>
                    <a:pt x="600" y="246"/>
                  </a:lnTo>
                  <a:lnTo>
                    <a:pt x="580" y="264"/>
                  </a:lnTo>
                  <a:lnTo>
                    <a:pt x="580" y="272"/>
                  </a:lnTo>
                  <a:lnTo>
                    <a:pt x="578" y="278"/>
                  </a:lnTo>
                  <a:lnTo>
                    <a:pt x="574" y="282"/>
                  </a:lnTo>
                  <a:lnTo>
                    <a:pt x="570" y="286"/>
                  </a:lnTo>
                  <a:lnTo>
                    <a:pt x="562" y="290"/>
                  </a:lnTo>
                  <a:lnTo>
                    <a:pt x="556" y="294"/>
                  </a:lnTo>
                  <a:lnTo>
                    <a:pt x="554" y="302"/>
                  </a:lnTo>
                  <a:lnTo>
                    <a:pt x="554" y="310"/>
                  </a:lnTo>
                  <a:lnTo>
                    <a:pt x="556" y="322"/>
                  </a:lnTo>
                  <a:lnTo>
                    <a:pt x="556" y="338"/>
                  </a:lnTo>
                  <a:lnTo>
                    <a:pt x="554" y="350"/>
                  </a:lnTo>
                  <a:lnTo>
                    <a:pt x="552" y="366"/>
                  </a:lnTo>
                  <a:lnTo>
                    <a:pt x="548" y="376"/>
                  </a:lnTo>
                  <a:lnTo>
                    <a:pt x="544" y="392"/>
                  </a:lnTo>
                  <a:lnTo>
                    <a:pt x="536" y="408"/>
                  </a:lnTo>
                  <a:lnTo>
                    <a:pt x="528" y="420"/>
                  </a:lnTo>
                  <a:lnTo>
                    <a:pt x="524" y="434"/>
                  </a:lnTo>
                  <a:lnTo>
                    <a:pt x="518" y="440"/>
                  </a:lnTo>
                  <a:lnTo>
                    <a:pt x="512" y="446"/>
                  </a:lnTo>
                  <a:lnTo>
                    <a:pt x="508" y="452"/>
                  </a:lnTo>
                  <a:lnTo>
                    <a:pt x="494" y="456"/>
                  </a:lnTo>
                  <a:lnTo>
                    <a:pt x="482" y="456"/>
                  </a:lnTo>
                  <a:lnTo>
                    <a:pt x="464" y="458"/>
                  </a:lnTo>
                  <a:lnTo>
                    <a:pt x="454" y="468"/>
                  </a:lnTo>
                  <a:lnTo>
                    <a:pt x="446" y="472"/>
                  </a:lnTo>
                  <a:lnTo>
                    <a:pt x="438" y="472"/>
                  </a:lnTo>
                  <a:lnTo>
                    <a:pt x="430" y="480"/>
                  </a:lnTo>
                  <a:lnTo>
                    <a:pt x="418" y="484"/>
                  </a:lnTo>
                  <a:lnTo>
                    <a:pt x="408" y="494"/>
                  </a:lnTo>
                  <a:lnTo>
                    <a:pt x="404" y="502"/>
                  </a:lnTo>
                  <a:lnTo>
                    <a:pt x="402" y="516"/>
                  </a:lnTo>
                  <a:lnTo>
                    <a:pt x="402" y="526"/>
                  </a:lnTo>
                  <a:lnTo>
                    <a:pt x="404" y="542"/>
                  </a:lnTo>
                  <a:lnTo>
                    <a:pt x="398" y="550"/>
                  </a:lnTo>
                  <a:lnTo>
                    <a:pt x="390" y="560"/>
                  </a:lnTo>
                  <a:lnTo>
                    <a:pt x="384" y="566"/>
                  </a:lnTo>
                  <a:lnTo>
                    <a:pt x="380" y="574"/>
                  </a:lnTo>
                  <a:lnTo>
                    <a:pt x="376" y="584"/>
                  </a:lnTo>
                  <a:lnTo>
                    <a:pt x="374" y="588"/>
                  </a:lnTo>
                  <a:lnTo>
                    <a:pt x="370" y="592"/>
                  </a:lnTo>
                  <a:lnTo>
                    <a:pt x="366" y="600"/>
                  </a:lnTo>
                  <a:lnTo>
                    <a:pt x="360" y="604"/>
                  </a:lnTo>
                  <a:lnTo>
                    <a:pt x="352" y="610"/>
                  </a:lnTo>
                  <a:lnTo>
                    <a:pt x="352" y="606"/>
                  </a:lnTo>
                  <a:lnTo>
                    <a:pt x="352" y="604"/>
                  </a:lnTo>
                  <a:lnTo>
                    <a:pt x="356" y="600"/>
                  </a:lnTo>
                  <a:lnTo>
                    <a:pt x="360" y="596"/>
                  </a:lnTo>
                  <a:lnTo>
                    <a:pt x="366" y="590"/>
                  </a:lnTo>
                  <a:lnTo>
                    <a:pt x="370" y="584"/>
                  </a:lnTo>
                  <a:lnTo>
                    <a:pt x="368" y="580"/>
                  </a:lnTo>
                  <a:lnTo>
                    <a:pt x="364" y="582"/>
                  </a:lnTo>
                  <a:lnTo>
                    <a:pt x="360" y="586"/>
                  </a:lnTo>
                  <a:lnTo>
                    <a:pt x="356" y="592"/>
                  </a:lnTo>
                  <a:lnTo>
                    <a:pt x="352" y="596"/>
                  </a:lnTo>
                  <a:lnTo>
                    <a:pt x="348" y="600"/>
                  </a:lnTo>
                  <a:lnTo>
                    <a:pt x="348" y="606"/>
                  </a:lnTo>
                  <a:lnTo>
                    <a:pt x="346" y="612"/>
                  </a:lnTo>
                  <a:lnTo>
                    <a:pt x="344" y="618"/>
                  </a:lnTo>
                  <a:lnTo>
                    <a:pt x="342" y="622"/>
                  </a:lnTo>
                  <a:lnTo>
                    <a:pt x="336" y="630"/>
                  </a:lnTo>
                  <a:lnTo>
                    <a:pt x="332" y="638"/>
                  </a:lnTo>
                  <a:lnTo>
                    <a:pt x="328" y="634"/>
                  </a:lnTo>
                  <a:lnTo>
                    <a:pt x="328" y="628"/>
                  </a:lnTo>
                  <a:lnTo>
                    <a:pt x="330" y="622"/>
                  </a:lnTo>
                  <a:lnTo>
                    <a:pt x="326" y="614"/>
                  </a:lnTo>
                  <a:lnTo>
                    <a:pt x="320" y="610"/>
                  </a:lnTo>
                  <a:lnTo>
                    <a:pt x="308" y="600"/>
                  </a:lnTo>
                  <a:lnTo>
                    <a:pt x="294" y="592"/>
                  </a:lnTo>
                  <a:lnTo>
                    <a:pt x="286" y="590"/>
                  </a:lnTo>
                  <a:lnTo>
                    <a:pt x="278" y="580"/>
                  </a:lnTo>
                  <a:lnTo>
                    <a:pt x="268" y="572"/>
                  </a:lnTo>
                  <a:lnTo>
                    <a:pt x="270" y="568"/>
                  </a:lnTo>
                  <a:lnTo>
                    <a:pt x="276" y="564"/>
                  </a:lnTo>
                  <a:lnTo>
                    <a:pt x="300" y="540"/>
                  </a:lnTo>
                  <a:lnTo>
                    <a:pt x="308" y="534"/>
                  </a:lnTo>
                  <a:lnTo>
                    <a:pt x="316" y="530"/>
                  </a:lnTo>
                  <a:lnTo>
                    <a:pt x="320" y="524"/>
                  </a:lnTo>
                  <a:lnTo>
                    <a:pt x="324" y="512"/>
                  </a:lnTo>
                  <a:lnTo>
                    <a:pt x="322" y="502"/>
                  </a:lnTo>
                  <a:lnTo>
                    <a:pt x="318" y="498"/>
                  </a:lnTo>
                  <a:lnTo>
                    <a:pt x="308" y="496"/>
                  </a:lnTo>
                  <a:lnTo>
                    <a:pt x="308" y="490"/>
                  </a:lnTo>
                  <a:lnTo>
                    <a:pt x="312" y="482"/>
                  </a:lnTo>
                  <a:lnTo>
                    <a:pt x="314" y="474"/>
                  </a:lnTo>
                  <a:lnTo>
                    <a:pt x="308" y="472"/>
                  </a:lnTo>
                  <a:lnTo>
                    <a:pt x="300" y="474"/>
                  </a:lnTo>
                  <a:lnTo>
                    <a:pt x="292" y="466"/>
                  </a:lnTo>
                  <a:lnTo>
                    <a:pt x="288" y="456"/>
                  </a:lnTo>
                  <a:lnTo>
                    <a:pt x="290" y="446"/>
                  </a:lnTo>
                  <a:lnTo>
                    <a:pt x="284" y="442"/>
                  </a:lnTo>
                  <a:lnTo>
                    <a:pt x="274" y="440"/>
                  </a:lnTo>
                  <a:lnTo>
                    <a:pt x="266" y="442"/>
                  </a:lnTo>
                  <a:lnTo>
                    <a:pt x="256" y="442"/>
                  </a:lnTo>
                  <a:lnTo>
                    <a:pt x="256" y="414"/>
                  </a:lnTo>
                  <a:lnTo>
                    <a:pt x="252" y="406"/>
                  </a:lnTo>
                  <a:lnTo>
                    <a:pt x="256" y="402"/>
                  </a:lnTo>
                  <a:lnTo>
                    <a:pt x="252" y="396"/>
                  </a:lnTo>
                  <a:lnTo>
                    <a:pt x="260" y="382"/>
                  </a:lnTo>
                  <a:lnTo>
                    <a:pt x="260" y="376"/>
                  </a:lnTo>
                  <a:lnTo>
                    <a:pt x="258" y="366"/>
                  </a:lnTo>
                  <a:lnTo>
                    <a:pt x="248" y="362"/>
                  </a:lnTo>
                  <a:lnTo>
                    <a:pt x="246" y="350"/>
                  </a:lnTo>
                  <a:lnTo>
                    <a:pt x="248" y="342"/>
                  </a:lnTo>
                  <a:lnTo>
                    <a:pt x="220" y="342"/>
                  </a:lnTo>
                  <a:lnTo>
                    <a:pt x="218" y="330"/>
                  </a:lnTo>
                  <a:lnTo>
                    <a:pt x="218" y="326"/>
                  </a:lnTo>
                  <a:lnTo>
                    <a:pt x="220" y="322"/>
                  </a:lnTo>
                  <a:lnTo>
                    <a:pt x="218" y="314"/>
                  </a:lnTo>
                  <a:lnTo>
                    <a:pt x="214" y="302"/>
                  </a:lnTo>
                  <a:lnTo>
                    <a:pt x="196" y="298"/>
                  </a:lnTo>
                  <a:lnTo>
                    <a:pt x="184" y="292"/>
                  </a:lnTo>
                  <a:lnTo>
                    <a:pt x="176" y="290"/>
                  </a:lnTo>
                  <a:lnTo>
                    <a:pt x="172" y="284"/>
                  </a:lnTo>
                  <a:lnTo>
                    <a:pt x="162" y="282"/>
                  </a:lnTo>
                  <a:lnTo>
                    <a:pt x="152" y="280"/>
                  </a:lnTo>
                  <a:lnTo>
                    <a:pt x="140" y="268"/>
                  </a:lnTo>
                  <a:lnTo>
                    <a:pt x="138" y="240"/>
                  </a:lnTo>
                  <a:lnTo>
                    <a:pt x="126" y="240"/>
                  </a:lnTo>
                  <a:lnTo>
                    <a:pt x="116" y="244"/>
                  </a:lnTo>
                  <a:lnTo>
                    <a:pt x="114" y="244"/>
                  </a:lnTo>
                  <a:lnTo>
                    <a:pt x="106" y="250"/>
                  </a:lnTo>
                  <a:lnTo>
                    <a:pt x="92" y="256"/>
                  </a:lnTo>
                  <a:lnTo>
                    <a:pt x="72" y="258"/>
                  </a:lnTo>
                  <a:lnTo>
                    <a:pt x="60" y="256"/>
                  </a:lnTo>
                  <a:lnTo>
                    <a:pt x="54" y="256"/>
                  </a:lnTo>
                  <a:lnTo>
                    <a:pt x="52" y="250"/>
                  </a:lnTo>
                  <a:lnTo>
                    <a:pt x="56" y="238"/>
                  </a:lnTo>
                  <a:lnTo>
                    <a:pt x="54" y="232"/>
                  </a:lnTo>
                  <a:lnTo>
                    <a:pt x="48" y="238"/>
                  </a:lnTo>
                  <a:lnTo>
                    <a:pt x="38" y="242"/>
                  </a:lnTo>
                  <a:lnTo>
                    <a:pt x="36" y="244"/>
                  </a:lnTo>
                  <a:lnTo>
                    <a:pt x="28" y="242"/>
                  </a:lnTo>
                  <a:lnTo>
                    <a:pt x="18" y="232"/>
                  </a:lnTo>
                  <a:lnTo>
                    <a:pt x="8" y="222"/>
                  </a:lnTo>
                  <a:lnTo>
                    <a:pt x="0" y="200"/>
                  </a:lnTo>
                  <a:lnTo>
                    <a:pt x="8" y="188"/>
                  </a:lnTo>
                  <a:lnTo>
                    <a:pt x="14" y="182"/>
                  </a:lnTo>
                  <a:lnTo>
                    <a:pt x="16" y="172"/>
                  </a:lnTo>
                  <a:lnTo>
                    <a:pt x="26" y="160"/>
                  </a:lnTo>
                  <a:lnTo>
                    <a:pt x="40" y="154"/>
                  </a:lnTo>
                  <a:lnTo>
                    <a:pt x="62" y="152"/>
                  </a:lnTo>
                  <a:lnTo>
                    <a:pt x="68" y="138"/>
                  </a:lnTo>
                  <a:lnTo>
                    <a:pt x="68" y="126"/>
                  </a:lnTo>
                  <a:lnTo>
                    <a:pt x="70" y="120"/>
                  </a:lnTo>
                  <a:lnTo>
                    <a:pt x="72" y="106"/>
                  </a:lnTo>
                  <a:lnTo>
                    <a:pt x="70" y="94"/>
                  </a:lnTo>
                  <a:lnTo>
                    <a:pt x="64" y="86"/>
                  </a:lnTo>
                  <a:lnTo>
                    <a:pt x="64" y="74"/>
                  </a:lnTo>
                  <a:lnTo>
                    <a:pt x="66" y="72"/>
                  </a:lnTo>
                  <a:lnTo>
                    <a:pt x="76" y="74"/>
                  </a:lnTo>
                  <a:lnTo>
                    <a:pt x="76" y="68"/>
                  </a:lnTo>
                  <a:lnTo>
                    <a:pt x="64" y="64"/>
                  </a:lnTo>
                  <a:lnTo>
                    <a:pt x="64" y="58"/>
                  </a:lnTo>
                  <a:lnTo>
                    <a:pt x="92" y="56"/>
                  </a:lnTo>
                  <a:lnTo>
                    <a:pt x="102" y="54"/>
                  </a:lnTo>
                  <a:lnTo>
                    <a:pt x="108" y="56"/>
                  </a:lnTo>
                  <a:lnTo>
                    <a:pt x="112" y="62"/>
                  </a:lnTo>
                  <a:lnTo>
                    <a:pt x="120" y="70"/>
                  </a:lnTo>
                  <a:lnTo>
                    <a:pt x="130" y="72"/>
                  </a:lnTo>
                  <a:lnTo>
                    <a:pt x="144" y="68"/>
                  </a:lnTo>
                  <a:lnTo>
                    <a:pt x="150" y="62"/>
                  </a:lnTo>
                  <a:lnTo>
                    <a:pt x="156" y="56"/>
                  </a:lnTo>
                  <a:lnTo>
                    <a:pt x="168" y="52"/>
                  </a:lnTo>
                  <a:lnTo>
                    <a:pt x="168" y="44"/>
                  </a:lnTo>
                  <a:lnTo>
                    <a:pt x="162" y="44"/>
                  </a:lnTo>
                  <a:lnTo>
                    <a:pt x="156" y="36"/>
                  </a:lnTo>
                  <a:lnTo>
                    <a:pt x="154" y="26"/>
                  </a:lnTo>
                  <a:lnTo>
                    <a:pt x="148" y="20"/>
                  </a:lnTo>
                  <a:lnTo>
                    <a:pt x="154" y="18"/>
                  </a:lnTo>
                  <a:lnTo>
                    <a:pt x="162" y="22"/>
                  </a:lnTo>
                  <a:lnTo>
                    <a:pt x="174" y="22"/>
                  </a:lnTo>
                  <a:lnTo>
                    <a:pt x="178" y="24"/>
                  </a:lnTo>
                  <a:lnTo>
                    <a:pt x="184" y="20"/>
                  </a:lnTo>
                  <a:lnTo>
                    <a:pt x="194" y="18"/>
                  </a:lnTo>
                  <a:lnTo>
                    <a:pt x="206" y="14"/>
                  </a:lnTo>
                  <a:lnTo>
                    <a:pt x="210" y="4"/>
                  </a:lnTo>
                  <a:lnTo>
                    <a:pt x="208" y="0"/>
                  </a:lnTo>
                  <a:lnTo>
                    <a:pt x="220" y="0"/>
                  </a:lnTo>
                  <a:lnTo>
                    <a:pt x="228" y="22"/>
                  </a:lnTo>
                  <a:lnTo>
                    <a:pt x="222" y="28"/>
                  </a:lnTo>
                  <a:lnTo>
                    <a:pt x="222" y="48"/>
                  </a:lnTo>
                  <a:lnTo>
                    <a:pt x="228" y="56"/>
                  </a:lnTo>
                  <a:lnTo>
                    <a:pt x="236" y="64"/>
                  </a:lnTo>
                  <a:lnTo>
                    <a:pt x="244" y="64"/>
                  </a:lnTo>
                  <a:lnTo>
                    <a:pt x="254" y="62"/>
                  </a:lnTo>
                  <a:lnTo>
                    <a:pt x="260" y="58"/>
                  </a:lnTo>
                  <a:lnTo>
                    <a:pt x="268" y="54"/>
                  </a:lnTo>
                  <a:lnTo>
                    <a:pt x="272" y="50"/>
                  </a:lnTo>
                  <a:lnTo>
                    <a:pt x="276" y="54"/>
                  </a:lnTo>
                  <a:lnTo>
                    <a:pt x="282" y="54"/>
                  </a:lnTo>
                  <a:lnTo>
                    <a:pt x="284" y="54"/>
                  </a:lnTo>
                  <a:lnTo>
                    <a:pt x="286" y="48"/>
                  </a:lnTo>
                  <a:lnTo>
                    <a:pt x="286" y="44"/>
                  </a:lnTo>
                  <a:lnTo>
                    <a:pt x="290" y="44"/>
                  </a:lnTo>
                  <a:lnTo>
                    <a:pt x="300" y="46"/>
                  </a:lnTo>
                  <a:lnTo>
                    <a:pt x="310" y="50"/>
                  </a:lnTo>
                  <a:lnTo>
                    <a:pt x="316" y="50"/>
                  </a:lnTo>
                  <a:lnTo>
                    <a:pt x="322" y="46"/>
                  </a:lnTo>
                  <a:lnTo>
                    <a:pt x="332" y="48"/>
                  </a:lnTo>
                  <a:lnTo>
                    <a:pt x="338" y="52"/>
                  </a:lnTo>
                  <a:lnTo>
                    <a:pt x="350" y="24"/>
                  </a:lnTo>
                  <a:lnTo>
                    <a:pt x="356" y="1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21" name="Freeform 256"/>
            <p:cNvSpPr>
              <a:spLocks/>
            </p:cNvSpPr>
            <p:nvPr/>
          </p:nvSpPr>
          <p:spPr bwMode="gray">
            <a:xfrm>
              <a:off x="4581525" y="3478213"/>
              <a:ext cx="76200" cy="147637"/>
            </a:xfrm>
            <a:custGeom>
              <a:avLst/>
              <a:gdLst>
                <a:gd name="T0" fmla="*/ 2147483647 w 65"/>
                <a:gd name="T1" fmla="*/ 2147483647 h 122"/>
                <a:gd name="T2" fmla="*/ 2147483647 w 65"/>
                <a:gd name="T3" fmla="*/ 0 h 122"/>
                <a:gd name="T4" fmla="*/ 2147483647 w 65"/>
                <a:gd name="T5" fmla="*/ 0 h 122"/>
                <a:gd name="T6" fmla="*/ 2147483647 w 65"/>
                <a:gd name="T7" fmla="*/ 2147483647 h 122"/>
                <a:gd name="T8" fmla="*/ 2147483647 w 65"/>
                <a:gd name="T9" fmla="*/ 2147483647 h 122"/>
                <a:gd name="T10" fmla="*/ 2147483647 w 65"/>
                <a:gd name="T11" fmla="*/ 2147483647 h 122"/>
                <a:gd name="T12" fmla="*/ 2147483647 w 65"/>
                <a:gd name="T13" fmla="*/ 2147483647 h 122"/>
                <a:gd name="T14" fmla="*/ 2147483647 w 65"/>
                <a:gd name="T15" fmla="*/ 2147483647 h 122"/>
                <a:gd name="T16" fmla="*/ 2147483647 w 65"/>
                <a:gd name="T17" fmla="*/ 2147483647 h 122"/>
                <a:gd name="T18" fmla="*/ 2147483647 w 65"/>
                <a:gd name="T19" fmla="*/ 2147483647 h 122"/>
                <a:gd name="T20" fmla="*/ 2147483647 w 65"/>
                <a:gd name="T21" fmla="*/ 2147483647 h 122"/>
                <a:gd name="T22" fmla="*/ 2147483647 w 65"/>
                <a:gd name="T23" fmla="*/ 2147483647 h 122"/>
                <a:gd name="T24" fmla="*/ 2147483647 w 65"/>
                <a:gd name="T25" fmla="*/ 2147483647 h 122"/>
                <a:gd name="T26" fmla="*/ 2147483647 w 65"/>
                <a:gd name="T27" fmla="*/ 2147483647 h 122"/>
                <a:gd name="T28" fmla="*/ 2147483647 w 65"/>
                <a:gd name="T29" fmla="*/ 2147483647 h 122"/>
                <a:gd name="T30" fmla="*/ 2147483647 w 65"/>
                <a:gd name="T31" fmla="*/ 2147483647 h 122"/>
                <a:gd name="T32" fmla="*/ 2147483647 w 65"/>
                <a:gd name="T33" fmla="*/ 2147483647 h 122"/>
                <a:gd name="T34" fmla="*/ 2147483647 w 65"/>
                <a:gd name="T35" fmla="*/ 2147483647 h 122"/>
                <a:gd name="T36" fmla="*/ 2147483647 w 65"/>
                <a:gd name="T37" fmla="*/ 2147483647 h 122"/>
                <a:gd name="T38" fmla="*/ 2147483647 w 65"/>
                <a:gd name="T39" fmla="*/ 2147483647 h 122"/>
                <a:gd name="T40" fmla="*/ 2147483647 w 65"/>
                <a:gd name="T41" fmla="*/ 2147483647 h 122"/>
                <a:gd name="T42" fmla="*/ 2147483647 w 65"/>
                <a:gd name="T43" fmla="*/ 2147483647 h 122"/>
                <a:gd name="T44" fmla="*/ 2147483647 w 65"/>
                <a:gd name="T45" fmla="*/ 2147483647 h 122"/>
                <a:gd name="T46" fmla="*/ 2147483647 w 65"/>
                <a:gd name="T47" fmla="*/ 2147483647 h 122"/>
                <a:gd name="T48" fmla="*/ 2147483647 w 65"/>
                <a:gd name="T49" fmla="*/ 2147483647 h 122"/>
                <a:gd name="T50" fmla="*/ 2147483647 w 65"/>
                <a:gd name="T51" fmla="*/ 2147483647 h 122"/>
                <a:gd name="T52" fmla="*/ 2147483647 w 65"/>
                <a:gd name="T53" fmla="*/ 2147483647 h 122"/>
                <a:gd name="T54" fmla="*/ 2147483647 w 65"/>
                <a:gd name="T55" fmla="*/ 2147483647 h 122"/>
                <a:gd name="T56" fmla="*/ 0 w 65"/>
                <a:gd name="T57" fmla="*/ 2147483647 h 122"/>
                <a:gd name="T58" fmla="*/ 0 w 65"/>
                <a:gd name="T59" fmla="*/ 2147483647 h 122"/>
                <a:gd name="T60" fmla="*/ 2147483647 w 65"/>
                <a:gd name="T61" fmla="*/ 2147483647 h 122"/>
                <a:gd name="T62" fmla="*/ 2147483647 w 65"/>
                <a:gd name="T63" fmla="*/ 2147483647 h 122"/>
                <a:gd name="T64" fmla="*/ 2147483647 w 65"/>
                <a:gd name="T65" fmla="*/ 2147483647 h 12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5"/>
                <a:gd name="T100" fmla="*/ 0 h 122"/>
                <a:gd name="T101" fmla="*/ 65 w 65"/>
                <a:gd name="T102" fmla="*/ 122 h 12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5" h="122">
                  <a:moveTo>
                    <a:pt x="16" y="6"/>
                  </a:moveTo>
                  <a:lnTo>
                    <a:pt x="30" y="0"/>
                  </a:lnTo>
                  <a:lnTo>
                    <a:pt x="38" y="0"/>
                  </a:lnTo>
                  <a:lnTo>
                    <a:pt x="42" y="8"/>
                  </a:lnTo>
                  <a:lnTo>
                    <a:pt x="48" y="10"/>
                  </a:lnTo>
                  <a:lnTo>
                    <a:pt x="54" y="6"/>
                  </a:lnTo>
                  <a:lnTo>
                    <a:pt x="58" y="8"/>
                  </a:lnTo>
                  <a:lnTo>
                    <a:pt x="56" y="14"/>
                  </a:lnTo>
                  <a:lnTo>
                    <a:pt x="50" y="16"/>
                  </a:lnTo>
                  <a:lnTo>
                    <a:pt x="46" y="24"/>
                  </a:lnTo>
                  <a:lnTo>
                    <a:pt x="50" y="28"/>
                  </a:lnTo>
                  <a:lnTo>
                    <a:pt x="58" y="32"/>
                  </a:lnTo>
                  <a:lnTo>
                    <a:pt x="58" y="38"/>
                  </a:lnTo>
                  <a:lnTo>
                    <a:pt x="52" y="44"/>
                  </a:lnTo>
                  <a:lnTo>
                    <a:pt x="46" y="46"/>
                  </a:lnTo>
                  <a:lnTo>
                    <a:pt x="40" y="54"/>
                  </a:lnTo>
                  <a:lnTo>
                    <a:pt x="44" y="64"/>
                  </a:lnTo>
                  <a:lnTo>
                    <a:pt x="54" y="64"/>
                  </a:lnTo>
                  <a:lnTo>
                    <a:pt x="58" y="70"/>
                  </a:lnTo>
                  <a:lnTo>
                    <a:pt x="65" y="74"/>
                  </a:lnTo>
                  <a:lnTo>
                    <a:pt x="65" y="84"/>
                  </a:lnTo>
                  <a:lnTo>
                    <a:pt x="42" y="100"/>
                  </a:lnTo>
                  <a:lnTo>
                    <a:pt x="42" y="116"/>
                  </a:lnTo>
                  <a:lnTo>
                    <a:pt x="34" y="122"/>
                  </a:lnTo>
                  <a:lnTo>
                    <a:pt x="28" y="120"/>
                  </a:lnTo>
                  <a:lnTo>
                    <a:pt x="26" y="108"/>
                  </a:lnTo>
                  <a:lnTo>
                    <a:pt x="24" y="92"/>
                  </a:lnTo>
                  <a:lnTo>
                    <a:pt x="10" y="76"/>
                  </a:lnTo>
                  <a:lnTo>
                    <a:pt x="0" y="64"/>
                  </a:lnTo>
                  <a:lnTo>
                    <a:pt x="0" y="56"/>
                  </a:lnTo>
                  <a:lnTo>
                    <a:pt x="12" y="46"/>
                  </a:lnTo>
                  <a:lnTo>
                    <a:pt x="12" y="10"/>
                  </a:lnTo>
                  <a:lnTo>
                    <a:pt x="16" y="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22" name="Freeform 257"/>
            <p:cNvSpPr>
              <a:spLocks/>
            </p:cNvSpPr>
            <p:nvPr/>
          </p:nvSpPr>
          <p:spPr bwMode="gray">
            <a:xfrm>
              <a:off x="4327525" y="2946400"/>
              <a:ext cx="150813" cy="233363"/>
            </a:xfrm>
            <a:custGeom>
              <a:avLst/>
              <a:gdLst>
                <a:gd name="T0" fmla="*/ 2147483647 w 126"/>
                <a:gd name="T1" fmla="*/ 2147483647 h 192"/>
                <a:gd name="T2" fmla="*/ 2147483647 w 126"/>
                <a:gd name="T3" fmla="*/ 2147483647 h 192"/>
                <a:gd name="T4" fmla="*/ 2147483647 w 126"/>
                <a:gd name="T5" fmla="*/ 2147483647 h 192"/>
                <a:gd name="T6" fmla="*/ 2147483647 w 126"/>
                <a:gd name="T7" fmla="*/ 2147483647 h 192"/>
                <a:gd name="T8" fmla="*/ 0 w 126"/>
                <a:gd name="T9" fmla="*/ 2147483647 h 192"/>
                <a:gd name="T10" fmla="*/ 2147483647 w 126"/>
                <a:gd name="T11" fmla="*/ 2147483647 h 192"/>
                <a:gd name="T12" fmla="*/ 2147483647 w 126"/>
                <a:gd name="T13" fmla="*/ 2147483647 h 192"/>
                <a:gd name="T14" fmla="*/ 2147483647 w 126"/>
                <a:gd name="T15" fmla="*/ 0 h 192"/>
                <a:gd name="T16" fmla="*/ 2147483647 w 126"/>
                <a:gd name="T17" fmla="*/ 2147483647 h 192"/>
                <a:gd name="T18" fmla="*/ 2147483647 w 126"/>
                <a:gd name="T19" fmla="*/ 2147483647 h 192"/>
                <a:gd name="T20" fmla="*/ 2147483647 w 126"/>
                <a:gd name="T21" fmla="*/ 2147483647 h 192"/>
                <a:gd name="T22" fmla="*/ 2147483647 w 126"/>
                <a:gd name="T23" fmla="*/ 2147483647 h 192"/>
                <a:gd name="T24" fmla="*/ 2147483647 w 126"/>
                <a:gd name="T25" fmla="*/ 2147483647 h 192"/>
                <a:gd name="T26" fmla="*/ 2147483647 w 126"/>
                <a:gd name="T27" fmla="*/ 2147483647 h 192"/>
                <a:gd name="T28" fmla="*/ 2147483647 w 126"/>
                <a:gd name="T29" fmla="*/ 2147483647 h 192"/>
                <a:gd name="T30" fmla="*/ 2147483647 w 126"/>
                <a:gd name="T31" fmla="*/ 2147483647 h 192"/>
                <a:gd name="T32" fmla="*/ 2147483647 w 126"/>
                <a:gd name="T33" fmla="*/ 2147483647 h 192"/>
                <a:gd name="T34" fmla="*/ 2147483647 w 126"/>
                <a:gd name="T35" fmla="*/ 2147483647 h 192"/>
                <a:gd name="T36" fmla="*/ 2147483647 w 126"/>
                <a:gd name="T37" fmla="*/ 2147483647 h 192"/>
                <a:gd name="T38" fmla="*/ 2147483647 w 126"/>
                <a:gd name="T39" fmla="*/ 2147483647 h 192"/>
                <a:gd name="T40" fmla="*/ 2147483647 w 126"/>
                <a:gd name="T41" fmla="*/ 2147483647 h 192"/>
                <a:gd name="T42" fmla="*/ 2147483647 w 126"/>
                <a:gd name="T43" fmla="*/ 2147483647 h 192"/>
                <a:gd name="T44" fmla="*/ 2147483647 w 126"/>
                <a:gd name="T45" fmla="*/ 2147483647 h 192"/>
                <a:gd name="T46" fmla="*/ 2147483647 w 126"/>
                <a:gd name="T47" fmla="*/ 2147483647 h 192"/>
                <a:gd name="T48" fmla="*/ 2147483647 w 126"/>
                <a:gd name="T49" fmla="*/ 2147483647 h 192"/>
                <a:gd name="T50" fmla="*/ 2147483647 w 126"/>
                <a:gd name="T51" fmla="*/ 2147483647 h 192"/>
                <a:gd name="T52" fmla="*/ 2147483647 w 126"/>
                <a:gd name="T53" fmla="*/ 2147483647 h 192"/>
                <a:gd name="T54" fmla="*/ 2147483647 w 126"/>
                <a:gd name="T55" fmla="*/ 2147483647 h 192"/>
                <a:gd name="T56" fmla="*/ 2147483647 w 126"/>
                <a:gd name="T57" fmla="*/ 2147483647 h 192"/>
                <a:gd name="T58" fmla="*/ 2147483647 w 126"/>
                <a:gd name="T59" fmla="*/ 2147483647 h 192"/>
                <a:gd name="T60" fmla="*/ 2147483647 w 126"/>
                <a:gd name="T61" fmla="*/ 2147483647 h 192"/>
                <a:gd name="T62" fmla="*/ 2147483647 w 126"/>
                <a:gd name="T63" fmla="*/ 2147483647 h 192"/>
                <a:gd name="T64" fmla="*/ 2147483647 w 126"/>
                <a:gd name="T65" fmla="*/ 2147483647 h 192"/>
                <a:gd name="T66" fmla="*/ 2147483647 w 126"/>
                <a:gd name="T67" fmla="*/ 2147483647 h 192"/>
                <a:gd name="T68" fmla="*/ 2147483647 w 126"/>
                <a:gd name="T69" fmla="*/ 2147483647 h 19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26"/>
                <a:gd name="T106" fmla="*/ 0 h 192"/>
                <a:gd name="T107" fmla="*/ 126 w 126"/>
                <a:gd name="T108" fmla="*/ 192 h 19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26" h="192">
                  <a:moveTo>
                    <a:pt x="44" y="86"/>
                  </a:moveTo>
                  <a:lnTo>
                    <a:pt x="38" y="84"/>
                  </a:lnTo>
                  <a:lnTo>
                    <a:pt x="32" y="92"/>
                  </a:lnTo>
                  <a:lnTo>
                    <a:pt x="16" y="90"/>
                  </a:lnTo>
                  <a:lnTo>
                    <a:pt x="14" y="82"/>
                  </a:lnTo>
                  <a:lnTo>
                    <a:pt x="20" y="76"/>
                  </a:lnTo>
                  <a:lnTo>
                    <a:pt x="18" y="62"/>
                  </a:lnTo>
                  <a:lnTo>
                    <a:pt x="14" y="60"/>
                  </a:lnTo>
                  <a:lnTo>
                    <a:pt x="6" y="64"/>
                  </a:lnTo>
                  <a:lnTo>
                    <a:pt x="0" y="60"/>
                  </a:lnTo>
                  <a:lnTo>
                    <a:pt x="10" y="48"/>
                  </a:lnTo>
                  <a:lnTo>
                    <a:pt x="4" y="44"/>
                  </a:lnTo>
                  <a:lnTo>
                    <a:pt x="0" y="36"/>
                  </a:lnTo>
                  <a:lnTo>
                    <a:pt x="2" y="20"/>
                  </a:lnTo>
                  <a:lnTo>
                    <a:pt x="12" y="20"/>
                  </a:lnTo>
                  <a:lnTo>
                    <a:pt x="16" y="0"/>
                  </a:lnTo>
                  <a:lnTo>
                    <a:pt x="44" y="2"/>
                  </a:lnTo>
                  <a:lnTo>
                    <a:pt x="28" y="26"/>
                  </a:lnTo>
                  <a:lnTo>
                    <a:pt x="64" y="26"/>
                  </a:lnTo>
                  <a:lnTo>
                    <a:pt x="60" y="38"/>
                  </a:lnTo>
                  <a:lnTo>
                    <a:pt x="48" y="50"/>
                  </a:lnTo>
                  <a:lnTo>
                    <a:pt x="40" y="58"/>
                  </a:lnTo>
                  <a:lnTo>
                    <a:pt x="36" y="66"/>
                  </a:lnTo>
                  <a:lnTo>
                    <a:pt x="42" y="70"/>
                  </a:lnTo>
                  <a:lnTo>
                    <a:pt x="52" y="66"/>
                  </a:lnTo>
                  <a:lnTo>
                    <a:pt x="66" y="68"/>
                  </a:lnTo>
                  <a:lnTo>
                    <a:pt x="70" y="78"/>
                  </a:lnTo>
                  <a:lnTo>
                    <a:pt x="72" y="90"/>
                  </a:lnTo>
                  <a:lnTo>
                    <a:pt x="84" y="98"/>
                  </a:lnTo>
                  <a:lnTo>
                    <a:pt x="92" y="110"/>
                  </a:lnTo>
                  <a:lnTo>
                    <a:pt x="94" y="118"/>
                  </a:lnTo>
                  <a:lnTo>
                    <a:pt x="98" y="130"/>
                  </a:lnTo>
                  <a:lnTo>
                    <a:pt x="106" y="132"/>
                  </a:lnTo>
                  <a:lnTo>
                    <a:pt x="116" y="130"/>
                  </a:lnTo>
                  <a:lnTo>
                    <a:pt x="126" y="138"/>
                  </a:lnTo>
                  <a:lnTo>
                    <a:pt x="120" y="148"/>
                  </a:lnTo>
                  <a:lnTo>
                    <a:pt x="110" y="154"/>
                  </a:lnTo>
                  <a:lnTo>
                    <a:pt x="102" y="160"/>
                  </a:lnTo>
                  <a:lnTo>
                    <a:pt x="108" y="162"/>
                  </a:lnTo>
                  <a:lnTo>
                    <a:pt x="116" y="166"/>
                  </a:lnTo>
                  <a:lnTo>
                    <a:pt x="108" y="172"/>
                  </a:lnTo>
                  <a:lnTo>
                    <a:pt x="96" y="176"/>
                  </a:lnTo>
                  <a:lnTo>
                    <a:pt x="46" y="176"/>
                  </a:lnTo>
                  <a:lnTo>
                    <a:pt x="38" y="176"/>
                  </a:lnTo>
                  <a:lnTo>
                    <a:pt x="38" y="184"/>
                  </a:lnTo>
                  <a:lnTo>
                    <a:pt x="22" y="184"/>
                  </a:lnTo>
                  <a:lnTo>
                    <a:pt x="10" y="192"/>
                  </a:lnTo>
                  <a:lnTo>
                    <a:pt x="6" y="188"/>
                  </a:lnTo>
                  <a:lnTo>
                    <a:pt x="24" y="172"/>
                  </a:lnTo>
                  <a:lnTo>
                    <a:pt x="34" y="164"/>
                  </a:lnTo>
                  <a:lnTo>
                    <a:pt x="46" y="164"/>
                  </a:lnTo>
                  <a:lnTo>
                    <a:pt x="54" y="162"/>
                  </a:lnTo>
                  <a:lnTo>
                    <a:pt x="56" y="154"/>
                  </a:lnTo>
                  <a:lnTo>
                    <a:pt x="48" y="160"/>
                  </a:lnTo>
                  <a:lnTo>
                    <a:pt x="38" y="158"/>
                  </a:lnTo>
                  <a:lnTo>
                    <a:pt x="30" y="158"/>
                  </a:lnTo>
                  <a:lnTo>
                    <a:pt x="24" y="154"/>
                  </a:lnTo>
                  <a:lnTo>
                    <a:pt x="14" y="158"/>
                  </a:lnTo>
                  <a:lnTo>
                    <a:pt x="10" y="154"/>
                  </a:lnTo>
                  <a:lnTo>
                    <a:pt x="18" y="148"/>
                  </a:lnTo>
                  <a:lnTo>
                    <a:pt x="26" y="142"/>
                  </a:lnTo>
                  <a:lnTo>
                    <a:pt x="34" y="136"/>
                  </a:lnTo>
                  <a:lnTo>
                    <a:pt x="34" y="130"/>
                  </a:lnTo>
                  <a:lnTo>
                    <a:pt x="24" y="128"/>
                  </a:lnTo>
                  <a:lnTo>
                    <a:pt x="24" y="120"/>
                  </a:lnTo>
                  <a:lnTo>
                    <a:pt x="48" y="122"/>
                  </a:lnTo>
                  <a:lnTo>
                    <a:pt x="48" y="112"/>
                  </a:lnTo>
                  <a:lnTo>
                    <a:pt x="52" y="102"/>
                  </a:lnTo>
                  <a:lnTo>
                    <a:pt x="38" y="94"/>
                  </a:lnTo>
                  <a:lnTo>
                    <a:pt x="44" y="8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23" name="Freeform 258"/>
            <p:cNvSpPr>
              <a:spLocks/>
            </p:cNvSpPr>
            <p:nvPr/>
          </p:nvSpPr>
          <p:spPr bwMode="gray">
            <a:xfrm>
              <a:off x="4260850" y="3363913"/>
              <a:ext cx="63500" cy="115887"/>
            </a:xfrm>
            <a:custGeom>
              <a:avLst/>
              <a:gdLst>
                <a:gd name="T0" fmla="*/ 2147483647 w 54"/>
                <a:gd name="T1" fmla="*/ 2147483647 h 96"/>
                <a:gd name="T2" fmla="*/ 2147483647 w 54"/>
                <a:gd name="T3" fmla="*/ 2147483647 h 96"/>
                <a:gd name="T4" fmla="*/ 2147483647 w 54"/>
                <a:gd name="T5" fmla="*/ 2147483647 h 96"/>
                <a:gd name="T6" fmla="*/ 2147483647 w 54"/>
                <a:gd name="T7" fmla="*/ 2147483647 h 96"/>
                <a:gd name="T8" fmla="*/ 2147483647 w 54"/>
                <a:gd name="T9" fmla="*/ 2147483647 h 96"/>
                <a:gd name="T10" fmla="*/ 2147483647 w 54"/>
                <a:gd name="T11" fmla="*/ 2147483647 h 96"/>
                <a:gd name="T12" fmla="*/ 0 w 54"/>
                <a:gd name="T13" fmla="*/ 2147483647 h 96"/>
                <a:gd name="T14" fmla="*/ 2147483647 w 54"/>
                <a:gd name="T15" fmla="*/ 2147483647 h 96"/>
                <a:gd name="T16" fmla="*/ 2147483647 w 54"/>
                <a:gd name="T17" fmla="*/ 2147483647 h 96"/>
                <a:gd name="T18" fmla="*/ 2147483647 w 54"/>
                <a:gd name="T19" fmla="*/ 2147483647 h 96"/>
                <a:gd name="T20" fmla="*/ 2147483647 w 54"/>
                <a:gd name="T21" fmla="*/ 2147483647 h 96"/>
                <a:gd name="T22" fmla="*/ 2147483647 w 54"/>
                <a:gd name="T23" fmla="*/ 0 h 96"/>
                <a:gd name="T24" fmla="*/ 2147483647 w 54"/>
                <a:gd name="T25" fmla="*/ 2147483647 h 96"/>
                <a:gd name="T26" fmla="*/ 2147483647 w 54"/>
                <a:gd name="T27" fmla="*/ 2147483647 h 96"/>
                <a:gd name="T28" fmla="*/ 2147483647 w 54"/>
                <a:gd name="T29" fmla="*/ 2147483647 h 96"/>
                <a:gd name="T30" fmla="*/ 2147483647 w 54"/>
                <a:gd name="T31" fmla="*/ 2147483647 h 96"/>
                <a:gd name="T32" fmla="*/ 2147483647 w 54"/>
                <a:gd name="T33" fmla="*/ 2147483647 h 96"/>
                <a:gd name="T34" fmla="*/ 2147483647 w 54"/>
                <a:gd name="T35" fmla="*/ 2147483647 h 96"/>
                <a:gd name="T36" fmla="*/ 2147483647 w 54"/>
                <a:gd name="T37" fmla="*/ 2147483647 h 96"/>
                <a:gd name="T38" fmla="*/ 2147483647 w 54"/>
                <a:gd name="T39" fmla="*/ 2147483647 h 96"/>
                <a:gd name="T40" fmla="*/ 2147483647 w 54"/>
                <a:gd name="T41" fmla="*/ 2147483647 h 96"/>
                <a:gd name="T42" fmla="*/ 2147483647 w 54"/>
                <a:gd name="T43" fmla="*/ 2147483647 h 96"/>
                <a:gd name="T44" fmla="*/ 2147483647 w 54"/>
                <a:gd name="T45" fmla="*/ 2147483647 h 96"/>
                <a:gd name="T46" fmla="*/ 2147483647 w 54"/>
                <a:gd name="T47" fmla="*/ 2147483647 h 96"/>
                <a:gd name="T48" fmla="*/ 2147483647 w 54"/>
                <a:gd name="T49" fmla="*/ 2147483647 h 96"/>
                <a:gd name="T50" fmla="*/ 2147483647 w 54"/>
                <a:gd name="T51" fmla="*/ 2147483647 h 96"/>
                <a:gd name="T52" fmla="*/ 2147483647 w 54"/>
                <a:gd name="T53" fmla="*/ 2147483647 h 96"/>
                <a:gd name="T54" fmla="*/ 2147483647 w 54"/>
                <a:gd name="T55" fmla="*/ 2147483647 h 96"/>
                <a:gd name="T56" fmla="*/ 2147483647 w 54"/>
                <a:gd name="T57" fmla="*/ 2147483647 h 96"/>
                <a:gd name="T58" fmla="*/ 2147483647 w 54"/>
                <a:gd name="T59" fmla="*/ 2147483647 h 9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54"/>
                <a:gd name="T91" fmla="*/ 0 h 96"/>
                <a:gd name="T92" fmla="*/ 54 w 54"/>
                <a:gd name="T93" fmla="*/ 96 h 9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54" h="96">
                  <a:moveTo>
                    <a:pt x="36" y="96"/>
                  </a:moveTo>
                  <a:lnTo>
                    <a:pt x="24" y="96"/>
                  </a:lnTo>
                  <a:lnTo>
                    <a:pt x="12" y="96"/>
                  </a:lnTo>
                  <a:lnTo>
                    <a:pt x="12" y="88"/>
                  </a:lnTo>
                  <a:lnTo>
                    <a:pt x="12" y="72"/>
                  </a:lnTo>
                  <a:lnTo>
                    <a:pt x="8" y="70"/>
                  </a:lnTo>
                  <a:lnTo>
                    <a:pt x="0" y="60"/>
                  </a:lnTo>
                  <a:lnTo>
                    <a:pt x="8" y="50"/>
                  </a:lnTo>
                  <a:lnTo>
                    <a:pt x="10" y="40"/>
                  </a:lnTo>
                  <a:lnTo>
                    <a:pt x="14" y="26"/>
                  </a:lnTo>
                  <a:lnTo>
                    <a:pt x="12" y="14"/>
                  </a:lnTo>
                  <a:lnTo>
                    <a:pt x="14" y="0"/>
                  </a:lnTo>
                  <a:lnTo>
                    <a:pt x="20" y="2"/>
                  </a:lnTo>
                  <a:lnTo>
                    <a:pt x="26" y="8"/>
                  </a:lnTo>
                  <a:lnTo>
                    <a:pt x="38" y="6"/>
                  </a:lnTo>
                  <a:lnTo>
                    <a:pt x="48" y="6"/>
                  </a:lnTo>
                  <a:lnTo>
                    <a:pt x="54" y="14"/>
                  </a:lnTo>
                  <a:lnTo>
                    <a:pt x="52" y="20"/>
                  </a:lnTo>
                  <a:lnTo>
                    <a:pt x="42" y="22"/>
                  </a:lnTo>
                  <a:lnTo>
                    <a:pt x="42" y="36"/>
                  </a:lnTo>
                  <a:lnTo>
                    <a:pt x="42" y="46"/>
                  </a:lnTo>
                  <a:lnTo>
                    <a:pt x="40" y="50"/>
                  </a:lnTo>
                  <a:lnTo>
                    <a:pt x="34" y="54"/>
                  </a:lnTo>
                  <a:lnTo>
                    <a:pt x="34" y="58"/>
                  </a:lnTo>
                  <a:lnTo>
                    <a:pt x="40" y="66"/>
                  </a:lnTo>
                  <a:lnTo>
                    <a:pt x="34" y="70"/>
                  </a:lnTo>
                  <a:lnTo>
                    <a:pt x="36" y="76"/>
                  </a:lnTo>
                  <a:lnTo>
                    <a:pt x="38" y="82"/>
                  </a:lnTo>
                  <a:lnTo>
                    <a:pt x="32" y="86"/>
                  </a:lnTo>
                  <a:lnTo>
                    <a:pt x="36" y="96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24" name="Freeform 259"/>
            <p:cNvSpPr>
              <a:spLocks/>
            </p:cNvSpPr>
            <p:nvPr/>
          </p:nvSpPr>
          <p:spPr bwMode="gray">
            <a:xfrm>
              <a:off x="4267200" y="3328988"/>
              <a:ext cx="231775" cy="173037"/>
            </a:xfrm>
            <a:custGeom>
              <a:avLst/>
              <a:gdLst>
                <a:gd name="T0" fmla="*/ 2147483647 w 196"/>
                <a:gd name="T1" fmla="*/ 2147483647 h 142"/>
                <a:gd name="T2" fmla="*/ 2147483647 w 196"/>
                <a:gd name="T3" fmla="*/ 2147483647 h 142"/>
                <a:gd name="T4" fmla="*/ 0 w 196"/>
                <a:gd name="T5" fmla="*/ 2147483647 h 142"/>
                <a:gd name="T6" fmla="*/ 2147483647 w 196"/>
                <a:gd name="T7" fmla="*/ 2147483647 h 142"/>
                <a:gd name="T8" fmla="*/ 2147483647 w 196"/>
                <a:gd name="T9" fmla="*/ 2147483647 h 142"/>
                <a:gd name="T10" fmla="*/ 2147483647 w 196"/>
                <a:gd name="T11" fmla="*/ 0 h 142"/>
                <a:gd name="T12" fmla="*/ 2147483647 w 196"/>
                <a:gd name="T13" fmla="*/ 2147483647 h 142"/>
                <a:gd name="T14" fmla="*/ 2147483647 w 196"/>
                <a:gd name="T15" fmla="*/ 2147483647 h 142"/>
                <a:gd name="T16" fmla="*/ 2147483647 w 196"/>
                <a:gd name="T17" fmla="*/ 2147483647 h 142"/>
                <a:gd name="T18" fmla="*/ 2147483647 w 196"/>
                <a:gd name="T19" fmla="*/ 2147483647 h 142"/>
                <a:gd name="T20" fmla="*/ 2147483647 w 196"/>
                <a:gd name="T21" fmla="*/ 2147483647 h 142"/>
                <a:gd name="T22" fmla="*/ 2147483647 w 196"/>
                <a:gd name="T23" fmla="*/ 2147483647 h 142"/>
                <a:gd name="T24" fmla="*/ 2147483647 w 196"/>
                <a:gd name="T25" fmla="*/ 2147483647 h 142"/>
                <a:gd name="T26" fmla="*/ 2147483647 w 196"/>
                <a:gd name="T27" fmla="*/ 2147483647 h 142"/>
                <a:gd name="T28" fmla="*/ 2147483647 w 196"/>
                <a:gd name="T29" fmla="*/ 2147483647 h 142"/>
                <a:gd name="T30" fmla="*/ 2147483647 w 196"/>
                <a:gd name="T31" fmla="*/ 2147483647 h 142"/>
                <a:gd name="T32" fmla="*/ 2147483647 w 196"/>
                <a:gd name="T33" fmla="*/ 2147483647 h 142"/>
                <a:gd name="T34" fmla="*/ 2147483647 w 196"/>
                <a:gd name="T35" fmla="*/ 2147483647 h 142"/>
                <a:gd name="T36" fmla="*/ 2147483647 w 196"/>
                <a:gd name="T37" fmla="*/ 2147483647 h 142"/>
                <a:gd name="T38" fmla="*/ 2147483647 w 196"/>
                <a:gd name="T39" fmla="*/ 2147483647 h 142"/>
                <a:gd name="T40" fmla="*/ 2147483647 w 196"/>
                <a:gd name="T41" fmla="*/ 2147483647 h 142"/>
                <a:gd name="T42" fmla="*/ 2147483647 w 196"/>
                <a:gd name="T43" fmla="*/ 2147483647 h 142"/>
                <a:gd name="T44" fmla="*/ 2147483647 w 196"/>
                <a:gd name="T45" fmla="*/ 2147483647 h 142"/>
                <a:gd name="T46" fmla="*/ 2147483647 w 196"/>
                <a:gd name="T47" fmla="*/ 2147483647 h 142"/>
                <a:gd name="T48" fmla="*/ 2147483647 w 196"/>
                <a:gd name="T49" fmla="*/ 2147483647 h 142"/>
                <a:gd name="T50" fmla="*/ 2147483647 w 196"/>
                <a:gd name="T51" fmla="*/ 2147483647 h 142"/>
                <a:gd name="T52" fmla="*/ 2147483647 w 196"/>
                <a:gd name="T53" fmla="*/ 2147483647 h 142"/>
                <a:gd name="T54" fmla="*/ 2147483647 w 196"/>
                <a:gd name="T55" fmla="*/ 2147483647 h 142"/>
                <a:gd name="T56" fmla="*/ 2147483647 w 196"/>
                <a:gd name="T57" fmla="*/ 2147483647 h 142"/>
                <a:gd name="T58" fmla="*/ 2147483647 w 196"/>
                <a:gd name="T59" fmla="*/ 2147483647 h 142"/>
                <a:gd name="T60" fmla="*/ 2147483647 w 196"/>
                <a:gd name="T61" fmla="*/ 2147483647 h 142"/>
                <a:gd name="T62" fmla="*/ 2147483647 w 196"/>
                <a:gd name="T63" fmla="*/ 2147483647 h 142"/>
                <a:gd name="T64" fmla="*/ 2147483647 w 196"/>
                <a:gd name="T65" fmla="*/ 2147483647 h 142"/>
                <a:gd name="T66" fmla="*/ 2147483647 w 196"/>
                <a:gd name="T67" fmla="*/ 2147483647 h 142"/>
                <a:gd name="T68" fmla="*/ 2147483647 w 196"/>
                <a:gd name="T69" fmla="*/ 2147483647 h 142"/>
                <a:gd name="T70" fmla="*/ 2147483647 w 196"/>
                <a:gd name="T71" fmla="*/ 2147483647 h 142"/>
                <a:gd name="T72" fmla="*/ 2147483647 w 196"/>
                <a:gd name="T73" fmla="*/ 2147483647 h 142"/>
                <a:gd name="T74" fmla="*/ 2147483647 w 196"/>
                <a:gd name="T75" fmla="*/ 2147483647 h 142"/>
                <a:gd name="T76" fmla="*/ 2147483647 w 196"/>
                <a:gd name="T77" fmla="*/ 2147483647 h 142"/>
                <a:gd name="T78" fmla="*/ 2147483647 w 196"/>
                <a:gd name="T79" fmla="*/ 2147483647 h 142"/>
                <a:gd name="T80" fmla="*/ 2147483647 w 196"/>
                <a:gd name="T81" fmla="*/ 2147483647 h 142"/>
                <a:gd name="T82" fmla="*/ 2147483647 w 196"/>
                <a:gd name="T83" fmla="*/ 2147483647 h 142"/>
                <a:gd name="T84" fmla="*/ 2147483647 w 196"/>
                <a:gd name="T85" fmla="*/ 2147483647 h 142"/>
                <a:gd name="T86" fmla="*/ 2147483647 w 196"/>
                <a:gd name="T87" fmla="*/ 2147483647 h 142"/>
                <a:gd name="T88" fmla="*/ 2147483647 w 196"/>
                <a:gd name="T89" fmla="*/ 2147483647 h 142"/>
                <a:gd name="T90" fmla="*/ 2147483647 w 196"/>
                <a:gd name="T91" fmla="*/ 2147483647 h 142"/>
                <a:gd name="T92" fmla="*/ 2147483647 w 196"/>
                <a:gd name="T93" fmla="*/ 2147483647 h 142"/>
                <a:gd name="T94" fmla="*/ 2147483647 w 196"/>
                <a:gd name="T95" fmla="*/ 2147483647 h 142"/>
                <a:gd name="T96" fmla="*/ 2147483647 w 196"/>
                <a:gd name="T97" fmla="*/ 2147483647 h 142"/>
                <a:gd name="T98" fmla="*/ 2147483647 w 196"/>
                <a:gd name="T99" fmla="*/ 2147483647 h 142"/>
                <a:gd name="T100" fmla="*/ 2147483647 w 196"/>
                <a:gd name="T101" fmla="*/ 2147483647 h 142"/>
                <a:gd name="T102" fmla="*/ 2147483647 w 196"/>
                <a:gd name="T103" fmla="*/ 2147483647 h 142"/>
                <a:gd name="T104" fmla="*/ 2147483647 w 196"/>
                <a:gd name="T105" fmla="*/ 2147483647 h 142"/>
                <a:gd name="T106" fmla="*/ 2147483647 w 196"/>
                <a:gd name="T107" fmla="*/ 2147483647 h 142"/>
                <a:gd name="T108" fmla="*/ 2147483647 w 196"/>
                <a:gd name="T109" fmla="*/ 2147483647 h 14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96"/>
                <a:gd name="T166" fmla="*/ 0 h 142"/>
                <a:gd name="T167" fmla="*/ 196 w 196"/>
                <a:gd name="T168" fmla="*/ 142 h 14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96" h="142">
                  <a:moveTo>
                    <a:pt x="10" y="28"/>
                  </a:moveTo>
                  <a:lnTo>
                    <a:pt x="6" y="2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16" y="4"/>
                  </a:lnTo>
                  <a:lnTo>
                    <a:pt x="24" y="0"/>
                  </a:lnTo>
                  <a:lnTo>
                    <a:pt x="46" y="2"/>
                  </a:lnTo>
                  <a:lnTo>
                    <a:pt x="66" y="4"/>
                  </a:lnTo>
                  <a:lnTo>
                    <a:pt x="78" y="8"/>
                  </a:lnTo>
                  <a:lnTo>
                    <a:pt x="96" y="6"/>
                  </a:lnTo>
                  <a:lnTo>
                    <a:pt x="114" y="8"/>
                  </a:lnTo>
                  <a:lnTo>
                    <a:pt x="122" y="8"/>
                  </a:lnTo>
                  <a:lnTo>
                    <a:pt x="136" y="14"/>
                  </a:lnTo>
                  <a:lnTo>
                    <a:pt x="152" y="20"/>
                  </a:lnTo>
                  <a:lnTo>
                    <a:pt x="164" y="18"/>
                  </a:lnTo>
                  <a:lnTo>
                    <a:pt x="178" y="24"/>
                  </a:lnTo>
                  <a:lnTo>
                    <a:pt x="194" y="24"/>
                  </a:lnTo>
                  <a:lnTo>
                    <a:pt x="196" y="28"/>
                  </a:lnTo>
                  <a:lnTo>
                    <a:pt x="194" y="38"/>
                  </a:lnTo>
                  <a:lnTo>
                    <a:pt x="188" y="42"/>
                  </a:lnTo>
                  <a:lnTo>
                    <a:pt x="178" y="48"/>
                  </a:lnTo>
                  <a:lnTo>
                    <a:pt x="166" y="48"/>
                  </a:lnTo>
                  <a:lnTo>
                    <a:pt x="160" y="58"/>
                  </a:lnTo>
                  <a:lnTo>
                    <a:pt x="150" y="68"/>
                  </a:lnTo>
                  <a:lnTo>
                    <a:pt x="144" y="76"/>
                  </a:lnTo>
                  <a:lnTo>
                    <a:pt x="142" y="86"/>
                  </a:lnTo>
                  <a:lnTo>
                    <a:pt x="146" y="96"/>
                  </a:lnTo>
                  <a:lnTo>
                    <a:pt x="140" y="102"/>
                  </a:lnTo>
                  <a:lnTo>
                    <a:pt x="132" y="114"/>
                  </a:lnTo>
                  <a:lnTo>
                    <a:pt x="122" y="116"/>
                  </a:lnTo>
                  <a:lnTo>
                    <a:pt x="116" y="126"/>
                  </a:lnTo>
                  <a:lnTo>
                    <a:pt x="102" y="132"/>
                  </a:lnTo>
                  <a:lnTo>
                    <a:pt x="86" y="132"/>
                  </a:lnTo>
                  <a:lnTo>
                    <a:pt x="74" y="134"/>
                  </a:lnTo>
                  <a:lnTo>
                    <a:pt x="62" y="140"/>
                  </a:lnTo>
                  <a:lnTo>
                    <a:pt x="56" y="142"/>
                  </a:lnTo>
                  <a:lnTo>
                    <a:pt x="46" y="136"/>
                  </a:lnTo>
                  <a:lnTo>
                    <a:pt x="44" y="128"/>
                  </a:lnTo>
                  <a:lnTo>
                    <a:pt x="38" y="124"/>
                  </a:lnTo>
                  <a:lnTo>
                    <a:pt x="32" y="124"/>
                  </a:lnTo>
                  <a:lnTo>
                    <a:pt x="28" y="114"/>
                  </a:lnTo>
                  <a:lnTo>
                    <a:pt x="34" y="110"/>
                  </a:lnTo>
                  <a:lnTo>
                    <a:pt x="30" y="98"/>
                  </a:lnTo>
                  <a:lnTo>
                    <a:pt x="36" y="94"/>
                  </a:lnTo>
                  <a:lnTo>
                    <a:pt x="30" y="86"/>
                  </a:lnTo>
                  <a:lnTo>
                    <a:pt x="30" y="82"/>
                  </a:lnTo>
                  <a:lnTo>
                    <a:pt x="36" y="78"/>
                  </a:lnTo>
                  <a:lnTo>
                    <a:pt x="38" y="74"/>
                  </a:lnTo>
                  <a:lnTo>
                    <a:pt x="38" y="50"/>
                  </a:lnTo>
                  <a:lnTo>
                    <a:pt x="48" y="48"/>
                  </a:lnTo>
                  <a:lnTo>
                    <a:pt x="50" y="42"/>
                  </a:lnTo>
                  <a:lnTo>
                    <a:pt x="44" y="34"/>
                  </a:lnTo>
                  <a:lnTo>
                    <a:pt x="22" y="36"/>
                  </a:lnTo>
                  <a:lnTo>
                    <a:pt x="16" y="30"/>
                  </a:lnTo>
                  <a:lnTo>
                    <a:pt x="10" y="28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25" name="Freeform 260"/>
            <p:cNvSpPr>
              <a:spLocks/>
            </p:cNvSpPr>
            <p:nvPr/>
          </p:nvSpPr>
          <p:spPr bwMode="gray">
            <a:xfrm>
              <a:off x="4503738" y="3087688"/>
              <a:ext cx="71437" cy="68262"/>
            </a:xfrm>
            <a:custGeom>
              <a:avLst/>
              <a:gdLst>
                <a:gd name="T0" fmla="*/ 2147483647 w 60"/>
                <a:gd name="T1" fmla="*/ 2147483647 h 56"/>
                <a:gd name="T2" fmla="*/ 2147483647 w 60"/>
                <a:gd name="T3" fmla="*/ 2147483647 h 56"/>
                <a:gd name="T4" fmla="*/ 2147483647 w 60"/>
                <a:gd name="T5" fmla="*/ 2147483647 h 56"/>
                <a:gd name="T6" fmla="*/ 2147483647 w 60"/>
                <a:gd name="T7" fmla="*/ 2147483647 h 56"/>
                <a:gd name="T8" fmla="*/ 0 w 60"/>
                <a:gd name="T9" fmla="*/ 2147483647 h 56"/>
                <a:gd name="T10" fmla="*/ 2147483647 w 60"/>
                <a:gd name="T11" fmla="*/ 2147483647 h 56"/>
                <a:gd name="T12" fmla="*/ 2147483647 w 60"/>
                <a:gd name="T13" fmla="*/ 2147483647 h 56"/>
                <a:gd name="T14" fmla="*/ 2147483647 w 60"/>
                <a:gd name="T15" fmla="*/ 2147483647 h 56"/>
                <a:gd name="T16" fmla="*/ 2147483647 w 60"/>
                <a:gd name="T17" fmla="*/ 2147483647 h 56"/>
                <a:gd name="T18" fmla="*/ 2147483647 w 60"/>
                <a:gd name="T19" fmla="*/ 2147483647 h 56"/>
                <a:gd name="T20" fmla="*/ 2147483647 w 60"/>
                <a:gd name="T21" fmla="*/ 2147483647 h 56"/>
                <a:gd name="T22" fmla="*/ 2147483647 w 60"/>
                <a:gd name="T23" fmla="*/ 2147483647 h 56"/>
                <a:gd name="T24" fmla="*/ 2147483647 w 60"/>
                <a:gd name="T25" fmla="*/ 2147483647 h 56"/>
                <a:gd name="T26" fmla="*/ 2147483647 w 60"/>
                <a:gd name="T27" fmla="*/ 2147483647 h 56"/>
                <a:gd name="T28" fmla="*/ 2147483647 w 60"/>
                <a:gd name="T29" fmla="*/ 2147483647 h 56"/>
                <a:gd name="T30" fmla="*/ 2147483647 w 60"/>
                <a:gd name="T31" fmla="*/ 0 h 56"/>
                <a:gd name="T32" fmla="*/ 2147483647 w 60"/>
                <a:gd name="T33" fmla="*/ 2147483647 h 56"/>
                <a:gd name="T34" fmla="*/ 2147483647 w 60"/>
                <a:gd name="T35" fmla="*/ 2147483647 h 56"/>
                <a:gd name="T36" fmla="*/ 2147483647 w 60"/>
                <a:gd name="T37" fmla="*/ 2147483647 h 56"/>
                <a:gd name="T38" fmla="*/ 2147483647 w 60"/>
                <a:gd name="T39" fmla="*/ 2147483647 h 56"/>
                <a:gd name="T40" fmla="*/ 2147483647 w 60"/>
                <a:gd name="T41" fmla="*/ 2147483647 h 56"/>
                <a:gd name="T42" fmla="*/ 2147483647 w 60"/>
                <a:gd name="T43" fmla="*/ 2147483647 h 56"/>
                <a:gd name="T44" fmla="*/ 2147483647 w 60"/>
                <a:gd name="T45" fmla="*/ 2147483647 h 5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60"/>
                <a:gd name="T70" fmla="*/ 0 h 56"/>
                <a:gd name="T71" fmla="*/ 60 w 60"/>
                <a:gd name="T72" fmla="*/ 56 h 5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60" h="56">
                  <a:moveTo>
                    <a:pt x="44" y="56"/>
                  </a:moveTo>
                  <a:lnTo>
                    <a:pt x="38" y="50"/>
                  </a:lnTo>
                  <a:lnTo>
                    <a:pt x="26" y="46"/>
                  </a:lnTo>
                  <a:lnTo>
                    <a:pt x="14" y="48"/>
                  </a:lnTo>
                  <a:lnTo>
                    <a:pt x="0" y="48"/>
                  </a:lnTo>
                  <a:lnTo>
                    <a:pt x="10" y="40"/>
                  </a:lnTo>
                  <a:lnTo>
                    <a:pt x="16" y="32"/>
                  </a:lnTo>
                  <a:lnTo>
                    <a:pt x="16" y="22"/>
                  </a:lnTo>
                  <a:lnTo>
                    <a:pt x="18" y="16"/>
                  </a:lnTo>
                  <a:lnTo>
                    <a:pt x="26" y="12"/>
                  </a:lnTo>
                  <a:lnTo>
                    <a:pt x="30" y="18"/>
                  </a:lnTo>
                  <a:lnTo>
                    <a:pt x="32" y="24"/>
                  </a:lnTo>
                  <a:lnTo>
                    <a:pt x="38" y="20"/>
                  </a:lnTo>
                  <a:lnTo>
                    <a:pt x="34" y="8"/>
                  </a:lnTo>
                  <a:lnTo>
                    <a:pt x="42" y="2"/>
                  </a:lnTo>
                  <a:lnTo>
                    <a:pt x="54" y="0"/>
                  </a:lnTo>
                  <a:lnTo>
                    <a:pt x="60" y="14"/>
                  </a:lnTo>
                  <a:lnTo>
                    <a:pt x="56" y="20"/>
                  </a:lnTo>
                  <a:lnTo>
                    <a:pt x="56" y="30"/>
                  </a:lnTo>
                  <a:lnTo>
                    <a:pt x="50" y="34"/>
                  </a:lnTo>
                  <a:lnTo>
                    <a:pt x="44" y="38"/>
                  </a:lnTo>
                  <a:lnTo>
                    <a:pt x="44" y="46"/>
                  </a:lnTo>
                  <a:lnTo>
                    <a:pt x="44" y="56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26" name="Freeform 261"/>
            <p:cNvSpPr>
              <a:spLocks/>
            </p:cNvSpPr>
            <p:nvPr/>
          </p:nvSpPr>
          <p:spPr bwMode="gray">
            <a:xfrm>
              <a:off x="4556125" y="3051175"/>
              <a:ext cx="168275" cy="192088"/>
            </a:xfrm>
            <a:custGeom>
              <a:avLst/>
              <a:gdLst>
                <a:gd name="T0" fmla="*/ 2147483647 w 143"/>
                <a:gd name="T1" fmla="*/ 2147483647 h 158"/>
                <a:gd name="T2" fmla="*/ 2147483647 w 143"/>
                <a:gd name="T3" fmla="*/ 2147483647 h 158"/>
                <a:gd name="T4" fmla="*/ 2147483647 w 143"/>
                <a:gd name="T5" fmla="*/ 2147483647 h 158"/>
                <a:gd name="T6" fmla="*/ 2147483647 w 143"/>
                <a:gd name="T7" fmla="*/ 2147483647 h 158"/>
                <a:gd name="T8" fmla="*/ 2147483647 w 143"/>
                <a:gd name="T9" fmla="*/ 2147483647 h 158"/>
                <a:gd name="T10" fmla="*/ 2147483647 w 143"/>
                <a:gd name="T11" fmla="*/ 2147483647 h 158"/>
                <a:gd name="T12" fmla="*/ 2147483647 w 143"/>
                <a:gd name="T13" fmla="*/ 2147483647 h 158"/>
                <a:gd name="T14" fmla="*/ 2147483647 w 143"/>
                <a:gd name="T15" fmla="*/ 2147483647 h 158"/>
                <a:gd name="T16" fmla="*/ 2147483647 w 143"/>
                <a:gd name="T17" fmla="*/ 2147483647 h 158"/>
                <a:gd name="T18" fmla="*/ 2147483647 w 143"/>
                <a:gd name="T19" fmla="*/ 0 h 158"/>
                <a:gd name="T20" fmla="*/ 2147483647 w 143"/>
                <a:gd name="T21" fmla="*/ 2147483647 h 158"/>
                <a:gd name="T22" fmla="*/ 2147483647 w 143"/>
                <a:gd name="T23" fmla="*/ 2147483647 h 158"/>
                <a:gd name="T24" fmla="*/ 2147483647 w 143"/>
                <a:gd name="T25" fmla="*/ 2147483647 h 158"/>
                <a:gd name="T26" fmla="*/ 2147483647 w 143"/>
                <a:gd name="T27" fmla="*/ 2147483647 h 158"/>
                <a:gd name="T28" fmla="*/ 2147483647 w 143"/>
                <a:gd name="T29" fmla="*/ 2147483647 h 158"/>
                <a:gd name="T30" fmla="*/ 2147483647 w 143"/>
                <a:gd name="T31" fmla="*/ 2147483647 h 158"/>
                <a:gd name="T32" fmla="*/ 2147483647 w 143"/>
                <a:gd name="T33" fmla="*/ 2147483647 h 158"/>
                <a:gd name="T34" fmla="*/ 2147483647 w 143"/>
                <a:gd name="T35" fmla="*/ 2147483647 h 158"/>
                <a:gd name="T36" fmla="*/ 2147483647 w 143"/>
                <a:gd name="T37" fmla="*/ 2147483647 h 158"/>
                <a:gd name="T38" fmla="*/ 2147483647 w 143"/>
                <a:gd name="T39" fmla="*/ 2147483647 h 158"/>
                <a:gd name="T40" fmla="*/ 2147483647 w 143"/>
                <a:gd name="T41" fmla="*/ 2147483647 h 158"/>
                <a:gd name="T42" fmla="*/ 2147483647 w 143"/>
                <a:gd name="T43" fmla="*/ 2147483647 h 158"/>
                <a:gd name="T44" fmla="*/ 2147483647 w 143"/>
                <a:gd name="T45" fmla="*/ 2147483647 h 158"/>
                <a:gd name="T46" fmla="*/ 2147483647 w 143"/>
                <a:gd name="T47" fmla="*/ 2147483647 h 158"/>
                <a:gd name="T48" fmla="*/ 2147483647 w 143"/>
                <a:gd name="T49" fmla="*/ 2147483647 h 158"/>
                <a:gd name="T50" fmla="*/ 2147483647 w 143"/>
                <a:gd name="T51" fmla="*/ 2147483647 h 158"/>
                <a:gd name="T52" fmla="*/ 2147483647 w 143"/>
                <a:gd name="T53" fmla="*/ 2147483647 h 158"/>
                <a:gd name="T54" fmla="*/ 2147483647 w 143"/>
                <a:gd name="T55" fmla="*/ 2147483647 h 158"/>
                <a:gd name="T56" fmla="*/ 2147483647 w 143"/>
                <a:gd name="T57" fmla="*/ 2147483647 h 158"/>
                <a:gd name="T58" fmla="*/ 2147483647 w 143"/>
                <a:gd name="T59" fmla="*/ 2147483647 h 158"/>
                <a:gd name="T60" fmla="*/ 2147483647 w 143"/>
                <a:gd name="T61" fmla="*/ 2147483647 h 158"/>
                <a:gd name="T62" fmla="*/ 2147483647 w 143"/>
                <a:gd name="T63" fmla="*/ 2147483647 h 158"/>
                <a:gd name="T64" fmla="*/ 2147483647 w 143"/>
                <a:gd name="T65" fmla="*/ 2147483647 h 158"/>
                <a:gd name="T66" fmla="*/ 2147483647 w 143"/>
                <a:gd name="T67" fmla="*/ 2147483647 h 158"/>
                <a:gd name="T68" fmla="*/ 2147483647 w 143"/>
                <a:gd name="T69" fmla="*/ 2147483647 h 158"/>
                <a:gd name="T70" fmla="*/ 2147483647 w 143"/>
                <a:gd name="T71" fmla="*/ 2147483647 h 158"/>
                <a:gd name="T72" fmla="*/ 2147483647 w 143"/>
                <a:gd name="T73" fmla="*/ 2147483647 h 158"/>
                <a:gd name="T74" fmla="*/ 2147483647 w 143"/>
                <a:gd name="T75" fmla="*/ 2147483647 h 158"/>
                <a:gd name="T76" fmla="*/ 2147483647 w 143"/>
                <a:gd name="T77" fmla="*/ 2147483647 h 158"/>
                <a:gd name="T78" fmla="*/ 2147483647 w 143"/>
                <a:gd name="T79" fmla="*/ 2147483647 h 158"/>
                <a:gd name="T80" fmla="*/ 2147483647 w 143"/>
                <a:gd name="T81" fmla="*/ 2147483647 h 158"/>
                <a:gd name="T82" fmla="*/ 2147483647 w 143"/>
                <a:gd name="T83" fmla="*/ 2147483647 h 158"/>
                <a:gd name="T84" fmla="*/ 2147483647 w 143"/>
                <a:gd name="T85" fmla="*/ 2147483647 h 158"/>
                <a:gd name="T86" fmla="*/ 2147483647 w 143"/>
                <a:gd name="T87" fmla="*/ 2147483647 h 158"/>
                <a:gd name="T88" fmla="*/ 2147483647 w 143"/>
                <a:gd name="T89" fmla="*/ 2147483647 h 158"/>
                <a:gd name="T90" fmla="*/ 2147483647 w 143"/>
                <a:gd name="T91" fmla="*/ 2147483647 h 158"/>
                <a:gd name="T92" fmla="*/ 2147483647 w 143"/>
                <a:gd name="T93" fmla="*/ 2147483647 h 158"/>
                <a:gd name="T94" fmla="*/ 2147483647 w 143"/>
                <a:gd name="T95" fmla="*/ 2147483647 h 158"/>
                <a:gd name="T96" fmla="*/ 2147483647 w 143"/>
                <a:gd name="T97" fmla="*/ 2147483647 h 158"/>
                <a:gd name="T98" fmla="*/ 2147483647 w 143"/>
                <a:gd name="T99" fmla="*/ 2147483647 h 158"/>
                <a:gd name="T100" fmla="*/ 2147483647 w 143"/>
                <a:gd name="T101" fmla="*/ 2147483647 h 158"/>
                <a:gd name="T102" fmla="*/ 2147483647 w 143"/>
                <a:gd name="T103" fmla="*/ 2147483647 h 158"/>
                <a:gd name="T104" fmla="*/ 2147483647 w 143"/>
                <a:gd name="T105" fmla="*/ 2147483647 h 158"/>
                <a:gd name="T106" fmla="*/ 2147483647 w 143"/>
                <a:gd name="T107" fmla="*/ 2147483647 h 158"/>
                <a:gd name="T108" fmla="*/ 2147483647 w 143"/>
                <a:gd name="T109" fmla="*/ 2147483647 h 158"/>
                <a:gd name="T110" fmla="*/ 2147483647 w 143"/>
                <a:gd name="T111" fmla="*/ 2147483647 h 158"/>
                <a:gd name="T112" fmla="*/ 0 w 143"/>
                <a:gd name="T113" fmla="*/ 2147483647 h 158"/>
                <a:gd name="T114" fmla="*/ 0 w 143"/>
                <a:gd name="T115" fmla="*/ 2147483647 h 158"/>
                <a:gd name="T116" fmla="*/ 2147483647 w 143"/>
                <a:gd name="T117" fmla="*/ 2147483647 h 158"/>
                <a:gd name="T118" fmla="*/ 2147483647 w 143"/>
                <a:gd name="T119" fmla="*/ 2147483647 h 158"/>
                <a:gd name="T120" fmla="*/ 2147483647 w 143"/>
                <a:gd name="T121" fmla="*/ 2147483647 h 158"/>
                <a:gd name="T122" fmla="*/ 2147483647 w 143"/>
                <a:gd name="T123" fmla="*/ 2147483647 h 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3"/>
                <a:gd name="T187" fmla="*/ 0 h 158"/>
                <a:gd name="T188" fmla="*/ 143 w 143"/>
                <a:gd name="T189" fmla="*/ 158 h 158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3" h="158">
                  <a:moveTo>
                    <a:pt x="10" y="30"/>
                  </a:moveTo>
                  <a:lnTo>
                    <a:pt x="18" y="28"/>
                  </a:lnTo>
                  <a:lnTo>
                    <a:pt x="26" y="28"/>
                  </a:lnTo>
                  <a:lnTo>
                    <a:pt x="36" y="32"/>
                  </a:lnTo>
                  <a:lnTo>
                    <a:pt x="40" y="26"/>
                  </a:lnTo>
                  <a:lnTo>
                    <a:pt x="48" y="22"/>
                  </a:lnTo>
                  <a:lnTo>
                    <a:pt x="46" y="16"/>
                  </a:lnTo>
                  <a:lnTo>
                    <a:pt x="44" y="8"/>
                  </a:lnTo>
                  <a:lnTo>
                    <a:pt x="46" y="2"/>
                  </a:lnTo>
                  <a:lnTo>
                    <a:pt x="56" y="0"/>
                  </a:lnTo>
                  <a:lnTo>
                    <a:pt x="62" y="6"/>
                  </a:lnTo>
                  <a:lnTo>
                    <a:pt x="64" y="12"/>
                  </a:lnTo>
                  <a:lnTo>
                    <a:pt x="74" y="16"/>
                  </a:lnTo>
                  <a:lnTo>
                    <a:pt x="80" y="20"/>
                  </a:lnTo>
                  <a:lnTo>
                    <a:pt x="89" y="22"/>
                  </a:lnTo>
                  <a:lnTo>
                    <a:pt x="95" y="16"/>
                  </a:lnTo>
                  <a:lnTo>
                    <a:pt x="109" y="12"/>
                  </a:lnTo>
                  <a:lnTo>
                    <a:pt x="117" y="10"/>
                  </a:lnTo>
                  <a:lnTo>
                    <a:pt x="119" y="16"/>
                  </a:lnTo>
                  <a:lnTo>
                    <a:pt x="131" y="24"/>
                  </a:lnTo>
                  <a:lnTo>
                    <a:pt x="135" y="34"/>
                  </a:lnTo>
                  <a:lnTo>
                    <a:pt x="131" y="46"/>
                  </a:lnTo>
                  <a:lnTo>
                    <a:pt x="139" y="50"/>
                  </a:lnTo>
                  <a:lnTo>
                    <a:pt x="137" y="60"/>
                  </a:lnTo>
                  <a:lnTo>
                    <a:pt x="139" y="74"/>
                  </a:lnTo>
                  <a:lnTo>
                    <a:pt x="143" y="82"/>
                  </a:lnTo>
                  <a:lnTo>
                    <a:pt x="137" y="84"/>
                  </a:lnTo>
                  <a:lnTo>
                    <a:pt x="129" y="86"/>
                  </a:lnTo>
                  <a:lnTo>
                    <a:pt x="119" y="90"/>
                  </a:lnTo>
                  <a:lnTo>
                    <a:pt x="107" y="94"/>
                  </a:lnTo>
                  <a:lnTo>
                    <a:pt x="95" y="100"/>
                  </a:lnTo>
                  <a:lnTo>
                    <a:pt x="103" y="110"/>
                  </a:lnTo>
                  <a:lnTo>
                    <a:pt x="111" y="120"/>
                  </a:lnTo>
                  <a:lnTo>
                    <a:pt x="123" y="128"/>
                  </a:lnTo>
                  <a:lnTo>
                    <a:pt x="123" y="134"/>
                  </a:lnTo>
                  <a:lnTo>
                    <a:pt x="115" y="138"/>
                  </a:lnTo>
                  <a:lnTo>
                    <a:pt x="107" y="142"/>
                  </a:lnTo>
                  <a:lnTo>
                    <a:pt x="107" y="150"/>
                  </a:lnTo>
                  <a:lnTo>
                    <a:pt x="95" y="150"/>
                  </a:lnTo>
                  <a:lnTo>
                    <a:pt x="85" y="156"/>
                  </a:lnTo>
                  <a:lnTo>
                    <a:pt x="56" y="158"/>
                  </a:lnTo>
                  <a:lnTo>
                    <a:pt x="58" y="154"/>
                  </a:lnTo>
                  <a:lnTo>
                    <a:pt x="56" y="152"/>
                  </a:lnTo>
                  <a:lnTo>
                    <a:pt x="48" y="150"/>
                  </a:lnTo>
                  <a:lnTo>
                    <a:pt x="38" y="152"/>
                  </a:lnTo>
                  <a:lnTo>
                    <a:pt x="28" y="152"/>
                  </a:lnTo>
                  <a:lnTo>
                    <a:pt x="22" y="152"/>
                  </a:lnTo>
                  <a:lnTo>
                    <a:pt x="22" y="146"/>
                  </a:lnTo>
                  <a:lnTo>
                    <a:pt x="32" y="126"/>
                  </a:lnTo>
                  <a:lnTo>
                    <a:pt x="30" y="122"/>
                  </a:lnTo>
                  <a:lnTo>
                    <a:pt x="12" y="122"/>
                  </a:lnTo>
                  <a:lnTo>
                    <a:pt x="8" y="118"/>
                  </a:lnTo>
                  <a:lnTo>
                    <a:pt x="2" y="114"/>
                  </a:lnTo>
                  <a:lnTo>
                    <a:pt x="4" y="106"/>
                  </a:lnTo>
                  <a:lnTo>
                    <a:pt x="2" y="102"/>
                  </a:lnTo>
                  <a:lnTo>
                    <a:pt x="4" y="96"/>
                  </a:lnTo>
                  <a:lnTo>
                    <a:pt x="0" y="86"/>
                  </a:lnTo>
                  <a:lnTo>
                    <a:pt x="0" y="68"/>
                  </a:lnTo>
                  <a:lnTo>
                    <a:pt x="12" y="60"/>
                  </a:lnTo>
                  <a:lnTo>
                    <a:pt x="12" y="50"/>
                  </a:lnTo>
                  <a:lnTo>
                    <a:pt x="16" y="44"/>
                  </a:lnTo>
                  <a:lnTo>
                    <a:pt x="10" y="30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27" name="Freeform 262"/>
            <p:cNvSpPr>
              <a:spLocks/>
            </p:cNvSpPr>
            <p:nvPr/>
          </p:nvSpPr>
          <p:spPr bwMode="gray">
            <a:xfrm>
              <a:off x="4668838" y="3151188"/>
              <a:ext cx="128587" cy="60325"/>
            </a:xfrm>
            <a:custGeom>
              <a:avLst/>
              <a:gdLst>
                <a:gd name="T0" fmla="*/ 2147483647 w 110"/>
                <a:gd name="T1" fmla="*/ 0 h 50"/>
                <a:gd name="T2" fmla="*/ 2147483647 w 110"/>
                <a:gd name="T3" fmla="*/ 2147483647 h 50"/>
                <a:gd name="T4" fmla="*/ 2147483647 w 110"/>
                <a:gd name="T5" fmla="*/ 2147483647 h 50"/>
                <a:gd name="T6" fmla="*/ 2147483647 w 110"/>
                <a:gd name="T7" fmla="*/ 2147483647 h 50"/>
                <a:gd name="T8" fmla="*/ 2147483647 w 110"/>
                <a:gd name="T9" fmla="*/ 2147483647 h 50"/>
                <a:gd name="T10" fmla="*/ 2147483647 w 110"/>
                <a:gd name="T11" fmla="*/ 2147483647 h 50"/>
                <a:gd name="T12" fmla="*/ 2147483647 w 110"/>
                <a:gd name="T13" fmla="*/ 2147483647 h 50"/>
                <a:gd name="T14" fmla="*/ 2147483647 w 110"/>
                <a:gd name="T15" fmla="*/ 2147483647 h 50"/>
                <a:gd name="T16" fmla="*/ 2147483647 w 110"/>
                <a:gd name="T17" fmla="*/ 2147483647 h 50"/>
                <a:gd name="T18" fmla="*/ 2147483647 w 110"/>
                <a:gd name="T19" fmla="*/ 2147483647 h 50"/>
                <a:gd name="T20" fmla="*/ 2147483647 w 110"/>
                <a:gd name="T21" fmla="*/ 2147483647 h 50"/>
                <a:gd name="T22" fmla="*/ 2147483647 w 110"/>
                <a:gd name="T23" fmla="*/ 2147483647 h 50"/>
                <a:gd name="T24" fmla="*/ 2147483647 w 110"/>
                <a:gd name="T25" fmla="*/ 2147483647 h 50"/>
                <a:gd name="T26" fmla="*/ 2147483647 w 110"/>
                <a:gd name="T27" fmla="*/ 2147483647 h 50"/>
                <a:gd name="T28" fmla="*/ 2147483647 w 110"/>
                <a:gd name="T29" fmla="*/ 2147483647 h 50"/>
                <a:gd name="T30" fmla="*/ 2147483647 w 110"/>
                <a:gd name="T31" fmla="*/ 2147483647 h 50"/>
                <a:gd name="T32" fmla="*/ 2147483647 w 110"/>
                <a:gd name="T33" fmla="*/ 2147483647 h 50"/>
                <a:gd name="T34" fmla="*/ 2147483647 w 110"/>
                <a:gd name="T35" fmla="*/ 2147483647 h 50"/>
                <a:gd name="T36" fmla="*/ 2147483647 w 110"/>
                <a:gd name="T37" fmla="*/ 2147483647 h 50"/>
                <a:gd name="T38" fmla="*/ 2147483647 w 110"/>
                <a:gd name="T39" fmla="*/ 2147483647 h 50"/>
                <a:gd name="T40" fmla="*/ 0 w 110"/>
                <a:gd name="T41" fmla="*/ 2147483647 h 50"/>
                <a:gd name="T42" fmla="*/ 2147483647 w 110"/>
                <a:gd name="T43" fmla="*/ 2147483647 h 50"/>
                <a:gd name="T44" fmla="*/ 2147483647 w 110"/>
                <a:gd name="T45" fmla="*/ 2147483647 h 50"/>
                <a:gd name="T46" fmla="*/ 2147483647 w 110"/>
                <a:gd name="T47" fmla="*/ 2147483647 h 50"/>
                <a:gd name="T48" fmla="*/ 2147483647 w 110"/>
                <a:gd name="T49" fmla="*/ 2147483647 h 50"/>
                <a:gd name="T50" fmla="*/ 2147483647 w 110"/>
                <a:gd name="T51" fmla="*/ 0 h 5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10"/>
                <a:gd name="T79" fmla="*/ 0 h 50"/>
                <a:gd name="T80" fmla="*/ 110 w 110"/>
                <a:gd name="T81" fmla="*/ 50 h 5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10" h="50">
                  <a:moveTo>
                    <a:pt x="48" y="0"/>
                  </a:moveTo>
                  <a:lnTo>
                    <a:pt x="56" y="4"/>
                  </a:lnTo>
                  <a:lnTo>
                    <a:pt x="68" y="8"/>
                  </a:lnTo>
                  <a:lnTo>
                    <a:pt x="70" y="16"/>
                  </a:lnTo>
                  <a:lnTo>
                    <a:pt x="78" y="18"/>
                  </a:lnTo>
                  <a:lnTo>
                    <a:pt x="80" y="14"/>
                  </a:lnTo>
                  <a:lnTo>
                    <a:pt x="88" y="16"/>
                  </a:lnTo>
                  <a:lnTo>
                    <a:pt x="94" y="20"/>
                  </a:lnTo>
                  <a:lnTo>
                    <a:pt x="102" y="24"/>
                  </a:lnTo>
                  <a:lnTo>
                    <a:pt x="110" y="30"/>
                  </a:lnTo>
                  <a:lnTo>
                    <a:pt x="100" y="36"/>
                  </a:lnTo>
                  <a:lnTo>
                    <a:pt x="92" y="44"/>
                  </a:lnTo>
                  <a:lnTo>
                    <a:pt x="82" y="46"/>
                  </a:lnTo>
                  <a:lnTo>
                    <a:pt x="76" y="50"/>
                  </a:lnTo>
                  <a:lnTo>
                    <a:pt x="66" y="50"/>
                  </a:lnTo>
                  <a:lnTo>
                    <a:pt x="46" y="42"/>
                  </a:lnTo>
                  <a:lnTo>
                    <a:pt x="44" y="48"/>
                  </a:lnTo>
                  <a:lnTo>
                    <a:pt x="28" y="46"/>
                  </a:lnTo>
                  <a:lnTo>
                    <a:pt x="20" y="40"/>
                  </a:lnTo>
                  <a:lnTo>
                    <a:pt x="14" y="34"/>
                  </a:lnTo>
                  <a:lnTo>
                    <a:pt x="0" y="18"/>
                  </a:lnTo>
                  <a:lnTo>
                    <a:pt x="12" y="12"/>
                  </a:lnTo>
                  <a:lnTo>
                    <a:pt x="24" y="8"/>
                  </a:lnTo>
                  <a:lnTo>
                    <a:pt x="34" y="4"/>
                  </a:lnTo>
                  <a:lnTo>
                    <a:pt x="42" y="2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28" name="Freeform 263"/>
            <p:cNvSpPr>
              <a:spLocks/>
            </p:cNvSpPr>
            <p:nvPr/>
          </p:nvSpPr>
          <p:spPr bwMode="gray">
            <a:xfrm>
              <a:off x="4759325" y="3186113"/>
              <a:ext cx="104775" cy="47625"/>
            </a:xfrm>
            <a:custGeom>
              <a:avLst/>
              <a:gdLst>
                <a:gd name="T0" fmla="*/ 2147483647 w 90"/>
                <a:gd name="T1" fmla="*/ 2147483647 h 38"/>
                <a:gd name="T2" fmla="*/ 2147483647 w 90"/>
                <a:gd name="T3" fmla="*/ 2147483647 h 38"/>
                <a:gd name="T4" fmla="*/ 2147483647 w 90"/>
                <a:gd name="T5" fmla="*/ 2147483647 h 38"/>
                <a:gd name="T6" fmla="*/ 2147483647 w 90"/>
                <a:gd name="T7" fmla="*/ 2147483647 h 38"/>
                <a:gd name="T8" fmla="*/ 2147483647 w 90"/>
                <a:gd name="T9" fmla="*/ 2147483647 h 38"/>
                <a:gd name="T10" fmla="*/ 2147483647 w 90"/>
                <a:gd name="T11" fmla="*/ 2147483647 h 38"/>
                <a:gd name="T12" fmla="*/ 2147483647 w 90"/>
                <a:gd name="T13" fmla="*/ 2147483647 h 38"/>
                <a:gd name="T14" fmla="*/ 2147483647 w 90"/>
                <a:gd name="T15" fmla="*/ 2147483647 h 38"/>
                <a:gd name="T16" fmla="*/ 2147483647 w 90"/>
                <a:gd name="T17" fmla="*/ 2147483647 h 38"/>
                <a:gd name="T18" fmla="*/ 2147483647 w 90"/>
                <a:gd name="T19" fmla="*/ 2147483647 h 38"/>
                <a:gd name="T20" fmla="*/ 2147483647 w 90"/>
                <a:gd name="T21" fmla="*/ 2147483647 h 38"/>
                <a:gd name="T22" fmla="*/ 2147483647 w 90"/>
                <a:gd name="T23" fmla="*/ 2147483647 h 38"/>
                <a:gd name="T24" fmla="*/ 2147483647 w 90"/>
                <a:gd name="T25" fmla="*/ 2147483647 h 38"/>
                <a:gd name="T26" fmla="*/ 2147483647 w 90"/>
                <a:gd name="T27" fmla="*/ 2147483647 h 38"/>
                <a:gd name="T28" fmla="*/ 2147483647 w 90"/>
                <a:gd name="T29" fmla="*/ 2147483647 h 38"/>
                <a:gd name="T30" fmla="*/ 2147483647 w 90"/>
                <a:gd name="T31" fmla="*/ 2147483647 h 38"/>
                <a:gd name="T32" fmla="*/ 2147483647 w 90"/>
                <a:gd name="T33" fmla="*/ 2147483647 h 38"/>
                <a:gd name="T34" fmla="*/ 2147483647 w 90"/>
                <a:gd name="T35" fmla="*/ 2147483647 h 38"/>
                <a:gd name="T36" fmla="*/ 2147483647 w 90"/>
                <a:gd name="T37" fmla="*/ 2147483647 h 38"/>
                <a:gd name="T38" fmla="*/ 2147483647 w 90"/>
                <a:gd name="T39" fmla="*/ 2147483647 h 38"/>
                <a:gd name="T40" fmla="*/ 2147483647 w 90"/>
                <a:gd name="T41" fmla="*/ 2147483647 h 38"/>
                <a:gd name="T42" fmla="*/ 0 w 90"/>
                <a:gd name="T43" fmla="*/ 2147483647 h 38"/>
                <a:gd name="T44" fmla="*/ 2147483647 w 90"/>
                <a:gd name="T45" fmla="*/ 2147483647 h 38"/>
                <a:gd name="T46" fmla="*/ 2147483647 w 90"/>
                <a:gd name="T47" fmla="*/ 2147483647 h 38"/>
                <a:gd name="T48" fmla="*/ 2147483647 w 90"/>
                <a:gd name="T49" fmla="*/ 2147483647 h 38"/>
                <a:gd name="T50" fmla="*/ 2147483647 w 90"/>
                <a:gd name="T51" fmla="*/ 0 h 38"/>
                <a:gd name="T52" fmla="*/ 2147483647 w 90"/>
                <a:gd name="T53" fmla="*/ 2147483647 h 3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90"/>
                <a:gd name="T82" fmla="*/ 0 h 38"/>
                <a:gd name="T83" fmla="*/ 90 w 90"/>
                <a:gd name="T84" fmla="*/ 38 h 3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90" h="38">
                  <a:moveTo>
                    <a:pt x="44" y="2"/>
                  </a:moveTo>
                  <a:lnTo>
                    <a:pt x="48" y="10"/>
                  </a:lnTo>
                  <a:lnTo>
                    <a:pt x="58" y="8"/>
                  </a:lnTo>
                  <a:lnTo>
                    <a:pt x="68" y="4"/>
                  </a:lnTo>
                  <a:lnTo>
                    <a:pt x="76" y="4"/>
                  </a:lnTo>
                  <a:lnTo>
                    <a:pt x="86" y="8"/>
                  </a:lnTo>
                  <a:lnTo>
                    <a:pt x="90" y="12"/>
                  </a:lnTo>
                  <a:lnTo>
                    <a:pt x="86" y="20"/>
                  </a:lnTo>
                  <a:lnTo>
                    <a:pt x="82" y="26"/>
                  </a:lnTo>
                  <a:lnTo>
                    <a:pt x="72" y="24"/>
                  </a:lnTo>
                  <a:lnTo>
                    <a:pt x="62" y="22"/>
                  </a:lnTo>
                  <a:lnTo>
                    <a:pt x="56" y="26"/>
                  </a:lnTo>
                  <a:lnTo>
                    <a:pt x="54" y="28"/>
                  </a:lnTo>
                  <a:lnTo>
                    <a:pt x="44" y="28"/>
                  </a:lnTo>
                  <a:lnTo>
                    <a:pt x="38" y="32"/>
                  </a:lnTo>
                  <a:lnTo>
                    <a:pt x="30" y="32"/>
                  </a:lnTo>
                  <a:lnTo>
                    <a:pt x="26" y="38"/>
                  </a:lnTo>
                  <a:lnTo>
                    <a:pt x="18" y="38"/>
                  </a:lnTo>
                  <a:lnTo>
                    <a:pt x="10" y="36"/>
                  </a:lnTo>
                  <a:lnTo>
                    <a:pt x="4" y="32"/>
                  </a:lnTo>
                  <a:lnTo>
                    <a:pt x="2" y="24"/>
                  </a:lnTo>
                  <a:lnTo>
                    <a:pt x="0" y="20"/>
                  </a:lnTo>
                  <a:lnTo>
                    <a:pt x="6" y="16"/>
                  </a:lnTo>
                  <a:lnTo>
                    <a:pt x="16" y="14"/>
                  </a:lnTo>
                  <a:lnTo>
                    <a:pt x="24" y="6"/>
                  </a:lnTo>
                  <a:lnTo>
                    <a:pt x="34" y="0"/>
                  </a:lnTo>
                  <a:lnTo>
                    <a:pt x="44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29" name="Freeform 264"/>
            <p:cNvSpPr>
              <a:spLocks/>
            </p:cNvSpPr>
            <p:nvPr/>
          </p:nvSpPr>
          <p:spPr bwMode="gray">
            <a:xfrm>
              <a:off x="4619625" y="3201988"/>
              <a:ext cx="149225" cy="63500"/>
            </a:xfrm>
            <a:custGeom>
              <a:avLst/>
              <a:gdLst>
                <a:gd name="T0" fmla="*/ 2147483647 w 127"/>
                <a:gd name="T1" fmla="*/ 2147483647 h 52"/>
                <a:gd name="T2" fmla="*/ 2147483647 w 127"/>
                <a:gd name="T3" fmla="*/ 2147483647 h 52"/>
                <a:gd name="T4" fmla="*/ 2147483647 w 127"/>
                <a:gd name="T5" fmla="*/ 2147483647 h 52"/>
                <a:gd name="T6" fmla="*/ 0 w 127"/>
                <a:gd name="T7" fmla="*/ 2147483647 h 52"/>
                <a:gd name="T8" fmla="*/ 2147483647 w 127"/>
                <a:gd name="T9" fmla="*/ 2147483647 h 52"/>
                <a:gd name="T10" fmla="*/ 2147483647 w 127"/>
                <a:gd name="T11" fmla="*/ 2147483647 h 52"/>
                <a:gd name="T12" fmla="*/ 2147483647 w 127"/>
                <a:gd name="T13" fmla="*/ 2147483647 h 52"/>
                <a:gd name="T14" fmla="*/ 2147483647 w 127"/>
                <a:gd name="T15" fmla="*/ 2147483647 h 52"/>
                <a:gd name="T16" fmla="*/ 2147483647 w 127"/>
                <a:gd name="T17" fmla="*/ 2147483647 h 52"/>
                <a:gd name="T18" fmla="*/ 2147483647 w 127"/>
                <a:gd name="T19" fmla="*/ 2147483647 h 52"/>
                <a:gd name="T20" fmla="*/ 2147483647 w 127"/>
                <a:gd name="T21" fmla="*/ 2147483647 h 52"/>
                <a:gd name="T22" fmla="*/ 2147483647 w 127"/>
                <a:gd name="T23" fmla="*/ 2147483647 h 52"/>
                <a:gd name="T24" fmla="*/ 2147483647 w 127"/>
                <a:gd name="T25" fmla="*/ 2147483647 h 52"/>
                <a:gd name="T26" fmla="*/ 2147483647 w 127"/>
                <a:gd name="T27" fmla="*/ 0 h 52"/>
                <a:gd name="T28" fmla="*/ 2147483647 w 127"/>
                <a:gd name="T29" fmla="*/ 2147483647 h 52"/>
                <a:gd name="T30" fmla="*/ 2147483647 w 127"/>
                <a:gd name="T31" fmla="*/ 2147483647 h 52"/>
                <a:gd name="T32" fmla="*/ 2147483647 w 127"/>
                <a:gd name="T33" fmla="*/ 2147483647 h 52"/>
                <a:gd name="T34" fmla="*/ 2147483647 w 127"/>
                <a:gd name="T35" fmla="*/ 2147483647 h 52"/>
                <a:gd name="T36" fmla="*/ 2147483647 w 127"/>
                <a:gd name="T37" fmla="*/ 2147483647 h 52"/>
                <a:gd name="T38" fmla="*/ 2147483647 w 127"/>
                <a:gd name="T39" fmla="*/ 2147483647 h 52"/>
                <a:gd name="T40" fmla="*/ 2147483647 w 127"/>
                <a:gd name="T41" fmla="*/ 2147483647 h 52"/>
                <a:gd name="T42" fmla="*/ 2147483647 w 127"/>
                <a:gd name="T43" fmla="*/ 2147483647 h 52"/>
                <a:gd name="T44" fmla="*/ 2147483647 w 127"/>
                <a:gd name="T45" fmla="*/ 2147483647 h 52"/>
                <a:gd name="T46" fmla="*/ 2147483647 w 127"/>
                <a:gd name="T47" fmla="*/ 2147483647 h 52"/>
                <a:gd name="T48" fmla="*/ 2147483647 w 127"/>
                <a:gd name="T49" fmla="*/ 2147483647 h 52"/>
                <a:gd name="T50" fmla="*/ 2147483647 w 127"/>
                <a:gd name="T51" fmla="*/ 2147483647 h 52"/>
                <a:gd name="T52" fmla="*/ 2147483647 w 127"/>
                <a:gd name="T53" fmla="*/ 2147483647 h 52"/>
                <a:gd name="T54" fmla="*/ 2147483647 w 127"/>
                <a:gd name="T55" fmla="*/ 2147483647 h 52"/>
                <a:gd name="T56" fmla="*/ 2147483647 w 127"/>
                <a:gd name="T57" fmla="*/ 2147483647 h 52"/>
                <a:gd name="T58" fmla="*/ 2147483647 w 127"/>
                <a:gd name="T59" fmla="*/ 2147483647 h 52"/>
                <a:gd name="T60" fmla="*/ 2147483647 w 127"/>
                <a:gd name="T61" fmla="*/ 2147483647 h 52"/>
                <a:gd name="T62" fmla="*/ 2147483647 w 127"/>
                <a:gd name="T63" fmla="*/ 2147483647 h 5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7"/>
                <a:gd name="T97" fmla="*/ 0 h 52"/>
                <a:gd name="T98" fmla="*/ 127 w 127"/>
                <a:gd name="T99" fmla="*/ 52 h 5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7" h="52">
                  <a:moveTo>
                    <a:pt x="14" y="46"/>
                  </a:moveTo>
                  <a:lnTo>
                    <a:pt x="12" y="42"/>
                  </a:lnTo>
                  <a:lnTo>
                    <a:pt x="8" y="42"/>
                  </a:lnTo>
                  <a:lnTo>
                    <a:pt x="0" y="40"/>
                  </a:lnTo>
                  <a:lnTo>
                    <a:pt x="2" y="34"/>
                  </a:lnTo>
                  <a:lnTo>
                    <a:pt x="18" y="34"/>
                  </a:lnTo>
                  <a:lnTo>
                    <a:pt x="31" y="32"/>
                  </a:lnTo>
                  <a:lnTo>
                    <a:pt x="41" y="26"/>
                  </a:lnTo>
                  <a:lnTo>
                    <a:pt x="53" y="26"/>
                  </a:lnTo>
                  <a:lnTo>
                    <a:pt x="53" y="18"/>
                  </a:lnTo>
                  <a:lnTo>
                    <a:pt x="69" y="10"/>
                  </a:lnTo>
                  <a:lnTo>
                    <a:pt x="69" y="4"/>
                  </a:lnTo>
                  <a:lnTo>
                    <a:pt x="85" y="6"/>
                  </a:lnTo>
                  <a:lnTo>
                    <a:pt x="87" y="0"/>
                  </a:lnTo>
                  <a:lnTo>
                    <a:pt x="107" y="8"/>
                  </a:lnTo>
                  <a:lnTo>
                    <a:pt x="117" y="8"/>
                  </a:lnTo>
                  <a:lnTo>
                    <a:pt x="119" y="12"/>
                  </a:lnTo>
                  <a:lnTo>
                    <a:pt x="121" y="20"/>
                  </a:lnTo>
                  <a:lnTo>
                    <a:pt x="127" y="24"/>
                  </a:lnTo>
                  <a:lnTo>
                    <a:pt x="117" y="28"/>
                  </a:lnTo>
                  <a:lnTo>
                    <a:pt x="111" y="34"/>
                  </a:lnTo>
                  <a:lnTo>
                    <a:pt x="109" y="40"/>
                  </a:lnTo>
                  <a:lnTo>
                    <a:pt x="103" y="44"/>
                  </a:lnTo>
                  <a:lnTo>
                    <a:pt x="89" y="50"/>
                  </a:lnTo>
                  <a:lnTo>
                    <a:pt x="77" y="52"/>
                  </a:lnTo>
                  <a:lnTo>
                    <a:pt x="67" y="48"/>
                  </a:lnTo>
                  <a:lnTo>
                    <a:pt x="51" y="50"/>
                  </a:lnTo>
                  <a:lnTo>
                    <a:pt x="41" y="46"/>
                  </a:lnTo>
                  <a:lnTo>
                    <a:pt x="41" y="40"/>
                  </a:lnTo>
                  <a:lnTo>
                    <a:pt x="26" y="40"/>
                  </a:lnTo>
                  <a:lnTo>
                    <a:pt x="24" y="46"/>
                  </a:lnTo>
                  <a:lnTo>
                    <a:pt x="14" y="46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30" name="Freeform 265" descr="Diagonal dunkel nach oben"/>
            <p:cNvSpPr>
              <a:spLocks/>
            </p:cNvSpPr>
            <p:nvPr/>
          </p:nvSpPr>
          <p:spPr bwMode="gray">
            <a:xfrm>
              <a:off x="4740275" y="3294063"/>
              <a:ext cx="71438" cy="63500"/>
            </a:xfrm>
            <a:custGeom>
              <a:avLst/>
              <a:gdLst>
                <a:gd name="T0" fmla="*/ 0 w 60"/>
                <a:gd name="T1" fmla="*/ 2147483647 h 52"/>
                <a:gd name="T2" fmla="*/ 2147483647 w 60"/>
                <a:gd name="T3" fmla="*/ 0 h 52"/>
                <a:gd name="T4" fmla="*/ 2147483647 w 60"/>
                <a:gd name="T5" fmla="*/ 2147483647 h 52"/>
                <a:gd name="T6" fmla="*/ 2147483647 w 60"/>
                <a:gd name="T7" fmla="*/ 2147483647 h 52"/>
                <a:gd name="T8" fmla="*/ 2147483647 w 60"/>
                <a:gd name="T9" fmla="*/ 2147483647 h 52"/>
                <a:gd name="T10" fmla="*/ 2147483647 w 60"/>
                <a:gd name="T11" fmla="*/ 2147483647 h 52"/>
                <a:gd name="T12" fmla="*/ 2147483647 w 60"/>
                <a:gd name="T13" fmla="*/ 2147483647 h 52"/>
                <a:gd name="T14" fmla="*/ 2147483647 w 60"/>
                <a:gd name="T15" fmla="*/ 2147483647 h 52"/>
                <a:gd name="T16" fmla="*/ 2147483647 w 60"/>
                <a:gd name="T17" fmla="*/ 2147483647 h 52"/>
                <a:gd name="T18" fmla="*/ 2147483647 w 60"/>
                <a:gd name="T19" fmla="*/ 2147483647 h 52"/>
                <a:gd name="T20" fmla="*/ 2147483647 w 60"/>
                <a:gd name="T21" fmla="*/ 2147483647 h 52"/>
                <a:gd name="T22" fmla="*/ 2147483647 w 60"/>
                <a:gd name="T23" fmla="*/ 2147483647 h 52"/>
                <a:gd name="T24" fmla="*/ 2147483647 w 60"/>
                <a:gd name="T25" fmla="*/ 2147483647 h 52"/>
                <a:gd name="T26" fmla="*/ 2147483647 w 60"/>
                <a:gd name="T27" fmla="*/ 2147483647 h 52"/>
                <a:gd name="T28" fmla="*/ 2147483647 w 60"/>
                <a:gd name="T29" fmla="*/ 2147483647 h 52"/>
                <a:gd name="T30" fmla="*/ 2147483647 w 60"/>
                <a:gd name="T31" fmla="*/ 2147483647 h 52"/>
                <a:gd name="T32" fmla="*/ 2147483647 w 60"/>
                <a:gd name="T33" fmla="*/ 2147483647 h 52"/>
                <a:gd name="T34" fmla="*/ 2147483647 w 60"/>
                <a:gd name="T35" fmla="*/ 2147483647 h 52"/>
                <a:gd name="T36" fmla="*/ 0 w 60"/>
                <a:gd name="T37" fmla="*/ 2147483647 h 5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0"/>
                <a:gd name="T58" fmla="*/ 0 h 52"/>
                <a:gd name="T59" fmla="*/ 60 w 60"/>
                <a:gd name="T60" fmla="*/ 52 h 5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0" h="52">
                  <a:moveTo>
                    <a:pt x="0" y="2"/>
                  </a:moveTo>
                  <a:lnTo>
                    <a:pt x="12" y="0"/>
                  </a:lnTo>
                  <a:lnTo>
                    <a:pt x="26" y="2"/>
                  </a:lnTo>
                  <a:lnTo>
                    <a:pt x="50" y="6"/>
                  </a:lnTo>
                  <a:lnTo>
                    <a:pt x="56" y="6"/>
                  </a:lnTo>
                  <a:lnTo>
                    <a:pt x="58" y="14"/>
                  </a:lnTo>
                  <a:lnTo>
                    <a:pt x="54" y="18"/>
                  </a:lnTo>
                  <a:lnTo>
                    <a:pt x="60" y="26"/>
                  </a:lnTo>
                  <a:lnTo>
                    <a:pt x="52" y="32"/>
                  </a:lnTo>
                  <a:lnTo>
                    <a:pt x="50" y="40"/>
                  </a:lnTo>
                  <a:lnTo>
                    <a:pt x="44" y="40"/>
                  </a:lnTo>
                  <a:lnTo>
                    <a:pt x="42" y="52"/>
                  </a:lnTo>
                  <a:lnTo>
                    <a:pt x="34" y="46"/>
                  </a:lnTo>
                  <a:lnTo>
                    <a:pt x="26" y="40"/>
                  </a:lnTo>
                  <a:lnTo>
                    <a:pt x="16" y="32"/>
                  </a:lnTo>
                  <a:lnTo>
                    <a:pt x="10" y="28"/>
                  </a:lnTo>
                  <a:lnTo>
                    <a:pt x="6" y="22"/>
                  </a:lnTo>
                  <a:lnTo>
                    <a:pt x="2" y="1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31" name="Freeform 266"/>
            <p:cNvSpPr>
              <a:spLocks/>
            </p:cNvSpPr>
            <p:nvPr/>
          </p:nvSpPr>
          <p:spPr bwMode="gray">
            <a:xfrm>
              <a:off x="4570413" y="3249613"/>
              <a:ext cx="222250" cy="214312"/>
            </a:xfrm>
            <a:custGeom>
              <a:avLst/>
              <a:gdLst>
                <a:gd name="T0" fmla="*/ 2147483647 w 187"/>
                <a:gd name="T1" fmla="*/ 2147483647 h 176"/>
                <a:gd name="T2" fmla="*/ 0 w 187"/>
                <a:gd name="T3" fmla="*/ 2147483647 h 176"/>
                <a:gd name="T4" fmla="*/ 2147483647 w 187"/>
                <a:gd name="T5" fmla="*/ 2147483647 h 176"/>
                <a:gd name="T6" fmla="*/ 2147483647 w 187"/>
                <a:gd name="T7" fmla="*/ 2147483647 h 176"/>
                <a:gd name="T8" fmla="*/ 2147483647 w 187"/>
                <a:gd name="T9" fmla="*/ 2147483647 h 176"/>
                <a:gd name="T10" fmla="*/ 2147483647 w 187"/>
                <a:gd name="T11" fmla="*/ 2147483647 h 176"/>
                <a:gd name="T12" fmla="*/ 2147483647 w 187"/>
                <a:gd name="T13" fmla="*/ 2147483647 h 176"/>
                <a:gd name="T14" fmla="*/ 2147483647 w 187"/>
                <a:gd name="T15" fmla="*/ 2147483647 h 176"/>
                <a:gd name="T16" fmla="*/ 2147483647 w 187"/>
                <a:gd name="T17" fmla="*/ 2147483647 h 176"/>
                <a:gd name="T18" fmla="*/ 2147483647 w 187"/>
                <a:gd name="T19" fmla="*/ 0 h 176"/>
                <a:gd name="T20" fmla="*/ 2147483647 w 187"/>
                <a:gd name="T21" fmla="*/ 2147483647 h 176"/>
                <a:gd name="T22" fmla="*/ 2147483647 w 187"/>
                <a:gd name="T23" fmla="*/ 2147483647 h 176"/>
                <a:gd name="T24" fmla="*/ 2147483647 w 187"/>
                <a:gd name="T25" fmla="*/ 2147483647 h 176"/>
                <a:gd name="T26" fmla="*/ 2147483647 w 187"/>
                <a:gd name="T27" fmla="*/ 2147483647 h 176"/>
                <a:gd name="T28" fmla="*/ 2147483647 w 187"/>
                <a:gd name="T29" fmla="*/ 2147483647 h 176"/>
                <a:gd name="T30" fmla="*/ 2147483647 w 187"/>
                <a:gd name="T31" fmla="*/ 2147483647 h 176"/>
                <a:gd name="T32" fmla="*/ 2147483647 w 187"/>
                <a:gd name="T33" fmla="*/ 2147483647 h 176"/>
                <a:gd name="T34" fmla="*/ 2147483647 w 187"/>
                <a:gd name="T35" fmla="*/ 2147483647 h 176"/>
                <a:gd name="T36" fmla="*/ 2147483647 w 187"/>
                <a:gd name="T37" fmla="*/ 2147483647 h 176"/>
                <a:gd name="T38" fmla="*/ 2147483647 w 187"/>
                <a:gd name="T39" fmla="*/ 2147483647 h 176"/>
                <a:gd name="T40" fmla="*/ 2147483647 w 187"/>
                <a:gd name="T41" fmla="*/ 2147483647 h 176"/>
                <a:gd name="T42" fmla="*/ 2147483647 w 187"/>
                <a:gd name="T43" fmla="*/ 2147483647 h 176"/>
                <a:gd name="T44" fmla="*/ 2147483647 w 187"/>
                <a:gd name="T45" fmla="*/ 2147483647 h 176"/>
                <a:gd name="T46" fmla="*/ 2147483647 w 187"/>
                <a:gd name="T47" fmla="*/ 2147483647 h 176"/>
                <a:gd name="T48" fmla="*/ 2147483647 w 187"/>
                <a:gd name="T49" fmla="*/ 2147483647 h 176"/>
                <a:gd name="T50" fmla="*/ 2147483647 w 187"/>
                <a:gd name="T51" fmla="*/ 2147483647 h 176"/>
                <a:gd name="T52" fmla="*/ 2147483647 w 187"/>
                <a:gd name="T53" fmla="*/ 2147483647 h 176"/>
                <a:gd name="T54" fmla="*/ 2147483647 w 187"/>
                <a:gd name="T55" fmla="*/ 2147483647 h 176"/>
                <a:gd name="T56" fmla="*/ 2147483647 w 187"/>
                <a:gd name="T57" fmla="*/ 2147483647 h 176"/>
                <a:gd name="T58" fmla="*/ 2147483647 w 187"/>
                <a:gd name="T59" fmla="*/ 2147483647 h 176"/>
                <a:gd name="T60" fmla="*/ 2147483647 w 187"/>
                <a:gd name="T61" fmla="*/ 2147483647 h 176"/>
                <a:gd name="T62" fmla="*/ 2147483647 w 187"/>
                <a:gd name="T63" fmla="*/ 2147483647 h 176"/>
                <a:gd name="T64" fmla="*/ 2147483647 w 187"/>
                <a:gd name="T65" fmla="*/ 2147483647 h 176"/>
                <a:gd name="T66" fmla="*/ 2147483647 w 187"/>
                <a:gd name="T67" fmla="*/ 2147483647 h 176"/>
                <a:gd name="T68" fmla="*/ 2147483647 w 187"/>
                <a:gd name="T69" fmla="*/ 2147483647 h 176"/>
                <a:gd name="T70" fmla="*/ 2147483647 w 187"/>
                <a:gd name="T71" fmla="*/ 2147483647 h 176"/>
                <a:gd name="T72" fmla="*/ 2147483647 w 187"/>
                <a:gd name="T73" fmla="*/ 2147483647 h 17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7"/>
                <a:gd name="T112" fmla="*/ 0 h 176"/>
                <a:gd name="T113" fmla="*/ 187 w 187"/>
                <a:gd name="T114" fmla="*/ 176 h 17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7" h="176">
                  <a:moveTo>
                    <a:pt x="10" y="66"/>
                  </a:moveTo>
                  <a:lnTo>
                    <a:pt x="10" y="58"/>
                  </a:lnTo>
                  <a:lnTo>
                    <a:pt x="2" y="58"/>
                  </a:lnTo>
                  <a:lnTo>
                    <a:pt x="0" y="42"/>
                  </a:lnTo>
                  <a:lnTo>
                    <a:pt x="4" y="34"/>
                  </a:lnTo>
                  <a:lnTo>
                    <a:pt x="2" y="30"/>
                  </a:lnTo>
                  <a:lnTo>
                    <a:pt x="2" y="24"/>
                  </a:lnTo>
                  <a:lnTo>
                    <a:pt x="16" y="22"/>
                  </a:lnTo>
                  <a:lnTo>
                    <a:pt x="16" y="18"/>
                  </a:lnTo>
                  <a:lnTo>
                    <a:pt x="20" y="16"/>
                  </a:lnTo>
                  <a:lnTo>
                    <a:pt x="26" y="20"/>
                  </a:lnTo>
                  <a:lnTo>
                    <a:pt x="32" y="22"/>
                  </a:lnTo>
                  <a:lnTo>
                    <a:pt x="36" y="20"/>
                  </a:lnTo>
                  <a:lnTo>
                    <a:pt x="36" y="10"/>
                  </a:lnTo>
                  <a:lnTo>
                    <a:pt x="42" y="16"/>
                  </a:lnTo>
                  <a:lnTo>
                    <a:pt x="52" y="14"/>
                  </a:lnTo>
                  <a:lnTo>
                    <a:pt x="56" y="6"/>
                  </a:lnTo>
                  <a:lnTo>
                    <a:pt x="66" y="6"/>
                  </a:lnTo>
                  <a:lnTo>
                    <a:pt x="68" y="0"/>
                  </a:lnTo>
                  <a:lnTo>
                    <a:pt x="83" y="0"/>
                  </a:lnTo>
                  <a:lnTo>
                    <a:pt x="83" y="6"/>
                  </a:lnTo>
                  <a:lnTo>
                    <a:pt x="93" y="10"/>
                  </a:lnTo>
                  <a:lnTo>
                    <a:pt x="109" y="8"/>
                  </a:lnTo>
                  <a:lnTo>
                    <a:pt x="103" y="16"/>
                  </a:lnTo>
                  <a:lnTo>
                    <a:pt x="101" y="24"/>
                  </a:lnTo>
                  <a:lnTo>
                    <a:pt x="95" y="26"/>
                  </a:lnTo>
                  <a:lnTo>
                    <a:pt x="83" y="32"/>
                  </a:lnTo>
                  <a:lnTo>
                    <a:pt x="83" y="42"/>
                  </a:lnTo>
                  <a:lnTo>
                    <a:pt x="83" y="52"/>
                  </a:lnTo>
                  <a:lnTo>
                    <a:pt x="91" y="60"/>
                  </a:lnTo>
                  <a:lnTo>
                    <a:pt x="101" y="66"/>
                  </a:lnTo>
                  <a:lnTo>
                    <a:pt x="111" y="72"/>
                  </a:lnTo>
                  <a:lnTo>
                    <a:pt x="113" y="84"/>
                  </a:lnTo>
                  <a:lnTo>
                    <a:pt x="119" y="94"/>
                  </a:lnTo>
                  <a:lnTo>
                    <a:pt x="129" y="102"/>
                  </a:lnTo>
                  <a:lnTo>
                    <a:pt x="145" y="102"/>
                  </a:lnTo>
                  <a:lnTo>
                    <a:pt x="149" y="106"/>
                  </a:lnTo>
                  <a:lnTo>
                    <a:pt x="145" y="108"/>
                  </a:lnTo>
                  <a:lnTo>
                    <a:pt x="151" y="114"/>
                  </a:lnTo>
                  <a:lnTo>
                    <a:pt x="161" y="118"/>
                  </a:lnTo>
                  <a:lnTo>
                    <a:pt x="175" y="124"/>
                  </a:lnTo>
                  <a:lnTo>
                    <a:pt x="183" y="132"/>
                  </a:lnTo>
                  <a:lnTo>
                    <a:pt x="187" y="138"/>
                  </a:lnTo>
                  <a:lnTo>
                    <a:pt x="181" y="142"/>
                  </a:lnTo>
                  <a:lnTo>
                    <a:pt x="175" y="136"/>
                  </a:lnTo>
                  <a:lnTo>
                    <a:pt x="167" y="130"/>
                  </a:lnTo>
                  <a:lnTo>
                    <a:pt x="159" y="132"/>
                  </a:lnTo>
                  <a:lnTo>
                    <a:pt x="155" y="140"/>
                  </a:lnTo>
                  <a:lnTo>
                    <a:pt x="161" y="148"/>
                  </a:lnTo>
                  <a:lnTo>
                    <a:pt x="165" y="152"/>
                  </a:lnTo>
                  <a:lnTo>
                    <a:pt x="167" y="156"/>
                  </a:lnTo>
                  <a:lnTo>
                    <a:pt x="159" y="158"/>
                  </a:lnTo>
                  <a:lnTo>
                    <a:pt x="157" y="164"/>
                  </a:lnTo>
                  <a:lnTo>
                    <a:pt x="151" y="172"/>
                  </a:lnTo>
                  <a:lnTo>
                    <a:pt x="145" y="176"/>
                  </a:lnTo>
                  <a:lnTo>
                    <a:pt x="141" y="170"/>
                  </a:lnTo>
                  <a:lnTo>
                    <a:pt x="143" y="162"/>
                  </a:lnTo>
                  <a:lnTo>
                    <a:pt x="147" y="148"/>
                  </a:lnTo>
                  <a:lnTo>
                    <a:pt x="143" y="136"/>
                  </a:lnTo>
                  <a:lnTo>
                    <a:pt x="131" y="132"/>
                  </a:lnTo>
                  <a:lnTo>
                    <a:pt x="129" y="126"/>
                  </a:lnTo>
                  <a:lnTo>
                    <a:pt x="119" y="126"/>
                  </a:lnTo>
                  <a:lnTo>
                    <a:pt x="109" y="112"/>
                  </a:lnTo>
                  <a:lnTo>
                    <a:pt x="95" y="112"/>
                  </a:lnTo>
                  <a:lnTo>
                    <a:pt x="83" y="96"/>
                  </a:lnTo>
                  <a:lnTo>
                    <a:pt x="75" y="92"/>
                  </a:lnTo>
                  <a:lnTo>
                    <a:pt x="56" y="84"/>
                  </a:lnTo>
                  <a:lnTo>
                    <a:pt x="54" y="68"/>
                  </a:lnTo>
                  <a:lnTo>
                    <a:pt x="52" y="60"/>
                  </a:lnTo>
                  <a:lnTo>
                    <a:pt x="40" y="56"/>
                  </a:lnTo>
                  <a:lnTo>
                    <a:pt x="26" y="52"/>
                  </a:lnTo>
                  <a:lnTo>
                    <a:pt x="20" y="58"/>
                  </a:lnTo>
                  <a:lnTo>
                    <a:pt x="18" y="64"/>
                  </a:lnTo>
                  <a:lnTo>
                    <a:pt x="10" y="66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32" name="Freeform 267"/>
            <p:cNvSpPr>
              <a:spLocks/>
            </p:cNvSpPr>
            <p:nvPr/>
          </p:nvSpPr>
          <p:spPr bwMode="gray">
            <a:xfrm>
              <a:off x="4856163" y="3119438"/>
              <a:ext cx="339725" cy="193675"/>
            </a:xfrm>
            <a:custGeom>
              <a:avLst/>
              <a:gdLst>
                <a:gd name="T0" fmla="*/ 2147483647 w 286"/>
                <a:gd name="T1" fmla="*/ 2147483647 h 160"/>
                <a:gd name="T2" fmla="*/ 2147483647 w 286"/>
                <a:gd name="T3" fmla="*/ 0 h 160"/>
                <a:gd name="T4" fmla="*/ 2147483647 w 286"/>
                <a:gd name="T5" fmla="*/ 0 h 160"/>
                <a:gd name="T6" fmla="*/ 2147483647 w 286"/>
                <a:gd name="T7" fmla="*/ 2147483647 h 160"/>
                <a:gd name="T8" fmla="*/ 2147483647 w 286"/>
                <a:gd name="T9" fmla="*/ 2147483647 h 160"/>
                <a:gd name="T10" fmla="*/ 2147483647 w 286"/>
                <a:gd name="T11" fmla="*/ 2147483647 h 160"/>
                <a:gd name="T12" fmla="*/ 2147483647 w 286"/>
                <a:gd name="T13" fmla="*/ 2147483647 h 160"/>
                <a:gd name="T14" fmla="*/ 2147483647 w 286"/>
                <a:gd name="T15" fmla="*/ 2147483647 h 160"/>
                <a:gd name="T16" fmla="*/ 2147483647 w 286"/>
                <a:gd name="T17" fmla="*/ 2147483647 h 160"/>
                <a:gd name="T18" fmla="*/ 2147483647 w 286"/>
                <a:gd name="T19" fmla="*/ 2147483647 h 160"/>
                <a:gd name="T20" fmla="*/ 2147483647 w 286"/>
                <a:gd name="T21" fmla="*/ 2147483647 h 160"/>
                <a:gd name="T22" fmla="*/ 2147483647 w 286"/>
                <a:gd name="T23" fmla="*/ 2147483647 h 160"/>
                <a:gd name="T24" fmla="*/ 2147483647 w 286"/>
                <a:gd name="T25" fmla="*/ 2147483647 h 160"/>
                <a:gd name="T26" fmla="*/ 2147483647 w 286"/>
                <a:gd name="T27" fmla="*/ 2147483647 h 160"/>
                <a:gd name="T28" fmla="*/ 2147483647 w 286"/>
                <a:gd name="T29" fmla="*/ 2147483647 h 160"/>
                <a:gd name="T30" fmla="*/ 2147483647 w 286"/>
                <a:gd name="T31" fmla="*/ 2147483647 h 160"/>
                <a:gd name="T32" fmla="*/ 2147483647 w 286"/>
                <a:gd name="T33" fmla="*/ 2147483647 h 160"/>
                <a:gd name="T34" fmla="*/ 2147483647 w 286"/>
                <a:gd name="T35" fmla="*/ 2147483647 h 160"/>
                <a:gd name="T36" fmla="*/ 2147483647 w 286"/>
                <a:gd name="T37" fmla="*/ 2147483647 h 160"/>
                <a:gd name="T38" fmla="*/ 2147483647 w 286"/>
                <a:gd name="T39" fmla="*/ 2147483647 h 160"/>
                <a:gd name="T40" fmla="*/ 2147483647 w 286"/>
                <a:gd name="T41" fmla="*/ 2147483647 h 160"/>
                <a:gd name="T42" fmla="*/ 2147483647 w 286"/>
                <a:gd name="T43" fmla="*/ 2147483647 h 160"/>
                <a:gd name="T44" fmla="*/ 2147483647 w 286"/>
                <a:gd name="T45" fmla="*/ 2147483647 h 160"/>
                <a:gd name="T46" fmla="*/ 2147483647 w 286"/>
                <a:gd name="T47" fmla="*/ 2147483647 h 160"/>
                <a:gd name="T48" fmla="*/ 2147483647 w 286"/>
                <a:gd name="T49" fmla="*/ 2147483647 h 160"/>
                <a:gd name="T50" fmla="*/ 2147483647 w 286"/>
                <a:gd name="T51" fmla="*/ 2147483647 h 160"/>
                <a:gd name="T52" fmla="*/ 2147483647 w 286"/>
                <a:gd name="T53" fmla="*/ 2147483647 h 160"/>
                <a:gd name="T54" fmla="*/ 2147483647 w 286"/>
                <a:gd name="T55" fmla="*/ 2147483647 h 160"/>
                <a:gd name="T56" fmla="*/ 2147483647 w 286"/>
                <a:gd name="T57" fmla="*/ 2147483647 h 160"/>
                <a:gd name="T58" fmla="*/ 2147483647 w 286"/>
                <a:gd name="T59" fmla="*/ 2147483647 h 160"/>
                <a:gd name="T60" fmla="*/ 2147483647 w 286"/>
                <a:gd name="T61" fmla="*/ 2147483647 h 160"/>
                <a:gd name="T62" fmla="*/ 2147483647 w 286"/>
                <a:gd name="T63" fmla="*/ 2147483647 h 160"/>
                <a:gd name="T64" fmla="*/ 2147483647 w 286"/>
                <a:gd name="T65" fmla="*/ 2147483647 h 160"/>
                <a:gd name="T66" fmla="*/ 2147483647 w 286"/>
                <a:gd name="T67" fmla="*/ 2147483647 h 160"/>
                <a:gd name="T68" fmla="*/ 2147483647 w 286"/>
                <a:gd name="T69" fmla="*/ 2147483647 h 160"/>
                <a:gd name="T70" fmla="*/ 0 w 286"/>
                <a:gd name="T71" fmla="*/ 2147483647 h 160"/>
                <a:gd name="T72" fmla="*/ 2147483647 w 286"/>
                <a:gd name="T73" fmla="*/ 2147483647 h 160"/>
                <a:gd name="T74" fmla="*/ 2147483647 w 286"/>
                <a:gd name="T75" fmla="*/ 2147483647 h 160"/>
                <a:gd name="T76" fmla="*/ 2147483647 w 286"/>
                <a:gd name="T77" fmla="*/ 2147483647 h 160"/>
                <a:gd name="T78" fmla="*/ 2147483647 w 286"/>
                <a:gd name="T79" fmla="*/ 2147483647 h 160"/>
                <a:gd name="T80" fmla="*/ 2147483647 w 286"/>
                <a:gd name="T81" fmla="*/ 2147483647 h 160"/>
                <a:gd name="T82" fmla="*/ 2147483647 w 286"/>
                <a:gd name="T83" fmla="*/ 2147483647 h 160"/>
                <a:gd name="T84" fmla="*/ 2147483647 w 286"/>
                <a:gd name="T85" fmla="*/ 2147483647 h 16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86"/>
                <a:gd name="T130" fmla="*/ 0 h 160"/>
                <a:gd name="T131" fmla="*/ 286 w 286"/>
                <a:gd name="T132" fmla="*/ 160 h 16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86" h="160">
                  <a:moveTo>
                    <a:pt x="150" y="2"/>
                  </a:moveTo>
                  <a:lnTo>
                    <a:pt x="158" y="6"/>
                  </a:lnTo>
                  <a:lnTo>
                    <a:pt x="164" y="4"/>
                  </a:lnTo>
                  <a:lnTo>
                    <a:pt x="168" y="0"/>
                  </a:lnTo>
                  <a:lnTo>
                    <a:pt x="176" y="0"/>
                  </a:lnTo>
                  <a:lnTo>
                    <a:pt x="192" y="0"/>
                  </a:lnTo>
                  <a:lnTo>
                    <a:pt x="196" y="10"/>
                  </a:lnTo>
                  <a:lnTo>
                    <a:pt x="194" y="22"/>
                  </a:lnTo>
                  <a:lnTo>
                    <a:pt x="212" y="26"/>
                  </a:lnTo>
                  <a:lnTo>
                    <a:pt x="216" y="40"/>
                  </a:lnTo>
                  <a:lnTo>
                    <a:pt x="248" y="42"/>
                  </a:lnTo>
                  <a:lnTo>
                    <a:pt x="250" y="48"/>
                  </a:lnTo>
                  <a:lnTo>
                    <a:pt x="270" y="48"/>
                  </a:lnTo>
                  <a:lnTo>
                    <a:pt x="286" y="58"/>
                  </a:lnTo>
                  <a:lnTo>
                    <a:pt x="286" y="78"/>
                  </a:lnTo>
                  <a:lnTo>
                    <a:pt x="284" y="90"/>
                  </a:lnTo>
                  <a:lnTo>
                    <a:pt x="268" y="94"/>
                  </a:lnTo>
                  <a:lnTo>
                    <a:pt x="258" y="98"/>
                  </a:lnTo>
                  <a:lnTo>
                    <a:pt x="256" y="106"/>
                  </a:lnTo>
                  <a:lnTo>
                    <a:pt x="242" y="112"/>
                  </a:lnTo>
                  <a:lnTo>
                    <a:pt x="224" y="116"/>
                  </a:lnTo>
                  <a:lnTo>
                    <a:pt x="208" y="124"/>
                  </a:lnTo>
                  <a:lnTo>
                    <a:pt x="192" y="128"/>
                  </a:lnTo>
                  <a:lnTo>
                    <a:pt x="190" y="132"/>
                  </a:lnTo>
                  <a:lnTo>
                    <a:pt x="200" y="134"/>
                  </a:lnTo>
                  <a:lnTo>
                    <a:pt x="206" y="140"/>
                  </a:lnTo>
                  <a:lnTo>
                    <a:pt x="210" y="142"/>
                  </a:lnTo>
                  <a:lnTo>
                    <a:pt x="216" y="144"/>
                  </a:lnTo>
                  <a:lnTo>
                    <a:pt x="232" y="142"/>
                  </a:lnTo>
                  <a:lnTo>
                    <a:pt x="238" y="144"/>
                  </a:lnTo>
                  <a:lnTo>
                    <a:pt x="240" y="150"/>
                  </a:lnTo>
                  <a:lnTo>
                    <a:pt x="234" y="150"/>
                  </a:lnTo>
                  <a:lnTo>
                    <a:pt x="220" y="150"/>
                  </a:lnTo>
                  <a:lnTo>
                    <a:pt x="210" y="150"/>
                  </a:lnTo>
                  <a:lnTo>
                    <a:pt x="202" y="154"/>
                  </a:lnTo>
                  <a:lnTo>
                    <a:pt x="194" y="160"/>
                  </a:lnTo>
                  <a:lnTo>
                    <a:pt x="184" y="160"/>
                  </a:lnTo>
                  <a:lnTo>
                    <a:pt x="184" y="152"/>
                  </a:lnTo>
                  <a:lnTo>
                    <a:pt x="180" y="146"/>
                  </a:lnTo>
                  <a:lnTo>
                    <a:pt x="170" y="140"/>
                  </a:lnTo>
                  <a:lnTo>
                    <a:pt x="176" y="136"/>
                  </a:lnTo>
                  <a:lnTo>
                    <a:pt x="184" y="132"/>
                  </a:lnTo>
                  <a:lnTo>
                    <a:pt x="184" y="128"/>
                  </a:lnTo>
                  <a:lnTo>
                    <a:pt x="162" y="128"/>
                  </a:lnTo>
                  <a:lnTo>
                    <a:pt x="158" y="116"/>
                  </a:lnTo>
                  <a:lnTo>
                    <a:pt x="146" y="116"/>
                  </a:lnTo>
                  <a:lnTo>
                    <a:pt x="138" y="118"/>
                  </a:lnTo>
                  <a:lnTo>
                    <a:pt x="138" y="126"/>
                  </a:lnTo>
                  <a:lnTo>
                    <a:pt x="126" y="134"/>
                  </a:lnTo>
                  <a:lnTo>
                    <a:pt x="120" y="146"/>
                  </a:lnTo>
                  <a:lnTo>
                    <a:pt x="114" y="140"/>
                  </a:lnTo>
                  <a:lnTo>
                    <a:pt x="110" y="144"/>
                  </a:lnTo>
                  <a:lnTo>
                    <a:pt x="100" y="142"/>
                  </a:lnTo>
                  <a:lnTo>
                    <a:pt x="100" y="140"/>
                  </a:lnTo>
                  <a:lnTo>
                    <a:pt x="110" y="128"/>
                  </a:lnTo>
                  <a:lnTo>
                    <a:pt x="110" y="120"/>
                  </a:lnTo>
                  <a:lnTo>
                    <a:pt x="128" y="122"/>
                  </a:lnTo>
                  <a:lnTo>
                    <a:pt x="132" y="116"/>
                  </a:lnTo>
                  <a:lnTo>
                    <a:pt x="128" y="108"/>
                  </a:lnTo>
                  <a:lnTo>
                    <a:pt x="118" y="102"/>
                  </a:lnTo>
                  <a:lnTo>
                    <a:pt x="110" y="86"/>
                  </a:lnTo>
                  <a:lnTo>
                    <a:pt x="98" y="82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0" y="84"/>
                  </a:lnTo>
                  <a:lnTo>
                    <a:pt x="68" y="84"/>
                  </a:lnTo>
                  <a:lnTo>
                    <a:pt x="64" y="92"/>
                  </a:lnTo>
                  <a:lnTo>
                    <a:pt x="44" y="92"/>
                  </a:lnTo>
                  <a:lnTo>
                    <a:pt x="32" y="86"/>
                  </a:lnTo>
                  <a:lnTo>
                    <a:pt x="10" y="94"/>
                  </a:lnTo>
                  <a:lnTo>
                    <a:pt x="6" y="86"/>
                  </a:lnTo>
                  <a:lnTo>
                    <a:pt x="0" y="82"/>
                  </a:lnTo>
                  <a:lnTo>
                    <a:pt x="4" y="76"/>
                  </a:lnTo>
                  <a:lnTo>
                    <a:pt x="8" y="66"/>
                  </a:lnTo>
                  <a:lnTo>
                    <a:pt x="10" y="58"/>
                  </a:lnTo>
                  <a:lnTo>
                    <a:pt x="18" y="46"/>
                  </a:lnTo>
                  <a:lnTo>
                    <a:pt x="22" y="42"/>
                  </a:lnTo>
                  <a:lnTo>
                    <a:pt x="32" y="36"/>
                  </a:lnTo>
                  <a:lnTo>
                    <a:pt x="28" y="24"/>
                  </a:lnTo>
                  <a:lnTo>
                    <a:pt x="28" y="16"/>
                  </a:lnTo>
                  <a:lnTo>
                    <a:pt x="36" y="4"/>
                  </a:lnTo>
                  <a:lnTo>
                    <a:pt x="84" y="14"/>
                  </a:lnTo>
                  <a:lnTo>
                    <a:pt x="112" y="14"/>
                  </a:lnTo>
                  <a:lnTo>
                    <a:pt x="114" y="20"/>
                  </a:lnTo>
                  <a:lnTo>
                    <a:pt x="134" y="22"/>
                  </a:lnTo>
                  <a:lnTo>
                    <a:pt x="138" y="4"/>
                  </a:lnTo>
                  <a:lnTo>
                    <a:pt x="150" y="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33" name="Freeform 268"/>
            <p:cNvSpPr>
              <a:spLocks/>
            </p:cNvSpPr>
            <p:nvPr/>
          </p:nvSpPr>
          <p:spPr bwMode="gray">
            <a:xfrm>
              <a:off x="4860925" y="3317875"/>
              <a:ext cx="117475" cy="68263"/>
            </a:xfrm>
            <a:custGeom>
              <a:avLst/>
              <a:gdLst>
                <a:gd name="T0" fmla="*/ 2147483647 w 98"/>
                <a:gd name="T1" fmla="*/ 2147483647 h 56"/>
                <a:gd name="T2" fmla="*/ 2147483647 w 98"/>
                <a:gd name="T3" fmla="*/ 2147483647 h 56"/>
                <a:gd name="T4" fmla="*/ 2147483647 w 98"/>
                <a:gd name="T5" fmla="*/ 2147483647 h 56"/>
                <a:gd name="T6" fmla="*/ 2147483647 w 98"/>
                <a:gd name="T7" fmla="*/ 0 h 56"/>
                <a:gd name="T8" fmla="*/ 2147483647 w 98"/>
                <a:gd name="T9" fmla="*/ 2147483647 h 56"/>
                <a:gd name="T10" fmla="*/ 2147483647 w 98"/>
                <a:gd name="T11" fmla="*/ 2147483647 h 56"/>
                <a:gd name="T12" fmla="*/ 2147483647 w 98"/>
                <a:gd name="T13" fmla="*/ 2147483647 h 56"/>
                <a:gd name="T14" fmla="*/ 2147483647 w 98"/>
                <a:gd name="T15" fmla="*/ 2147483647 h 56"/>
                <a:gd name="T16" fmla="*/ 2147483647 w 98"/>
                <a:gd name="T17" fmla="*/ 2147483647 h 56"/>
                <a:gd name="T18" fmla="*/ 2147483647 w 98"/>
                <a:gd name="T19" fmla="*/ 2147483647 h 56"/>
                <a:gd name="T20" fmla="*/ 2147483647 w 98"/>
                <a:gd name="T21" fmla="*/ 2147483647 h 56"/>
                <a:gd name="T22" fmla="*/ 2147483647 w 98"/>
                <a:gd name="T23" fmla="*/ 2147483647 h 56"/>
                <a:gd name="T24" fmla="*/ 2147483647 w 98"/>
                <a:gd name="T25" fmla="*/ 2147483647 h 56"/>
                <a:gd name="T26" fmla="*/ 2147483647 w 98"/>
                <a:gd name="T27" fmla="*/ 2147483647 h 56"/>
                <a:gd name="T28" fmla="*/ 2147483647 w 98"/>
                <a:gd name="T29" fmla="*/ 2147483647 h 56"/>
                <a:gd name="T30" fmla="*/ 2147483647 w 98"/>
                <a:gd name="T31" fmla="*/ 2147483647 h 56"/>
                <a:gd name="T32" fmla="*/ 2147483647 w 98"/>
                <a:gd name="T33" fmla="*/ 2147483647 h 56"/>
                <a:gd name="T34" fmla="*/ 2147483647 w 98"/>
                <a:gd name="T35" fmla="*/ 2147483647 h 56"/>
                <a:gd name="T36" fmla="*/ 2147483647 w 98"/>
                <a:gd name="T37" fmla="*/ 2147483647 h 56"/>
                <a:gd name="T38" fmla="*/ 2147483647 w 98"/>
                <a:gd name="T39" fmla="*/ 2147483647 h 56"/>
                <a:gd name="T40" fmla="*/ 2147483647 w 98"/>
                <a:gd name="T41" fmla="*/ 2147483647 h 56"/>
                <a:gd name="T42" fmla="*/ 2147483647 w 98"/>
                <a:gd name="T43" fmla="*/ 2147483647 h 56"/>
                <a:gd name="T44" fmla="*/ 2147483647 w 98"/>
                <a:gd name="T45" fmla="*/ 2147483647 h 56"/>
                <a:gd name="T46" fmla="*/ 2147483647 w 98"/>
                <a:gd name="T47" fmla="*/ 2147483647 h 56"/>
                <a:gd name="T48" fmla="*/ 2147483647 w 98"/>
                <a:gd name="T49" fmla="*/ 2147483647 h 56"/>
                <a:gd name="T50" fmla="*/ 2147483647 w 98"/>
                <a:gd name="T51" fmla="*/ 2147483647 h 56"/>
                <a:gd name="T52" fmla="*/ 2147483647 w 98"/>
                <a:gd name="T53" fmla="*/ 2147483647 h 56"/>
                <a:gd name="T54" fmla="*/ 2147483647 w 98"/>
                <a:gd name="T55" fmla="*/ 2147483647 h 56"/>
                <a:gd name="T56" fmla="*/ 2147483647 w 98"/>
                <a:gd name="T57" fmla="*/ 2147483647 h 56"/>
                <a:gd name="T58" fmla="*/ 0 w 98"/>
                <a:gd name="T59" fmla="*/ 2147483647 h 56"/>
                <a:gd name="T60" fmla="*/ 2147483647 w 98"/>
                <a:gd name="T61" fmla="*/ 2147483647 h 56"/>
                <a:gd name="T62" fmla="*/ 2147483647 w 98"/>
                <a:gd name="T63" fmla="*/ 2147483647 h 5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98"/>
                <a:gd name="T97" fmla="*/ 0 h 56"/>
                <a:gd name="T98" fmla="*/ 98 w 98"/>
                <a:gd name="T99" fmla="*/ 56 h 5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98" h="56">
                  <a:moveTo>
                    <a:pt x="18" y="8"/>
                  </a:moveTo>
                  <a:lnTo>
                    <a:pt x="46" y="8"/>
                  </a:lnTo>
                  <a:lnTo>
                    <a:pt x="58" y="8"/>
                  </a:lnTo>
                  <a:lnTo>
                    <a:pt x="66" y="0"/>
                  </a:lnTo>
                  <a:lnTo>
                    <a:pt x="80" y="4"/>
                  </a:lnTo>
                  <a:lnTo>
                    <a:pt x="92" y="10"/>
                  </a:lnTo>
                  <a:lnTo>
                    <a:pt x="98" y="10"/>
                  </a:lnTo>
                  <a:lnTo>
                    <a:pt x="98" y="14"/>
                  </a:lnTo>
                  <a:lnTo>
                    <a:pt x="90" y="16"/>
                  </a:lnTo>
                  <a:lnTo>
                    <a:pt x="90" y="28"/>
                  </a:lnTo>
                  <a:lnTo>
                    <a:pt x="82" y="36"/>
                  </a:lnTo>
                  <a:lnTo>
                    <a:pt x="84" y="38"/>
                  </a:lnTo>
                  <a:lnTo>
                    <a:pt x="92" y="42"/>
                  </a:lnTo>
                  <a:lnTo>
                    <a:pt x="90" y="46"/>
                  </a:lnTo>
                  <a:lnTo>
                    <a:pt x="80" y="44"/>
                  </a:lnTo>
                  <a:lnTo>
                    <a:pt x="72" y="42"/>
                  </a:lnTo>
                  <a:lnTo>
                    <a:pt x="64" y="46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52" y="56"/>
                  </a:lnTo>
                  <a:lnTo>
                    <a:pt x="40" y="56"/>
                  </a:lnTo>
                  <a:lnTo>
                    <a:pt x="30" y="52"/>
                  </a:lnTo>
                  <a:lnTo>
                    <a:pt x="24" y="52"/>
                  </a:lnTo>
                  <a:lnTo>
                    <a:pt x="14" y="54"/>
                  </a:lnTo>
                  <a:lnTo>
                    <a:pt x="12" y="48"/>
                  </a:lnTo>
                  <a:lnTo>
                    <a:pt x="6" y="42"/>
                  </a:lnTo>
                  <a:lnTo>
                    <a:pt x="4" y="34"/>
                  </a:lnTo>
                  <a:lnTo>
                    <a:pt x="10" y="22"/>
                  </a:lnTo>
                  <a:lnTo>
                    <a:pt x="4" y="14"/>
                  </a:lnTo>
                  <a:lnTo>
                    <a:pt x="0" y="8"/>
                  </a:lnTo>
                  <a:lnTo>
                    <a:pt x="6" y="4"/>
                  </a:lnTo>
                  <a:lnTo>
                    <a:pt x="18" y="8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34" name="Freeform 269"/>
            <p:cNvSpPr>
              <a:spLocks/>
            </p:cNvSpPr>
            <p:nvPr/>
          </p:nvSpPr>
          <p:spPr bwMode="gray">
            <a:xfrm>
              <a:off x="6572250" y="4438650"/>
              <a:ext cx="758825" cy="577850"/>
            </a:xfrm>
            <a:custGeom>
              <a:avLst/>
              <a:gdLst>
                <a:gd name="T0" fmla="*/ 2147483647 w 640"/>
                <a:gd name="T1" fmla="*/ 2147483647 h 476"/>
                <a:gd name="T2" fmla="*/ 2147483647 w 640"/>
                <a:gd name="T3" fmla="*/ 2147483647 h 476"/>
                <a:gd name="T4" fmla="*/ 2147483647 w 640"/>
                <a:gd name="T5" fmla="*/ 2147483647 h 476"/>
                <a:gd name="T6" fmla="*/ 2147483647 w 640"/>
                <a:gd name="T7" fmla="*/ 2147483647 h 476"/>
                <a:gd name="T8" fmla="*/ 2147483647 w 640"/>
                <a:gd name="T9" fmla="*/ 2147483647 h 476"/>
                <a:gd name="T10" fmla="*/ 2147483647 w 640"/>
                <a:gd name="T11" fmla="*/ 2147483647 h 476"/>
                <a:gd name="T12" fmla="*/ 2147483647 w 640"/>
                <a:gd name="T13" fmla="*/ 2147483647 h 476"/>
                <a:gd name="T14" fmla="*/ 2147483647 w 640"/>
                <a:gd name="T15" fmla="*/ 2147483647 h 476"/>
                <a:gd name="T16" fmla="*/ 2147483647 w 640"/>
                <a:gd name="T17" fmla="*/ 2147483647 h 476"/>
                <a:gd name="T18" fmla="*/ 2147483647 w 640"/>
                <a:gd name="T19" fmla="*/ 2147483647 h 476"/>
                <a:gd name="T20" fmla="*/ 2147483647 w 640"/>
                <a:gd name="T21" fmla="*/ 2147483647 h 476"/>
                <a:gd name="T22" fmla="*/ 2147483647 w 640"/>
                <a:gd name="T23" fmla="*/ 2147483647 h 476"/>
                <a:gd name="T24" fmla="*/ 2147483647 w 640"/>
                <a:gd name="T25" fmla="*/ 2147483647 h 476"/>
                <a:gd name="T26" fmla="*/ 2147483647 w 640"/>
                <a:gd name="T27" fmla="*/ 2147483647 h 476"/>
                <a:gd name="T28" fmla="*/ 2147483647 w 640"/>
                <a:gd name="T29" fmla="*/ 2147483647 h 476"/>
                <a:gd name="T30" fmla="*/ 2147483647 w 640"/>
                <a:gd name="T31" fmla="*/ 2147483647 h 476"/>
                <a:gd name="T32" fmla="*/ 2147483647 w 640"/>
                <a:gd name="T33" fmla="*/ 2147483647 h 476"/>
                <a:gd name="T34" fmla="*/ 2147483647 w 640"/>
                <a:gd name="T35" fmla="*/ 2147483647 h 476"/>
                <a:gd name="T36" fmla="*/ 2147483647 w 640"/>
                <a:gd name="T37" fmla="*/ 2147483647 h 476"/>
                <a:gd name="T38" fmla="*/ 2147483647 w 640"/>
                <a:gd name="T39" fmla="*/ 2147483647 h 476"/>
                <a:gd name="T40" fmla="*/ 2147483647 w 640"/>
                <a:gd name="T41" fmla="*/ 2147483647 h 476"/>
                <a:gd name="T42" fmla="*/ 2147483647 w 640"/>
                <a:gd name="T43" fmla="*/ 2147483647 h 476"/>
                <a:gd name="T44" fmla="*/ 2147483647 w 640"/>
                <a:gd name="T45" fmla="*/ 2147483647 h 476"/>
                <a:gd name="T46" fmla="*/ 2147483647 w 640"/>
                <a:gd name="T47" fmla="*/ 2147483647 h 476"/>
                <a:gd name="T48" fmla="*/ 2147483647 w 640"/>
                <a:gd name="T49" fmla="*/ 2147483647 h 476"/>
                <a:gd name="T50" fmla="*/ 2147483647 w 640"/>
                <a:gd name="T51" fmla="*/ 2147483647 h 476"/>
                <a:gd name="T52" fmla="*/ 2147483647 w 640"/>
                <a:gd name="T53" fmla="*/ 2147483647 h 476"/>
                <a:gd name="T54" fmla="*/ 2147483647 w 640"/>
                <a:gd name="T55" fmla="*/ 2147483647 h 476"/>
                <a:gd name="T56" fmla="*/ 2147483647 w 640"/>
                <a:gd name="T57" fmla="*/ 2147483647 h 476"/>
                <a:gd name="T58" fmla="*/ 2147483647 w 640"/>
                <a:gd name="T59" fmla="*/ 2147483647 h 476"/>
                <a:gd name="T60" fmla="*/ 2147483647 w 640"/>
                <a:gd name="T61" fmla="*/ 2147483647 h 476"/>
                <a:gd name="T62" fmla="*/ 2147483647 w 640"/>
                <a:gd name="T63" fmla="*/ 2147483647 h 476"/>
                <a:gd name="T64" fmla="*/ 2147483647 w 640"/>
                <a:gd name="T65" fmla="*/ 2147483647 h 476"/>
                <a:gd name="T66" fmla="*/ 2147483647 w 640"/>
                <a:gd name="T67" fmla="*/ 2147483647 h 476"/>
                <a:gd name="T68" fmla="*/ 2147483647 w 640"/>
                <a:gd name="T69" fmla="*/ 2147483647 h 476"/>
                <a:gd name="T70" fmla="*/ 2147483647 w 640"/>
                <a:gd name="T71" fmla="*/ 2147483647 h 476"/>
                <a:gd name="T72" fmla="*/ 2147483647 w 640"/>
                <a:gd name="T73" fmla="*/ 2147483647 h 476"/>
                <a:gd name="T74" fmla="*/ 2147483647 w 640"/>
                <a:gd name="T75" fmla="*/ 2147483647 h 476"/>
                <a:gd name="T76" fmla="*/ 2147483647 w 640"/>
                <a:gd name="T77" fmla="*/ 2147483647 h 476"/>
                <a:gd name="T78" fmla="*/ 2147483647 w 640"/>
                <a:gd name="T79" fmla="*/ 2147483647 h 476"/>
                <a:gd name="T80" fmla="*/ 2147483647 w 640"/>
                <a:gd name="T81" fmla="*/ 2147483647 h 476"/>
                <a:gd name="T82" fmla="*/ 2147483647 w 640"/>
                <a:gd name="T83" fmla="*/ 2147483647 h 476"/>
                <a:gd name="T84" fmla="*/ 2147483647 w 640"/>
                <a:gd name="T85" fmla="*/ 2147483647 h 476"/>
                <a:gd name="T86" fmla="*/ 2147483647 w 640"/>
                <a:gd name="T87" fmla="*/ 2147483647 h 476"/>
                <a:gd name="T88" fmla="*/ 2147483647 w 640"/>
                <a:gd name="T89" fmla="*/ 2147483647 h 476"/>
                <a:gd name="T90" fmla="*/ 2147483647 w 640"/>
                <a:gd name="T91" fmla="*/ 2147483647 h 476"/>
                <a:gd name="T92" fmla="*/ 2147483647 w 640"/>
                <a:gd name="T93" fmla="*/ 2147483647 h 476"/>
                <a:gd name="T94" fmla="*/ 2147483647 w 640"/>
                <a:gd name="T95" fmla="*/ 2147483647 h 476"/>
                <a:gd name="T96" fmla="*/ 2147483647 w 640"/>
                <a:gd name="T97" fmla="*/ 2147483647 h 476"/>
                <a:gd name="T98" fmla="*/ 2147483647 w 640"/>
                <a:gd name="T99" fmla="*/ 2147483647 h 476"/>
                <a:gd name="T100" fmla="*/ 2147483647 w 640"/>
                <a:gd name="T101" fmla="*/ 2147483647 h 476"/>
                <a:gd name="T102" fmla="*/ 2147483647 w 640"/>
                <a:gd name="T103" fmla="*/ 2147483647 h 476"/>
                <a:gd name="T104" fmla="*/ 2147483647 w 640"/>
                <a:gd name="T105" fmla="*/ 2147483647 h 476"/>
                <a:gd name="T106" fmla="*/ 2147483647 w 640"/>
                <a:gd name="T107" fmla="*/ 2147483647 h 476"/>
                <a:gd name="T108" fmla="*/ 2147483647 w 640"/>
                <a:gd name="T109" fmla="*/ 2147483647 h 476"/>
                <a:gd name="T110" fmla="*/ 2147483647 w 640"/>
                <a:gd name="T111" fmla="*/ 2147483647 h 476"/>
                <a:gd name="T112" fmla="*/ 2147483647 w 640"/>
                <a:gd name="T113" fmla="*/ 2147483647 h 476"/>
                <a:gd name="T114" fmla="*/ 2147483647 w 640"/>
                <a:gd name="T115" fmla="*/ 2147483647 h 476"/>
                <a:gd name="T116" fmla="*/ 2147483647 w 640"/>
                <a:gd name="T117" fmla="*/ 2147483647 h 47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40"/>
                <a:gd name="T178" fmla="*/ 0 h 476"/>
                <a:gd name="T179" fmla="*/ 640 w 640"/>
                <a:gd name="T180" fmla="*/ 476 h 47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40" h="476">
                  <a:moveTo>
                    <a:pt x="286" y="20"/>
                  </a:moveTo>
                  <a:lnTo>
                    <a:pt x="296" y="22"/>
                  </a:lnTo>
                  <a:lnTo>
                    <a:pt x="308" y="18"/>
                  </a:lnTo>
                  <a:lnTo>
                    <a:pt x="310" y="12"/>
                  </a:lnTo>
                  <a:lnTo>
                    <a:pt x="302" y="6"/>
                  </a:lnTo>
                  <a:lnTo>
                    <a:pt x="308" y="4"/>
                  </a:lnTo>
                  <a:lnTo>
                    <a:pt x="322" y="10"/>
                  </a:lnTo>
                  <a:lnTo>
                    <a:pt x="330" y="14"/>
                  </a:lnTo>
                  <a:lnTo>
                    <a:pt x="340" y="18"/>
                  </a:lnTo>
                  <a:lnTo>
                    <a:pt x="348" y="20"/>
                  </a:lnTo>
                  <a:lnTo>
                    <a:pt x="354" y="22"/>
                  </a:lnTo>
                  <a:lnTo>
                    <a:pt x="362" y="22"/>
                  </a:lnTo>
                  <a:lnTo>
                    <a:pt x="372" y="18"/>
                  </a:lnTo>
                  <a:lnTo>
                    <a:pt x="380" y="22"/>
                  </a:lnTo>
                  <a:lnTo>
                    <a:pt x="372" y="30"/>
                  </a:lnTo>
                  <a:lnTo>
                    <a:pt x="366" y="40"/>
                  </a:lnTo>
                  <a:lnTo>
                    <a:pt x="360" y="48"/>
                  </a:lnTo>
                  <a:lnTo>
                    <a:pt x="352" y="54"/>
                  </a:lnTo>
                  <a:lnTo>
                    <a:pt x="352" y="62"/>
                  </a:lnTo>
                  <a:lnTo>
                    <a:pt x="358" y="68"/>
                  </a:lnTo>
                  <a:lnTo>
                    <a:pt x="372" y="78"/>
                  </a:lnTo>
                  <a:lnTo>
                    <a:pt x="388" y="84"/>
                  </a:lnTo>
                  <a:lnTo>
                    <a:pt x="404" y="96"/>
                  </a:lnTo>
                  <a:lnTo>
                    <a:pt x="416" y="102"/>
                  </a:lnTo>
                  <a:lnTo>
                    <a:pt x="432" y="112"/>
                  </a:lnTo>
                  <a:lnTo>
                    <a:pt x="442" y="100"/>
                  </a:lnTo>
                  <a:lnTo>
                    <a:pt x="450" y="84"/>
                  </a:lnTo>
                  <a:lnTo>
                    <a:pt x="452" y="66"/>
                  </a:lnTo>
                  <a:lnTo>
                    <a:pt x="450" y="40"/>
                  </a:lnTo>
                  <a:lnTo>
                    <a:pt x="456" y="22"/>
                  </a:lnTo>
                  <a:lnTo>
                    <a:pt x="460" y="10"/>
                  </a:lnTo>
                  <a:lnTo>
                    <a:pt x="464" y="0"/>
                  </a:lnTo>
                  <a:lnTo>
                    <a:pt x="470" y="6"/>
                  </a:lnTo>
                  <a:lnTo>
                    <a:pt x="478" y="20"/>
                  </a:lnTo>
                  <a:lnTo>
                    <a:pt x="482" y="32"/>
                  </a:lnTo>
                  <a:lnTo>
                    <a:pt x="484" y="54"/>
                  </a:lnTo>
                  <a:lnTo>
                    <a:pt x="494" y="58"/>
                  </a:lnTo>
                  <a:lnTo>
                    <a:pt x="506" y="62"/>
                  </a:lnTo>
                  <a:lnTo>
                    <a:pt x="510" y="72"/>
                  </a:lnTo>
                  <a:lnTo>
                    <a:pt x="512" y="82"/>
                  </a:lnTo>
                  <a:lnTo>
                    <a:pt x="512" y="96"/>
                  </a:lnTo>
                  <a:lnTo>
                    <a:pt x="522" y="102"/>
                  </a:lnTo>
                  <a:lnTo>
                    <a:pt x="526" y="112"/>
                  </a:lnTo>
                  <a:lnTo>
                    <a:pt x="526" y="124"/>
                  </a:lnTo>
                  <a:lnTo>
                    <a:pt x="532" y="134"/>
                  </a:lnTo>
                  <a:lnTo>
                    <a:pt x="544" y="138"/>
                  </a:lnTo>
                  <a:lnTo>
                    <a:pt x="558" y="148"/>
                  </a:lnTo>
                  <a:lnTo>
                    <a:pt x="568" y="162"/>
                  </a:lnTo>
                  <a:lnTo>
                    <a:pt x="578" y="172"/>
                  </a:lnTo>
                  <a:lnTo>
                    <a:pt x="578" y="182"/>
                  </a:lnTo>
                  <a:lnTo>
                    <a:pt x="582" y="188"/>
                  </a:lnTo>
                  <a:lnTo>
                    <a:pt x="594" y="188"/>
                  </a:lnTo>
                  <a:lnTo>
                    <a:pt x="598" y="204"/>
                  </a:lnTo>
                  <a:lnTo>
                    <a:pt x="612" y="214"/>
                  </a:lnTo>
                  <a:lnTo>
                    <a:pt x="624" y="228"/>
                  </a:lnTo>
                  <a:lnTo>
                    <a:pt x="630" y="242"/>
                  </a:lnTo>
                  <a:lnTo>
                    <a:pt x="634" y="254"/>
                  </a:lnTo>
                  <a:lnTo>
                    <a:pt x="636" y="270"/>
                  </a:lnTo>
                  <a:lnTo>
                    <a:pt x="638" y="282"/>
                  </a:lnTo>
                  <a:lnTo>
                    <a:pt x="640" y="300"/>
                  </a:lnTo>
                  <a:lnTo>
                    <a:pt x="634" y="322"/>
                  </a:lnTo>
                  <a:lnTo>
                    <a:pt x="632" y="340"/>
                  </a:lnTo>
                  <a:lnTo>
                    <a:pt x="624" y="358"/>
                  </a:lnTo>
                  <a:lnTo>
                    <a:pt x="612" y="368"/>
                  </a:lnTo>
                  <a:lnTo>
                    <a:pt x="606" y="380"/>
                  </a:lnTo>
                  <a:lnTo>
                    <a:pt x="596" y="402"/>
                  </a:lnTo>
                  <a:lnTo>
                    <a:pt x="590" y="418"/>
                  </a:lnTo>
                  <a:lnTo>
                    <a:pt x="582" y="432"/>
                  </a:lnTo>
                  <a:lnTo>
                    <a:pt x="582" y="450"/>
                  </a:lnTo>
                  <a:lnTo>
                    <a:pt x="576" y="454"/>
                  </a:lnTo>
                  <a:lnTo>
                    <a:pt x="566" y="454"/>
                  </a:lnTo>
                  <a:lnTo>
                    <a:pt x="550" y="452"/>
                  </a:lnTo>
                  <a:lnTo>
                    <a:pt x="546" y="464"/>
                  </a:lnTo>
                  <a:lnTo>
                    <a:pt x="534" y="472"/>
                  </a:lnTo>
                  <a:lnTo>
                    <a:pt x="532" y="474"/>
                  </a:lnTo>
                  <a:lnTo>
                    <a:pt x="526" y="476"/>
                  </a:lnTo>
                  <a:lnTo>
                    <a:pt x="520" y="472"/>
                  </a:lnTo>
                  <a:lnTo>
                    <a:pt x="516" y="468"/>
                  </a:lnTo>
                  <a:lnTo>
                    <a:pt x="510" y="462"/>
                  </a:lnTo>
                  <a:lnTo>
                    <a:pt x="506" y="458"/>
                  </a:lnTo>
                  <a:lnTo>
                    <a:pt x="500" y="460"/>
                  </a:lnTo>
                  <a:lnTo>
                    <a:pt x="486" y="474"/>
                  </a:lnTo>
                  <a:lnTo>
                    <a:pt x="474" y="470"/>
                  </a:lnTo>
                  <a:lnTo>
                    <a:pt x="462" y="464"/>
                  </a:lnTo>
                  <a:lnTo>
                    <a:pt x="450" y="464"/>
                  </a:lnTo>
                  <a:lnTo>
                    <a:pt x="438" y="462"/>
                  </a:lnTo>
                  <a:lnTo>
                    <a:pt x="430" y="452"/>
                  </a:lnTo>
                  <a:lnTo>
                    <a:pt x="424" y="444"/>
                  </a:lnTo>
                  <a:lnTo>
                    <a:pt x="426" y="434"/>
                  </a:lnTo>
                  <a:lnTo>
                    <a:pt x="418" y="424"/>
                  </a:lnTo>
                  <a:lnTo>
                    <a:pt x="410" y="416"/>
                  </a:lnTo>
                  <a:lnTo>
                    <a:pt x="402" y="416"/>
                  </a:lnTo>
                  <a:lnTo>
                    <a:pt x="400" y="408"/>
                  </a:lnTo>
                  <a:lnTo>
                    <a:pt x="406" y="398"/>
                  </a:lnTo>
                  <a:lnTo>
                    <a:pt x="398" y="394"/>
                  </a:lnTo>
                  <a:lnTo>
                    <a:pt x="390" y="402"/>
                  </a:lnTo>
                  <a:lnTo>
                    <a:pt x="380" y="408"/>
                  </a:lnTo>
                  <a:lnTo>
                    <a:pt x="386" y="388"/>
                  </a:lnTo>
                  <a:lnTo>
                    <a:pt x="392" y="382"/>
                  </a:lnTo>
                  <a:lnTo>
                    <a:pt x="394" y="376"/>
                  </a:lnTo>
                  <a:lnTo>
                    <a:pt x="390" y="366"/>
                  </a:lnTo>
                  <a:lnTo>
                    <a:pt x="382" y="376"/>
                  </a:lnTo>
                  <a:lnTo>
                    <a:pt x="376" y="386"/>
                  </a:lnTo>
                  <a:lnTo>
                    <a:pt x="366" y="394"/>
                  </a:lnTo>
                  <a:lnTo>
                    <a:pt x="360" y="402"/>
                  </a:lnTo>
                  <a:lnTo>
                    <a:pt x="352" y="398"/>
                  </a:lnTo>
                  <a:lnTo>
                    <a:pt x="350" y="386"/>
                  </a:lnTo>
                  <a:lnTo>
                    <a:pt x="340" y="372"/>
                  </a:lnTo>
                  <a:lnTo>
                    <a:pt x="334" y="364"/>
                  </a:lnTo>
                  <a:lnTo>
                    <a:pt x="328" y="358"/>
                  </a:lnTo>
                  <a:lnTo>
                    <a:pt x="298" y="350"/>
                  </a:lnTo>
                  <a:lnTo>
                    <a:pt x="258" y="344"/>
                  </a:lnTo>
                  <a:lnTo>
                    <a:pt x="246" y="348"/>
                  </a:lnTo>
                  <a:lnTo>
                    <a:pt x="228" y="356"/>
                  </a:lnTo>
                  <a:lnTo>
                    <a:pt x="200" y="358"/>
                  </a:lnTo>
                  <a:lnTo>
                    <a:pt x="184" y="368"/>
                  </a:lnTo>
                  <a:lnTo>
                    <a:pt x="172" y="372"/>
                  </a:lnTo>
                  <a:lnTo>
                    <a:pt x="170" y="380"/>
                  </a:lnTo>
                  <a:lnTo>
                    <a:pt x="164" y="386"/>
                  </a:lnTo>
                  <a:lnTo>
                    <a:pt x="108" y="386"/>
                  </a:lnTo>
                  <a:lnTo>
                    <a:pt x="100" y="394"/>
                  </a:lnTo>
                  <a:lnTo>
                    <a:pt x="90" y="394"/>
                  </a:lnTo>
                  <a:lnTo>
                    <a:pt x="80" y="406"/>
                  </a:lnTo>
                  <a:lnTo>
                    <a:pt x="54" y="408"/>
                  </a:lnTo>
                  <a:lnTo>
                    <a:pt x="42" y="400"/>
                  </a:lnTo>
                  <a:lnTo>
                    <a:pt x="30" y="394"/>
                  </a:lnTo>
                  <a:lnTo>
                    <a:pt x="28" y="384"/>
                  </a:lnTo>
                  <a:lnTo>
                    <a:pt x="40" y="378"/>
                  </a:lnTo>
                  <a:lnTo>
                    <a:pt x="40" y="356"/>
                  </a:lnTo>
                  <a:lnTo>
                    <a:pt x="40" y="342"/>
                  </a:lnTo>
                  <a:lnTo>
                    <a:pt x="30" y="328"/>
                  </a:lnTo>
                  <a:lnTo>
                    <a:pt x="30" y="310"/>
                  </a:lnTo>
                  <a:lnTo>
                    <a:pt x="18" y="280"/>
                  </a:lnTo>
                  <a:lnTo>
                    <a:pt x="10" y="264"/>
                  </a:lnTo>
                  <a:lnTo>
                    <a:pt x="4" y="254"/>
                  </a:lnTo>
                  <a:lnTo>
                    <a:pt x="0" y="246"/>
                  </a:lnTo>
                  <a:lnTo>
                    <a:pt x="6" y="248"/>
                  </a:lnTo>
                  <a:lnTo>
                    <a:pt x="10" y="254"/>
                  </a:lnTo>
                  <a:lnTo>
                    <a:pt x="18" y="254"/>
                  </a:lnTo>
                  <a:lnTo>
                    <a:pt x="20" y="244"/>
                  </a:lnTo>
                  <a:lnTo>
                    <a:pt x="12" y="238"/>
                  </a:lnTo>
                  <a:lnTo>
                    <a:pt x="6" y="218"/>
                  </a:lnTo>
                  <a:lnTo>
                    <a:pt x="6" y="204"/>
                  </a:lnTo>
                  <a:lnTo>
                    <a:pt x="12" y="188"/>
                  </a:lnTo>
                  <a:lnTo>
                    <a:pt x="14" y="180"/>
                  </a:lnTo>
                  <a:lnTo>
                    <a:pt x="20" y="186"/>
                  </a:lnTo>
                  <a:lnTo>
                    <a:pt x="24" y="178"/>
                  </a:lnTo>
                  <a:lnTo>
                    <a:pt x="34" y="178"/>
                  </a:lnTo>
                  <a:lnTo>
                    <a:pt x="48" y="162"/>
                  </a:lnTo>
                  <a:lnTo>
                    <a:pt x="62" y="158"/>
                  </a:lnTo>
                  <a:lnTo>
                    <a:pt x="86" y="154"/>
                  </a:lnTo>
                  <a:lnTo>
                    <a:pt x="110" y="146"/>
                  </a:lnTo>
                  <a:lnTo>
                    <a:pt x="122" y="144"/>
                  </a:lnTo>
                  <a:lnTo>
                    <a:pt x="144" y="118"/>
                  </a:lnTo>
                  <a:lnTo>
                    <a:pt x="142" y="106"/>
                  </a:lnTo>
                  <a:lnTo>
                    <a:pt x="146" y="98"/>
                  </a:lnTo>
                  <a:lnTo>
                    <a:pt x="156" y="92"/>
                  </a:lnTo>
                  <a:lnTo>
                    <a:pt x="160" y="98"/>
                  </a:lnTo>
                  <a:lnTo>
                    <a:pt x="164" y="102"/>
                  </a:lnTo>
                  <a:lnTo>
                    <a:pt x="168" y="96"/>
                  </a:lnTo>
                  <a:lnTo>
                    <a:pt x="168" y="84"/>
                  </a:lnTo>
                  <a:lnTo>
                    <a:pt x="176" y="88"/>
                  </a:lnTo>
                  <a:lnTo>
                    <a:pt x="180" y="84"/>
                  </a:lnTo>
                  <a:lnTo>
                    <a:pt x="182" y="72"/>
                  </a:lnTo>
                  <a:lnTo>
                    <a:pt x="192" y="66"/>
                  </a:lnTo>
                  <a:lnTo>
                    <a:pt x="198" y="60"/>
                  </a:lnTo>
                  <a:lnTo>
                    <a:pt x="204" y="60"/>
                  </a:lnTo>
                  <a:lnTo>
                    <a:pt x="220" y="48"/>
                  </a:lnTo>
                  <a:lnTo>
                    <a:pt x="230" y="54"/>
                  </a:lnTo>
                  <a:lnTo>
                    <a:pt x="236" y="60"/>
                  </a:lnTo>
                  <a:lnTo>
                    <a:pt x="242" y="66"/>
                  </a:lnTo>
                  <a:lnTo>
                    <a:pt x="254" y="64"/>
                  </a:lnTo>
                  <a:lnTo>
                    <a:pt x="262" y="62"/>
                  </a:lnTo>
                  <a:lnTo>
                    <a:pt x="256" y="52"/>
                  </a:lnTo>
                  <a:lnTo>
                    <a:pt x="268" y="40"/>
                  </a:lnTo>
                  <a:lnTo>
                    <a:pt x="274" y="28"/>
                  </a:lnTo>
                  <a:lnTo>
                    <a:pt x="282" y="24"/>
                  </a:lnTo>
                  <a:lnTo>
                    <a:pt x="286" y="20"/>
                  </a:lnTo>
                  <a:close/>
                </a:path>
              </a:pathLst>
            </a:custGeom>
            <a:solidFill>
              <a:srgbClr val="B6C5E5"/>
            </a:solidFill>
            <a:ln w="9525">
              <a:noFill/>
              <a:round/>
              <a:headEnd/>
              <a:tailEnd/>
            </a:ln>
          </p:spPr>
          <p:txBody>
            <a:bodyPr wrap="none" lIns="0" tIns="0" rIns="0" bIns="0" anchor="ctr"/>
            <a:lstStyle/>
            <a:p>
              <a:pPr eaLnBrk="0" hangingPunct="0"/>
              <a:endParaRPr lang="de-DE"/>
            </a:p>
          </p:txBody>
        </p:sp>
        <p:sp>
          <p:nvSpPr>
            <p:cNvPr id="33035" name="Freeform 270"/>
            <p:cNvSpPr>
              <a:spLocks/>
            </p:cNvSpPr>
            <p:nvPr/>
          </p:nvSpPr>
          <p:spPr bwMode="gray">
            <a:xfrm>
              <a:off x="7073900" y="3290888"/>
              <a:ext cx="111125" cy="95250"/>
            </a:xfrm>
            <a:custGeom>
              <a:avLst/>
              <a:gdLst>
                <a:gd name="T0" fmla="*/ 2147483647 w 92"/>
                <a:gd name="T1" fmla="*/ 0 h 78"/>
                <a:gd name="T2" fmla="*/ 2147483647 w 92"/>
                <a:gd name="T3" fmla="*/ 2147483647 h 78"/>
                <a:gd name="T4" fmla="*/ 2147483647 w 92"/>
                <a:gd name="T5" fmla="*/ 2147483647 h 78"/>
                <a:gd name="T6" fmla="*/ 2147483647 w 92"/>
                <a:gd name="T7" fmla="*/ 2147483647 h 78"/>
                <a:gd name="T8" fmla="*/ 2147483647 w 92"/>
                <a:gd name="T9" fmla="*/ 2147483647 h 78"/>
                <a:gd name="T10" fmla="*/ 2147483647 w 92"/>
                <a:gd name="T11" fmla="*/ 2147483647 h 78"/>
                <a:gd name="T12" fmla="*/ 2147483647 w 92"/>
                <a:gd name="T13" fmla="*/ 2147483647 h 78"/>
                <a:gd name="T14" fmla="*/ 2147483647 w 92"/>
                <a:gd name="T15" fmla="*/ 2147483647 h 78"/>
                <a:gd name="T16" fmla="*/ 2147483647 w 92"/>
                <a:gd name="T17" fmla="*/ 2147483647 h 78"/>
                <a:gd name="T18" fmla="*/ 2147483647 w 92"/>
                <a:gd name="T19" fmla="*/ 2147483647 h 78"/>
                <a:gd name="T20" fmla="*/ 2147483647 w 92"/>
                <a:gd name="T21" fmla="*/ 2147483647 h 78"/>
                <a:gd name="T22" fmla="*/ 2147483647 w 92"/>
                <a:gd name="T23" fmla="*/ 2147483647 h 78"/>
                <a:gd name="T24" fmla="*/ 2147483647 w 92"/>
                <a:gd name="T25" fmla="*/ 2147483647 h 78"/>
                <a:gd name="T26" fmla="*/ 2147483647 w 92"/>
                <a:gd name="T27" fmla="*/ 2147483647 h 78"/>
                <a:gd name="T28" fmla="*/ 2147483647 w 92"/>
                <a:gd name="T29" fmla="*/ 2147483647 h 78"/>
                <a:gd name="T30" fmla="*/ 2147483647 w 92"/>
                <a:gd name="T31" fmla="*/ 2147483647 h 78"/>
                <a:gd name="T32" fmla="*/ 2147483647 w 92"/>
                <a:gd name="T33" fmla="*/ 2147483647 h 78"/>
                <a:gd name="T34" fmla="*/ 2147483647 w 92"/>
                <a:gd name="T35" fmla="*/ 2147483647 h 78"/>
                <a:gd name="T36" fmla="*/ 2147483647 w 92"/>
                <a:gd name="T37" fmla="*/ 2147483647 h 78"/>
                <a:gd name="T38" fmla="*/ 2147483647 w 92"/>
                <a:gd name="T39" fmla="*/ 2147483647 h 78"/>
                <a:gd name="T40" fmla="*/ 2147483647 w 92"/>
                <a:gd name="T41" fmla="*/ 2147483647 h 78"/>
                <a:gd name="T42" fmla="*/ 2147483647 w 92"/>
                <a:gd name="T43" fmla="*/ 2147483647 h 78"/>
                <a:gd name="T44" fmla="*/ 2147483647 w 92"/>
                <a:gd name="T45" fmla="*/ 2147483647 h 78"/>
                <a:gd name="T46" fmla="*/ 2147483647 w 92"/>
                <a:gd name="T47" fmla="*/ 2147483647 h 78"/>
                <a:gd name="T48" fmla="*/ 2147483647 w 92"/>
                <a:gd name="T49" fmla="*/ 2147483647 h 78"/>
                <a:gd name="T50" fmla="*/ 2147483647 w 92"/>
                <a:gd name="T51" fmla="*/ 2147483647 h 78"/>
                <a:gd name="T52" fmla="*/ 2147483647 w 92"/>
                <a:gd name="T53" fmla="*/ 2147483647 h 78"/>
                <a:gd name="T54" fmla="*/ 2147483647 w 92"/>
                <a:gd name="T55" fmla="*/ 2147483647 h 78"/>
                <a:gd name="T56" fmla="*/ 2147483647 w 92"/>
                <a:gd name="T57" fmla="*/ 2147483647 h 78"/>
                <a:gd name="T58" fmla="*/ 2147483647 w 92"/>
                <a:gd name="T59" fmla="*/ 2147483647 h 78"/>
                <a:gd name="T60" fmla="*/ 2147483647 w 92"/>
                <a:gd name="T61" fmla="*/ 2147483647 h 78"/>
                <a:gd name="T62" fmla="*/ 0 w 92"/>
                <a:gd name="T63" fmla="*/ 2147483647 h 78"/>
                <a:gd name="T64" fmla="*/ 0 w 92"/>
                <a:gd name="T65" fmla="*/ 2147483647 h 78"/>
                <a:gd name="T66" fmla="*/ 2147483647 w 92"/>
                <a:gd name="T67" fmla="*/ 2147483647 h 78"/>
                <a:gd name="T68" fmla="*/ 2147483647 w 92"/>
                <a:gd name="T69" fmla="*/ 2147483647 h 78"/>
                <a:gd name="T70" fmla="*/ 2147483647 w 92"/>
                <a:gd name="T71" fmla="*/ 2147483647 h 78"/>
                <a:gd name="T72" fmla="*/ 2147483647 w 92"/>
                <a:gd name="T73" fmla="*/ 2147483647 h 78"/>
                <a:gd name="T74" fmla="*/ 2147483647 w 92"/>
                <a:gd name="T75" fmla="*/ 2147483647 h 78"/>
                <a:gd name="T76" fmla="*/ 2147483647 w 92"/>
                <a:gd name="T77" fmla="*/ 2147483647 h 78"/>
                <a:gd name="T78" fmla="*/ 2147483647 w 92"/>
                <a:gd name="T79" fmla="*/ 2147483647 h 78"/>
                <a:gd name="T80" fmla="*/ 2147483647 w 92"/>
                <a:gd name="T81" fmla="*/ 0 h 7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92"/>
                <a:gd name="T124" fmla="*/ 0 h 78"/>
                <a:gd name="T125" fmla="*/ 92 w 92"/>
                <a:gd name="T126" fmla="*/ 78 h 7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92" h="78">
                  <a:moveTo>
                    <a:pt x="30" y="0"/>
                  </a:moveTo>
                  <a:lnTo>
                    <a:pt x="38" y="6"/>
                  </a:lnTo>
                  <a:lnTo>
                    <a:pt x="48" y="16"/>
                  </a:lnTo>
                  <a:lnTo>
                    <a:pt x="66" y="26"/>
                  </a:lnTo>
                  <a:lnTo>
                    <a:pt x="76" y="30"/>
                  </a:lnTo>
                  <a:lnTo>
                    <a:pt x="84" y="24"/>
                  </a:lnTo>
                  <a:lnTo>
                    <a:pt x="90" y="24"/>
                  </a:lnTo>
                  <a:lnTo>
                    <a:pt x="84" y="30"/>
                  </a:lnTo>
                  <a:lnTo>
                    <a:pt x="88" y="36"/>
                  </a:lnTo>
                  <a:lnTo>
                    <a:pt x="92" y="40"/>
                  </a:lnTo>
                  <a:lnTo>
                    <a:pt x="84" y="46"/>
                  </a:lnTo>
                  <a:lnTo>
                    <a:pt x="80" y="48"/>
                  </a:lnTo>
                  <a:lnTo>
                    <a:pt x="74" y="46"/>
                  </a:lnTo>
                  <a:lnTo>
                    <a:pt x="68" y="48"/>
                  </a:lnTo>
                  <a:lnTo>
                    <a:pt x="58" y="52"/>
                  </a:lnTo>
                  <a:lnTo>
                    <a:pt x="52" y="60"/>
                  </a:lnTo>
                  <a:lnTo>
                    <a:pt x="52" y="66"/>
                  </a:lnTo>
                  <a:lnTo>
                    <a:pt x="44" y="62"/>
                  </a:lnTo>
                  <a:lnTo>
                    <a:pt x="36" y="56"/>
                  </a:lnTo>
                  <a:lnTo>
                    <a:pt x="28" y="54"/>
                  </a:lnTo>
                  <a:lnTo>
                    <a:pt x="24" y="56"/>
                  </a:lnTo>
                  <a:lnTo>
                    <a:pt x="22" y="60"/>
                  </a:lnTo>
                  <a:lnTo>
                    <a:pt x="16" y="56"/>
                  </a:lnTo>
                  <a:lnTo>
                    <a:pt x="10" y="54"/>
                  </a:lnTo>
                  <a:lnTo>
                    <a:pt x="8" y="58"/>
                  </a:lnTo>
                  <a:lnTo>
                    <a:pt x="10" y="64"/>
                  </a:lnTo>
                  <a:lnTo>
                    <a:pt x="16" y="66"/>
                  </a:lnTo>
                  <a:lnTo>
                    <a:pt x="14" y="72"/>
                  </a:lnTo>
                  <a:lnTo>
                    <a:pt x="8" y="74"/>
                  </a:lnTo>
                  <a:lnTo>
                    <a:pt x="2" y="78"/>
                  </a:lnTo>
                  <a:lnTo>
                    <a:pt x="2" y="68"/>
                  </a:lnTo>
                  <a:lnTo>
                    <a:pt x="0" y="60"/>
                  </a:lnTo>
                  <a:lnTo>
                    <a:pt x="0" y="52"/>
                  </a:lnTo>
                  <a:lnTo>
                    <a:pt x="6" y="50"/>
                  </a:lnTo>
                  <a:lnTo>
                    <a:pt x="10" y="44"/>
                  </a:lnTo>
                  <a:lnTo>
                    <a:pt x="10" y="38"/>
                  </a:lnTo>
                  <a:lnTo>
                    <a:pt x="16" y="38"/>
                  </a:lnTo>
                  <a:lnTo>
                    <a:pt x="22" y="42"/>
                  </a:lnTo>
                  <a:lnTo>
                    <a:pt x="28" y="40"/>
                  </a:lnTo>
                  <a:lnTo>
                    <a:pt x="30" y="16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36" name="Freeform 271"/>
            <p:cNvSpPr>
              <a:spLocks/>
            </p:cNvSpPr>
            <p:nvPr/>
          </p:nvSpPr>
          <p:spPr bwMode="gray">
            <a:xfrm>
              <a:off x="6907213" y="3381375"/>
              <a:ext cx="207962" cy="177800"/>
            </a:xfrm>
            <a:custGeom>
              <a:avLst/>
              <a:gdLst>
                <a:gd name="T0" fmla="*/ 2147483647 w 174"/>
                <a:gd name="T1" fmla="*/ 2147483647 h 148"/>
                <a:gd name="T2" fmla="*/ 2147483647 w 174"/>
                <a:gd name="T3" fmla="*/ 2147483647 h 148"/>
                <a:gd name="T4" fmla="*/ 2147483647 w 174"/>
                <a:gd name="T5" fmla="*/ 2147483647 h 148"/>
                <a:gd name="T6" fmla="*/ 2147483647 w 174"/>
                <a:gd name="T7" fmla="*/ 2147483647 h 148"/>
                <a:gd name="T8" fmla="*/ 2147483647 w 174"/>
                <a:gd name="T9" fmla="*/ 2147483647 h 148"/>
                <a:gd name="T10" fmla="*/ 2147483647 w 174"/>
                <a:gd name="T11" fmla="*/ 2147483647 h 148"/>
                <a:gd name="T12" fmla="*/ 2147483647 w 174"/>
                <a:gd name="T13" fmla="*/ 2147483647 h 148"/>
                <a:gd name="T14" fmla="*/ 2147483647 w 174"/>
                <a:gd name="T15" fmla="*/ 2147483647 h 148"/>
                <a:gd name="T16" fmla="*/ 2147483647 w 174"/>
                <a:gd name="T17" fmla="*/ 2147483647 h 148"/>
                <a:gd name="T18" fmla="*/ 2147483647 w 174"/>
                <a:gd name="T19" fmla="*/ 2147483647 h 148"/>
                <a:gd name="T20" fmla="*/ 2147483647 w 174"/>
                <a:gd name="T21" fmla="*/ 2147483647 h 148"/>
                <a:gd name="T22" fmla="*/ 2147483647 w 174"/>
                <a:gd name="T23" fmla="*/ 2147483647 h 148"/>
                <a:gd name="T24" fmla="*/ 2147483647 w 174"/>
                <a:gd name="T25" fmla="*/ 2147483647 h 148"/>
                <a:gd name="T26" fmla="*/ 2147483647 w 174"/>
                <a:gd name="T27" fmla="*/ 2147483647 h 148"/>
                <a:gd name="T28" fmla="*/ 2147483647 w 174"/>
                <a:gd name="T29" fmla="*/ 2147483647 h 148"/>
                <a:gd name="T30" fmla="*/ 2147483647 w 174"/>
                <a:gd name="T31" fmla="*/ 2147483647 h 148"/>
                <a:gd name="T32" fmla="*/ 2147483647 w 174"/>
                <a:gd name="T33" fmla="*/ 2147483647 h 148"/>
                <a:gd name="T34" fmla="*/ 2147483647 w 174"/>
                <a:gd name="T35" fmla="*/ 2147483647 h 148"/>
                <a:gd name="T36" fmla="*/ 2147483647 w 174"/>
                <a:gd name="T37" fmla="*/ 2147483647 h 148"/>
                <a:gd name="T38" fmla="*/ 2147483647 w 174"/>
                <a:gd name="T39" fmla="*/ 2147483647 h 148"/>
                <a:gd name="T40" fmla="*/ 2147483647 w 174"/>
                <a:gd name="T41" fmla="*/ 2147483647 h 148"/>
                <a:gd name="T42" fmla="*/ 2147483647 w 174"/>
                <a:gd name="T43" fmla="*/ 2147483647 h 148"/>
                <a:gd name="T44" fmla="*/ 2147483647 w 174"/>
                <a:gd name="T45" fmla="*/ 2147483647 h 148"/>
                <a:gd name="T46" fmla="*/ 2147483647 w 174"/>
                <a:gd name="T47" fmla="*/ 2147483647 h 148"/>
                <a:gd name="T48" fmla="*/ 2147483647 w 174"/>
                <a:gd name="T49" fmla="*/ 2147483647 h 148"/>
                <a:gd name="T50" fmla="*/ 2147483647 w 174"/>
                <a:gd name="T51" fmla="*/ 2147483647 h 148"/>
                <a:gd name="T52" fmla="*/ 2147483647 w 174"/>
                <a:gd name="T53" fmla="*/ 2147483647 h 148"/>
                <a:gd name="T54" fmla="*/ 2147483647 w 174"/>
                <a:gd name="T55" fmla="*/ 2147483647 h 148"/>
                <a:gd name="T56" fmla="*/ 2147483647 w 174"/>
                <a:gd name="T57" fmla="*/ 2147483647 h 148"/>
                <a:gd name="T58" fmla="*/ 2147483647 w 174"/>
                <a:gd name="T59" fmla="*/ 2147483647 h 148"/>
                <a:gd name="T60" fmla="*/ 2147483647 w 174"/>
                <a:gd name="T61" fmla="*/ 2147483647 h 148"/>
                <a:gd name="T62" fmla="*/ 2147483647 w 174"/>
                <a:gd name="T63" fmla="*/ 2147483647 h 148"/>
                <a:gd name="T64" fmla="*/ 2147483647 w 174"/>
                <a:gd name="T65" fmla="*/ 2147483647 h 148"/>
                <a:gd name="T66" fmla="*/ 2147483647 w 174"/>
                <a:gd name="T67" fmla="*/ 2147483647 h 14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74"/>
                <a:gd name="T103" fmla="*/ 0 h 148"/>
                <a:gd name="T104" fmla="*/ 174 w 174"/>
                <a:gd name="T105" fmla="*/ 148 h 14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74" h="148">
                  <a:moveTo>
                    <a:pt x="0" y="134"/>
                  </a:moveTo>
                  <a:lnTo>
                    <a:pt x="12" y="128"/>
                  </a:lnTo>
                  <a:lnTo>
                    <a:pt x="26" y="118"/>
                  </a:lnTo>
                  <a:lnTo>
                    <a:pt x="32" y="112"/>
                  </a:lnTo>
                  <a:lnTo>
                    <a:pt x="44" y="110"/>
                  </a:lnTo>
                  <a:lnTo>
                    <a:pt x="60" y="110"/>
                  </a:lnTo>
                  <a:lnTo>
                    <a:pt x="76" y="110"/>
                  </a:lnTo>
                  <a:lnTo>
                    <a:pt x="80" y="100"/>
                  </a:lnTo>
                  <a:lnTo>
                    <a:pt x="88" y="90"/>
                  </a:lnTo>
                  <a:lnTo>
                    <a:pt x="92" y="82"/>
                  </a:lnTo>
                  <a:lnTo>
                    <a:pt x="98" y="74"/>
                  </a:lnTo>
                  <a:lnTo>
                    <a:pt x="100" y="80"/>
                  </a:lnTo>
                  <a:lnTo>
                    <a:pt x="100" y="86"/>
                  </a:lnTo>
                  <a:lnTo>
                    <a:pt x="110" y="82"/>
                  </a:lnTo>
                  <a:lnTo>
                    <a:pt x="126" y="72"/>
                  </a:lnTo>
                  <a:lnTo>
                    <a:pt x="140" y="52"/>
                  </a:lnTo>
                  <a:lnTo>
                    <a:pt x="146" y="36"/>
                  </a:lnTo>
                  <a:lnTo>
                    <a:pt x="144" y="30"/>
                  </a:lnTo>
                  <a:lnTo>
                    <a:pt x="142" y="18"/>
                  </a:lnTo>
                  <a:lnTo>
                    <a:pt x="146" y="10"/>
                  </a:lnTo>
                  <a:lnTo>
                    <a:pt x="150" y="8"/>
                  </a:lnTo>
                  <a:lnTo>
                    <a:pt x="160" y="12"/>
                  </a:lnTo>
                  <a:lnTo>
                    <a:pt x="162" y="6"/>
                  </a:lnTo>
                  <a:lnTo>
                    <a:pt x="158" y="2"/>
                  </a:lnTo>
                  <a:lnTo>
                    <a:pt x="164" y="0"/>
                  </a:lnTo>
                  <a:lnTo>
                    <a:pt x="166" y="10"/>
                  </a:lnTo>
                  <a:lnTo>
                    <a:pt x="166" y="18"/>
                  </a:lnTo>
                  <a:lnTo>
                    <a:pt x="172" y="28"/>
                  </a:lnTo>
                  <a:lnTo>
                    <a:pt x="174" y="36"/>
                  </a:lnTo>
                  <a:lnTo>
                    <a:pt x="168" y="48"/>
                  </a:lnTo>
                  <a:lnTo>
                    <a:pt x="160" y="58"/>
                  </a:lnTo>
                  <a:lnTo>
                    <a:pt x="158" y="66"/>
                  </a:lnTo>
                  <a:lnTo>
                    <a:pt x="158" y="80"/>
                  </a:lnTo>
                  <a:lnTo>
                    <a:pt x="154" y="86"/>
                  </a:lnTo>
                  <a:lnTo>
                    <a:pt x="152" y="96"/>
                  </a:lnTo>
                  <a:lnTo>
                    <a:pt x="152" y="98"/>
                  </a:lnTo>
                  <a:lnTo>
                    <a:pt x="152" y="102"/>
                  </a:lnTo>
                  <a:lnTo>
                    <a:pt x="152" y="108"/>
                  </a:lnTo>
                  <a:lnTo>
                    <a:pt x="152" y="110"/>
                  </a:lnTo>
                  <a:lnTo>
                    <a:pt x="148" y="118"/>
                  </a:lnTo>
                  <a:lnTo>
                    <a:pt x="142" y="122"/>
                  </a:lnTo>
                  <a:lnTo>
                    <a:pt x="138" y="116"/>
                  </a:lnTo>
                  <a:lnTo>
                    <a:pt x="132" y="114"/>
                  </a:lnTo>
                  <a:lnTo>
                    <a:pt x="126" y="116"/>
                  </a:lnTo>
                  <a:lnTo>
                    <a:pt x="128" y="124"/>
                  </a:lnTo>
                  <a:lnTo>
                    <a:pt x="126" y="128"/>
                  </a:lnTo>
                  <a:lnTo>
                    <a:pt x="118" y="122"/>
                  </a:lnTo>
                  <a:lnTo>
                    <a:pt x="116" y="126"/>
                  </a:lnTo>
                  <a:lnTo>
                    <a:pt x="110" y="126"/>
                  </a:lnTo>
                  <a:lnTo>
                    <a:pt x="102" y="126"/>
                  </a:lnTo>
                  <a:lnTo>
                    <a:pt x="92" y="126"/>
                  </a:lnTo>
                  <a:lnTo>
                    <a:pt x="90" y="122"/>
                  </a:lnTo>
                  <a:lnTo>
                    <a:pt x="88" y="126"/>
                  </a:lnTo>
                  <a:lnTo>
                    <a:pt x="92" y="132"/>
                  </a:lnTo>
                  <a:lnTo>
                    <a:pt x="84" y="136"/>
                  </a:lnTo>
                  <a:lnTo>
                    <a:pt x="80" y="144"/>
                  </a:lnTo>
                  <a:lnTo>
                    <a:pt x="74" y="148"/>
                  </a:lnTo>
                  <a:lnTo>
                    <a:pt x="68" y="140"/>
                  </a:lnTo>
                  <a:lnTo>
                    <a:pt x="62" y="136"/>
                  </a:lnTo>
                  <a:lnTo>
                    <a:pt x="70" y="130"/>
                  </a:lnTo>
                  <a:lnTo>
                    <a:pt x="72" y="124"/>
                  </a:lnTo>
                  <a:lnTo>
                    <a:pt x="56" y="124"/>
                  </a:lnTo>
                  <a:lnTo>
                    <a:pt x="50" y="128"/>
                  </a:lnTo>
                  <a:lnTo>
                    <a:pt x="38" y="130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10" y="140"/>
                  </a:lnTo>
                  <a:lnTo>
                    <a:pt x="2" y="138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37" name="Freeform 272"/>
            <p:cNvSpPr>
              <a:spLocks/>
            </p:cNvSpPr>
            <p:nvPr/>
          </p:nvSpPr>
          <p:spPr bwMode="gray">
            <a:xfrm>
              <a:off x="6784975" y="3349625"/>
              <a:ext cx="117475" cy="115888"/>
            </a:xfrm>
            <a:custGeom>
              <a:avLst/>
              <a:gdLst>
                <a:gd name="T0" fmla="*/ 2147483647 w 98"/>
                <a:gd name="T1" fmla="*/ 2147483647 h 96"/>
                <a:gd name="T2" fmla="*/ 2147483647 w 98"/>
                <a:gd name="T3" fmla="*/ 2147483647 h 96"/>
                <a:gd name="T4" fmla="*/ 2147483647 w 98"/>
                <a:gd name="T5" fmla="*/ 2147483647 h 96"/>
                <a:gd name="T6" fmla="*/ 2147483647 w 98"/>
                <a:gd name="T7" fmla="*/ 2147483647 h 96"/>
                <a:gd name="T8" fmla="*/ 2147483647 w 98"/>
                <a:gd name="T9" fmla="*/ 2147483647 h 96"/>
                <a:gd name="T10" fmla="*/ 2147483647 w 98"/>
                <a:gd name="T11" fmla="*/ 2147483647 h 96"/>
                <a:gd name="T12" fmla="*/ 2147483647 w 98"/>
                <a:gd name="T13" fmla="*/ 2147483647 h 96"/>
                <a:gd name="T14" fmla="*/ 0 w 98"/>
                <a:gd name="T15" fmla="*/ 2147483647 h 96"/>
                <a:gd name="T16" fmla="*/ 2147483647 w 98"/>
                <a:gd name="T17" fmla="*/ 2147483647 h 96"/>
                <a:gd name="T18" fmla="*/ 2147483647 w 98"/>
                <a:gd name="T19" fmla="*/ 2147483647 h 96"/>
                <a:gd name="T20" fmla="*/ 2147483647 w 98"/>
                <a:gd name="T21" fmla="*/ 2147483647 h 96"/>
                <a:gd name="T22" fmla="*/ 2147483647 w 98"/>
                <a:gd name="T23" fmla="*/ 2147483647 h 96"/>
                <a:gd name="T24" fmla="*/ 2147483647 w 98"/>
                <a:gd name="T25" fmla="*/ 2147483647 h 96"/>
                <a:gd name="T26" fmla="*/ 2147483647 w 98"/>
                <a:gd name="T27" fmla="*/ 2147483647 h 96"/>
                <a:gd name="T28" fmla="*/ 2147483647 w 98"/>
                <a:gd name="T29" fmla="*/ 2147483647 h 96"/>
                <a:gd name="T30" fmla="*/ 2147483647 w 98"/>
                <a:gd name="T31" fmla="*/ 2147483647 h 96"/>
                <a:gd name="T32" fmla="*/ 2147483647 w 98"/>
                <a:gd name="T33" fmla="*/ 2147483647 h 96"/>
                <a:gd name="T34" fmla="*/ 2147483647 w 98"/>
                <a:gd name="T35" fmla="*/ 2147483647 h 96"/>
                <a:gd name="T36" fmla="*/ 2147483647 w 98"/>
                <a:gd name="T37" fmla="*/ 2147483647 h 96"/>
                <a:gd name="T38" fmla="*/ 2147483647 w 98"/>
                <a:gd name="T39" fmla="*/ 0 h 96"/>
                <a:gd name="T40" fmla="*/ 2147483647 w 98"/>
                <a:gd name="T41" fmla="*/ 2147483647 h 96"/>
                <a:gd name="T42" fmla="*/ 2147483647 w 98"/>
                <a:gd name="T43" fmla="*/ 2147483647 h 96"/>
                <a:gd name="T44" fmla="*/ 2147483647 w 98"/>
                <a:gd name="T45" fmla="*/ 2147483647 h 96"/>
                <a:gd name="T46" fmla="*/ 2147483647 w 98"/>
                <a:gd name="T47" fmla="*/ 2147483647 h 96"/>
                <a:gd name="T48" fmla="*/ 2147483647 w 98"/>
                <a:gd name="T49" fmla="*/ 2147483647 h 96"/>
                <a:gd name="T50" fmla="*/ 2147483647 w 98"/>
                <a:gd name="T51" fmla="*/ 2147483647 h 96"/>
                <a:gd name="T52" fmla="*/ 2147483647 w 98"/>
                <a:gd name="T53" fmla="*/ 2147483647 h 96"/>
                <a:gd name="T54" fmla="*/ 2147483647 w 98"/>
                <a:gd name="T55" fmla="*/ 2147483647 h 96"/>
                <a:gd name="T56" fmla="*/ 2147483647 w 98"/>
                <a:gd name="T57" fmla="*/ 2147483647 h 96"/>
                <a:gd name="T58" fmla="*/ 2147483647 w 98"/>
                <a:gd name="T59" fmla="*/ 2147483647 h 96"/>
                <a:gd name="T60" fmla="*/ 2147483647 w 98"/>
                <a:gd name="T61" fmla="*/ 2147483647 h 96"/>
                <a:gd name="T62" fmla="*/ 2147483647 w 98"/>
                <a:gd name="T63" fmla="*/ 2147483647 h 96"/>
                <a:gd name="T64" fmla="*/ 2147483647 w 98"/>
                <a:gd name="T65" fmla="*/ 2147483647 h 96"/>
                <a:gd name="T66" fmla="*/ 2147483647 w 98"/>
                <a:gd name="T67" fmla="*/ 2147483647 h 96"/>
                <a:gd name="T68" fmla="*/ 2147483647 w 98"/>
                <a:gd name="T69" fmla="*/ 2147483647 h 96"/>
                <a:gd name="T70" fmla="*/ 2147483647 w 98"/>
                <a:gd name="T71" fmla="*/ 2147483647 h 96"/>
                <a:gd name="T72" fmla="*/ 2147483647 w 9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98"/>
                <a:gd name="T112" fmla="*/ 0 h 96"/>
                <a:gd name="T113" fmla="*/ 98 w 9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98" h="96">
                  <a:moveTo>
                    <a:pt x="24" y="92"/>
                  </a:moveTo>
                  <a:lnTo>
                    <a:pt x="12" y="94"/>
                  </a:lnTo>
                  <a:lnTo>
                    <a:pt x="8" y="88"/>
                  </a:lnTo>
                  <a:lnTo>
                    <a:pt x="12" y="80"/>
                  </a:lnTo>
                  <a:lnTo>
                    <a:pt x="12" y="70"/>
                  </a:lnTo>
                  <a:lnTo>
                    <a:pt x="16" y="60"/>
                  </a:lnTo>
                  <a:lnTo>
                    <a:pt x="6" y="60"/>
                  </a:lnTo>
                  <a:lnTo>
                    <a:pt x="0" y="56"/>
                  </a:lnTo>
                  <a:lnTo>
                    <a:pt x="6" y="48"/>
                  </a:lnTo>
                  <a:lnTo>
                    <a:pt x="22" y="38"/>
                  </a:lnTo>
                  <a:lnTo>
                    <a:pt x="28" y="32"/>
                  </a:lnTo>
                  <a:lnTo>
                    <a:pt x="36" y="24"/>
                  </a:lnTo>
                  <a:lnTo>
                    <a:pt x="40" y="22"/>
                  </a:lnTo>
                  <a:lnTo>
                    <a:pt x="50" y="26"/>
                  </a:lnTo>
                  <a:lnTo>
                    <a:pt x="60" y="24"/>
                  </a:lnTo>
                  <a:lnTo>
                    <a:pt x="62" y="16"/>
                  </a:lnTo>
                  <a:lnTo>
                    <a:pt x="72" y="16"/>
                  </a:lnTo>
                  <a:lnTo>
                    <a:pt x="80" y="10"/>
                  </a:lnTo>
                  <a:lnTo>
                    <a:pt x="82" y="4"/>
                  </a:lnTo>
                  <a:lnTo>
                    <a:pt x="88" y="0"/>
                  </a:lnTo>
                  <a:lnTo>
                    <a:pt x="98" y="8"/>
                  </a:lnTo>
                  <a:lnTo>
                    <a:pt x="92" y="12"/>
                  </a:lnTo>
                  <a:lnTo>
                    <a:pt x="84" y="18"/>
                  </a:lnTo>
                  <a:lnTo>
                    <a:pt x="80" y="28"/>
                  </a:lnTo>
                  <a:lnTo>
                    <a:pt x="78" y="38"/>
                  </a:lnTo>
                  <a:lnTo>
                    <a:pt x="76" y="42"/>
                  </a:lnTo>
                  <a:lnTo>
                    <a:pt x="68" y="46"/>
                  </a:lnTo>
                  <a:lnTo>
                    <a:pt x="52" y="52"/>
                  </a:lnTo>
                  <a:lnTo>
                    <a:pt x="48" y="58"/>
                  </a:lnTo>
                  <a:lnTo>
                    <a:pt x="48" y="66"/>
                  </a:lnTo>
                  <a:lnTo>
                    <a:pt x="52" y="76"/>
                  </a:lnTo>
                  <a:lnTo>
                    <a:pt x="56" y="80"/>
                  </a:lnTo>
                  <a:lnTo>
                    <a:pt x="60" y="84"/>
                  </a:lnTo>
                  <a:lnTo>
                    <a:pt x="50" y="86"/>
                  </a:lnTo>
                  <a:lnTo>
                    <a:pt x="40" y="90"/>
                  </a:lnTo>
                  <a:lnTo>
                    <a:pt x="36" y="96"/>
                  </a:lnTo>
                  <a:lnTo>
                    <a:pt x="24" y="92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38" name="Freeform 273"/>
            <p:cNvSpPr>
              <a:spLocks/>
            </p:cNvSpPr>
            <p:nvPr/>
          </p:nvSpPr>
          <p:spPr bwMode="gray">
            <a:xfrm>
              <a:off x="5826125" y="3087688"/>
              <a:ext cx="1152525" cy="741362"/>
            </a:xfrm>
            <a:custGeom>
              <a:avLst/>
              <a:gdLst>
                <a:gd name="T0" fmla="*/ 2147483647 w 972"/>
                <a:gd name="T1" fmla="*/ 2147483647 h 612"/>
                <a:gd name="T2" fmla="*/ 2147483647 w 972"/>
                <a:gd name="T3" fmla="*/ 2147483647 h 612"/>
                <a:gd name="T4" fmla="*/ 2147483647 w 972"/>
                <a:gd name="T5" fmla="*/ 2147483647 h 612"/>
                <a:gd name="T6" fmla="*/ 2147483647 w 972"/>
                <a:gd name="T7" fmla="*/ 2147483647 h 612"/>
                <a:gd name="T8" fmla="*/ 2147483647 w 972"/>
                <a:gd name="T9" fmla="*/ 2147483647 h 612"/>
                <a:gd name="T10" fmla="*/ 2147483647 w 972"/>
                <a:gd name="T11" fmla="*/ 2147483647 h 612"/>
                <a:gd name="T12" fmla="*/ 2147483647 w 972"/>
                <a:gd name="T13" fmla="*/ 2147483647 h 612"/>
                <a:gd name="T14" fmla="*/ 2147483647 w 972"/>
                <a:gd name="T15" fmla="*/ 2147483647 h 612"/>
                <a:gd name="T16" fmla="*/ 2147483647 w 972"/>
                <a:gd name="T17" fmla="*/ 2147483647 h 612"/>
                <a:gd name="T18" fmla="*/ 2147483647 w 972"/>
                <a:gd name="T19" fmla="*/ 2147483647 h 612"/>
                <a:gd name="T20" fmla="*/ 2147483647 w 972"/>
                <a:gd name="T21" fmla="*/ 2147483647 h 612"/>
                <a:gd name="T22" fmla="*/ 2147483647 w 972"/>
                <a:gd name="T23" fmla="*/ 2147483647 h 612"/>
                <a:gd name="T24" fmla="*/ 2147483647 w 972"/>
                <a:gd name="T25" fmla="*/ 2147483647 h 612"/>
                <a:gd name="T26" fmla="*/ 2147483647 w 972"/>
                <a:gd name="T27" fmla="*/ 0 h 612"/>
                <a:gd name="T28" fmla="*/ 2147483647 w 972"/>
                <a:gd name="T29" fmla="*/ 2147483647 h 612"/>
                <a:gd name="T30" fmla="*/ 2147483647 w 972"/>
                <a:gd name="T31" fmla="*/ 2147483647 h 612"/>
                <a:gd name="T32" fmla="*/ 2147483647 w 972"/>
                <a:gd name="T33" fmla="*/ 2147483647 h 612"/>
                <a:gd name="T34" fmla="*/ 2147483647 w 972"/>
                <a:gd name="T35" fmla="*/ 2147483647 h 612"/>
                <a:gd name="T36" fmla="*/ 2147483647 w 972"/>
                <a:gd name="T37" fmla="*/ 2147483647 h 612"/>
                <a:gd name="T38" fmla="*/ 2147483647 w 972"/>
                <a:gd name="T39" fmla="*/ 2147483647 h 612"/>
                <a:gd name="T40" fmla="*/ 2147483647 w 972"/>
                <a:gd name="T41" fmla="*/ 2147483647 h 612"/>
                <a:gd name="T42" fmla="*/ 2147483647 w 972"/>
                <a:gd name="T43" fmla="*/ 2147483647 h 612"/>
                <a:gd name="T44" fmla="*/ 2147483647 w 972"/>
                <a:gd name="T45" fmla="*/ 2147483647 h 612"/>
                <a:gd name="T46" fmla="*/ 2147483647 w 972"/>
                <a:gd name="T47" fmla="*/ 2147483647 h 612"/>
                <a:gd name="T48" fmla="*/ 2147483647 w 972"/>
                <a:gd name="T49" fmla="*/ 2147483647 h 612"/>
                <a:gd name="T50" fmla="*/ 2147483647 w 972"/>
                <a:gd name="T51" fmla="*/ 2147483647 h 612"/>
                <a:gd name="T52" fmla="*/ 2147483647 w 972"/>
                <a:gd name="T53" fmla="*/ 2147483647 h 612"/>
                <a:gd name="T54" fmla="*/ 2147483647 w 972"/>
                <a:gd name="T55" fmla="*/ 2147483647 h 612"/>
                <a:gd name="T56" fmla="*/ 2147483647 w 972"/>
                <a:gd name="T57" fmla="*/ 2147483647 h 612"/>
                <a:gd name="T58" fmla="*/ 2147483647 w 972"/>
                <a:gd name="T59" fmla="*/ 2147483647 h 612"/>
                <a:gd name="T60" fmla="*/ 2147483647 w 972"/>
                <a:gd name="T61" fmla="*/ 2147483647 h 612"/>
                <a:gd name="T62" fmla="*/ 2147483647 w 972"/>
                <a:gd name="T63" fmla="*/ 2147483647 h 612"/>
                <a:gd name="T64" fmla="*/ 2147483647 w 972"/>
                <a:gd name="T65" fmla="*/ 2147483647 h 612"/>
                <a:gd name="T66" fmla="*/ 2147483647 w 972"/>
                <a:gd name="T67" fmla="*/ 2147483647 h 612"/>
                <a:gd name="T68" fmla="*/ 2147483647 w 972"/>
                <a:gd name="T69" fmla="*/ 2147483647 h 612"/>
                <a:gd name="T70" fmla="*/ 2147483647 w 972"/>
                <a:gd name="T71" fmla="*/ 2147483647 h 612"/>
                <a:gd name="T72" fmla="*/ 2147483647 w 972"/>
                <a:gd name="T73" fmla="*/ 2147483647 h 612"/>
                <a:gd name="T74" fmla="*/ 2147483647 w 972"/>
                <a:gd name="T75" fmla="*/ 2147483647 h 612"/>
                <a:gd name="T76" fmla="*/ 2147483647 w 972"/>
                <a:gd name="T77" fmla="*/ 2147483647 h 612"/>
                <a:gd name="T78" fmla="*/ 2147483647 w 972"/>
                <a:gd name="T79" fmla="*/ 2147483647 h 612"/>
                <a:gd name="T80" fmla="*/ 2147483647 w 972"/>
                <a:gd name="T81" fmla="*/ 2147483647 h 612"/>
                <a:gd name="T82" fmla="*/ 2147483647 w 972"/>
                <a:gd name="T83" fmla="*/ 2147483647 h 612"/>
                <a:gd name="T84" fmla="*/ 2147483647 w 972"/>
                <a:gd name="T85" fmla="*/ 2147483647 h 612"/>
                <a:gd name="T86" fmla="*/ 2147483647 w 972"/>
                <a:gd name="T87" fmla="*/ 2147483647 h 612"/>
                <a:gd name="T88" fmla="*/ 2147483647 w 972"/>
                <a:gd name="T89" fmla="*/ 2147483647 h 612"/>
                <a:gd name="T90" fmla="*/ 2147483647 w 972"/>
                <a:gd name="T91" fmla="*/ 2147483647 h 612"/>
                <a:gd name="T92" fmla="*/ 2147483647 w 972"/>
                <a:gd name="T93" fmla="*/ 2147483647 h 612"/>
                <a:gd name="T94" fmla="*/ 2147483647 w 972"/>
                <a:gd name="T95" fmla="*/ 2147483647 h 612"/>
                <a:gd name="T96" fmla="*/ 2147483647 w 972"/>
                <a:gd name="T97" fmla="*/ 2147483647 h 612"/>
                <a:gd name="T98" fmla="*/ 2147483647 w 972"/>
                <a:gd name="T99" fmla="*/ 2147483647 h 612"/>
                <a:gd name="T100" fmla="*/ 2147483647 w 972"/>
                <a:gd name="T101" fmla="*/ 2147483647 h 61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972"/>
                <a:gd name="T154" fmla="*/ 0 h 612"/>
                <a:gd name="T155" fmla="*/ 972 w 972"/>
                <a:gd name="T156" fmla="*/ 612 h 61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972" h="612">
                  <a:moveTo>
                    <a:pt x="108" y="228"/>
                  </a:moveTo>
                  <a:lnTo>
                    <a:pt x="108" y="218"/>
                  </a:lnTo>
                  <a:lnTo>
                    <a:pt x="116" y="210"/>
                  </a:lnTo>
                  <a:lnTo>
                    <a:pt x="110" y="194"/>
                  </a:lnTo>
                  <a:lnTo>
                    <a:pt x="108" y="176"/>
                  </a:lnTo>
                  <a:lnTo>
                    <a:pt x="120" y="170"/>
                  </a:lnTo>
                  <a:lnTo>
                    <a:pt x="138" y="170"/>
                  </a:lnTo>
                  <a:lnTo>
                    <a:pt x="142" y="156"/>
                  </a:lnTo>
                  <a:lnTo>
                    <a:pt x="152" y="132"/>
                  </a:lnTo>
                  <a:lnTo>
                    <a:pt x="170" y="134"/>
                  </a:lnTo>
                  <a:lnTo>
                    <a:pt x="184" y="134"/>
                  </a:lnTo>
                  <a:lnTo>
                    <a:pt x="194" y="132"/>
                  </a:lnTo>
                  <a:lnTo>
                    <a:pt x="194" y="118"/>
                  </a:lnTo>
                  <a:lnTo>
                    <a:pt x="198" y="104"/>
                  </a:lnTo>
                  <a:lnTo>
                    <a:pt x="210" y="104"/>
                  </a:lnTo>
                  <a:lnTo>
                    <a:pt x="212" y="94"/>
                  </a:lnTo>
                  <a:lnTo>
                    <a:pt x="228" y="94"/>
                  </a:lnTo>
                  <a:lnTo>
                    <a:pt x="232" y="104"/>
                  </a:lnTo>
                  <a:lnTo>
                    <a:pt x="242" y="114"/>
                  </a:lnTo>
                  <a:lnTo>
                    <a:pt x="258" y="116"/>
                  </a:lnTo>
                  <a:lnTo>
                    <a:pt x="272" y="130"/>
                  </a:lnTo>
                  <a:lnTo>
                    <a:pt x="280" y="142"/>
                  </a:lnTo>
                  <a:lnTo>
                    <a:pt x="280" y="150"/>
                  </a:lnTo>
                  <a:lnTo>
                    <a:pt x="274" y="158"/>
                  </a:lnTo>
                  <a:lnTo>
                    <a:pt x="278" y="170"/>
                  </a:lnTo>
                  <a:lnTo>
                    <a:pt x="286" y="174"/>
                  </a:lnTo>
                  <a:lnTo>
                    <a:pt x="320" y="176"/>
                  </a:lnTo>
                  <a:lnTo>
                    <a:pt x="330" y="186"/>
                  </a:lnTo>
                  <a:lnTo>
                    <a:pt x="352" y="198"/>
                  </a:lnTo>
                  <a:lnTo>
                    <a:pt x="358" y="212"/>
                  </a:lnTo>
                  <a:lnTo>
                    <a:pt x="364" y="220"/>
                  </a:lnTo>
                  <a:lnTo>
                    <a:pt x="418" y="222"/>
                  </a:lnTo>
                  <a:lnTo>
                    <a:pt x="446" y="224"/>
                  </a:lnTo>
                  <a:lnTo>
                    <a:pt x="470" y="236"/>
                  </a:lnTo>
                  <a:lnTo>
                    <a:pt x="506" y="240"/>
                  </a:lnTo>
                  <a:lnTo>
                    <a:pt x="528" y="226"/>
                  </a:lnTo>
                  <a:lnTo>
                    <a:pt x="572" y="226"/>
                  </a:lnTo>
                  <a:lnTo>
                    <a:pt x="590" y="216"/>
                  </a:lnTo>
                  <a:lnTo>
                    <a:pt x="590" y="210"/>
                  </a:lnTo>
                  <a:lnTo>
                    <a:pt x="608" y="200"/>
                  </a:lnTo>
                  <a:lnTo>
                    <a:pt x="602" y="188"/>
                  </a:lnTo>
                  <a:lnTo>
                    <a:pt x="608" y="176"/>
                  </a:lnTo>
                  <a:lnTo>
                    <a:pt x="622" y="176"/>
                  </a:lnTo>
                  <a:lnTo>
                    <a:pt x="640" y="178"/>
                  </a:lnTo>
                  <a:lnTo>
                    <a:pt x="654" y="164"/>
                  </a:lnTo>
                  <a:lnTo>
                    <a:pt x="670" y="164"/>
                  </a:lnTo>
                  <a:lnTo>
                    <a:pt x="688" y="150"/>
                  </a:lnTo>
                  <a:lnTo>
                    <a:pt x="708" y="142"/>
                  </a:lnTo>
                  <a:lnTo>
                    <a:pt x="720" y="142"/>
                  </a:lnTo>
                  <a:lnTo>
                    <a:pt x="736" y="144"/>
                  </a:lnTo>
                  <a:lnTo>
                    <a:pt x="734" y="134"/>
                  </a:lnTo>
                  <a:lnTo>
                    <a:pt x="714" y="114"/>
                  </a:lnTo>
                  <a:lnTo>
                    <a:pt x="704" y="112"/>
                  </a:lnTo>
                  <a:lnTo>
                    <a:pt x="696" y="118"/>
                  </a:lnTo>
                  <a:lnTo>
                    <a:pt x="668" y="116"/>
                  </a:lnTo>
                  <a:lnTo>
                    <a:pt x="672" y="102"/>
                  </a:lnTo>
                  <a:lnTo>
                    <a:pt x="680" y="84"/>
                  </a:lnTo>
                  <a:lnTo>
                    <a:pt x="686" y="76"/>
                  </a:lnTo>
                  <a:lnTo>
                    <a:pt x="704" y="86"/>
                  </a:lnTo>
                  <a:lnTo>
                    <a:pt x="714" y="76"/>
                  </a:lnTo>
                  <a:lnTo>
                    <a:pt x="726" y="74"/>
                  </a:lnTo>
                  <a:lnTo>
                    <a:pt x="730" y="58"/>
                  </a:lnTo>
                  <a:lnTo>
                    <a:pt x="740" y="40"/>
                  </a:lnTo>
                  <a:lnTo>
                    <a:pt x="750" y="34"/>
                  </a:lnTo>
                  <a:lnTo>
                    <a:pt x="750" y="20"/>
                  </a:lnTo>
                  <a:lnTo>
                    <a:pt x="738" y="18"/>
                  </a:lnTo>
                  <a:lnTo>
                    <a:pt x="740" y="10"/>
                  </a:lnTo>
                  <a:lnTo>
                    <a:pt x="754" y="4"/>
                  </a:lnTo>
                  <a:lnTo>
                    <a:pt x="780" y="2"/>
                  </a:lnTo>
                  <a:lnTo>
                    <a:pt x="798" y="0"/>
                  </a:lnTo>
                  <a:lnTo>
                    <a:pt x="814" y="6"/>
                  </a:lnTo>
                  <a:lnTo>
                    <a:pt x="828" y="12"/>
                  </a:lnTo>
                  <a:lnTo>
                    <a:pt x="840" y="32"/>
                  </a:lnTo>
                  <a:lnTo>
                    <a:pt x="848" y="52"/>
                  </a:lnTo>
                  <a:lnTo>
                    <a:pt x="856" y="68"/>
                  </a:lnTo>
                  <a:lnTo>
                    <a:pt x="862" y="84"/>
                  </a:lnTo>
                  <a:lnTo>
                    <a:pt x="878" y="84"/>
                  </a:lnTo>
                  <a:lnTo>
                    <a:pt x="888" y="90"/>
                  </a:lnTo>
                  <a:lnTo>
                    <a:pt x="902" y="98"/>
                  </a:lnTo>
                  <a:lnTo>
                    <a:pt x="908" y="100"/>
                  </a:lnTo>
                  <a:lnTo>
                    <a:pt x="912" y="120"/>
                  </a:lnTo>
                  <a:lnTo>
                    <a:pt x="934" y="122"/>
                  </a:lnTo>
                  <a:lnTo>
                    <a:pt x="940" y="114"/>
                  </a:lnTo>
                  <a:lnTo>
                    <a:pt x="954" y="112"/>
                  </a:lnTo>
                  <a:lnTo>
                    <a:pt x="970" y="110"/>
                  </a:lnTo>
                  <a:lnTo>
                    <a:pt x="972" y="124"/>
                  </a:lnTo>
                  <a:lnTo>
                    <a:pt x="964" y="128"/>
                  </a:lnTo>
                  <a:lnTo>
                    <a:pt x="958" y="150"/>
                  </a:lnTo>
                  <a:lnTo>
                    <a:pt x="946" y="172"/>
                  </a:lnTo>
                  <a:lnTo>
                    <a:pt x="934" y="174"/>
                  </a:lnTo>
                  <a:lnTo>
                    <a:pt x="928" y="168"/>
                  </a:lnTo>
                  <a:lnTo>
                    <a:pt x="914" y="178"/>
                  </a:lnTo>
                  <a:lnTo>
                    <a:pt x="914" y="214"/>
                  </a:lnTo>
                  <a:lnTo>
                    <a:pt x="906" y="224"/>
                  </a:lnTo>
                  <a:lnTo>
                    <a:pt x="896" y="216"/>
                  </a:lnTo>
                  <a:lnTo>
                    <a:pt x="880" y="232"/>
                  </a:lnTo>
                  <a:lnTo>
                    <a:pt x="870" y="232"/>
                  </a:lnTo>
                  <a:lnTo>
                    <a:pt x="868" y="240"/>
                  </a:lnTo>
                  <a:lnTo>
                    <a:pt x="858" y="242"/>
                  </a:lnTo>
                  <a:lnTo>
                    <a:pt x="848" y="238"/>
                  </a:lnTo>
                  <a:lnTo>
                    <a:pt x="844" y="240"/>
                  </a:lnTo>
                  <a:lnTo>
                    <a:pt x="830" y="254"/>
                  </a:lnTo>
                  <a:lnTo>
                    <a:pt x="818" y="262"/>
                  </a:lnTo>
                  <a:lnTo>
                    <a:pt x="808" y="272"/>
                  </a:lnTo>
                  <a:lnTo>
                    <a:pt x="798" y="274"/>
                  </a:lnTo>
                  <a:lnTo>
                    <a:pt x="788" y="276"/>
                  </a:lnTo>
                  <a:lnTo>
                    <a:pt x="760" y="294"/>
                  </a:lnTo>
                  <a:lnTo>
                    <a:pt x="758" y="282"/>
                  </a:lnTo>
                  <a:lnTo>
                    <a:pt x="762" y="272"/>
                  </a:lnTo>
                  <a:lnTo>
                    <a:pt x="772" y="266"/>
                  </a:lnTo>
                  <a:lnTo>
                    <a:pt x="770" y="256"/>
                  </a:lnTo>
                  <a:lnTo>
                    <a:pt x="762" y="256"/>
                  </a:lnTo>
                  <a:lnTo>
                    <a:pt x="750" y="258"/>
                  </a:lnTo>
                  <a:lnTo>
                    <a:pt x="728" y="276"/>
                  </a:lnTo>
                  <a:lnTo>
                    <a:pt x="724" y="286"/>
                  </a:lnTo>
                  <a:lnTo>
                    <a:pt x="704" y="286"/>
                  </a:lnTo>
                  <a:lnTo>
                    <a:pt x="700" y="294"/>
                  </a:lnTo>
                  <a:lnTo>
                    <a:pt x="706" y="308"/>
                  </a:lnTo>
                  <a:lnTo>
                    <a:pt x="720" y="310"/>
                  </a:lnTo>
                  <a:lnTo>
                    <a:pt x="720" y="316"/>
                  </a:lnTo>
                  <a:lnTo>
                    <a:pt x="722" y="324"/>
                  </a:lnTo>
                  <a:lnTo>
                    <a:pt x="734" y="322"/>
                  </a:lnTo>
                  <a:lnTo>
                    <a:pt x="742" y="314"/>
                  </a:lnTo>
                  <a:lnTo>
                    <a:pt x="750" y="312"/>
                  </a:lnTo>
                  <a:lnTo>
                    <a:pt x="758" y="316"/>
                  </a:lnTo>
                  <a:lnTo>
                    <a:pt x="774" y="320"/>
                  </a:lnTo>
                  <a:lnTo>
                    <a:pt x="778" y="328"/>
                  </a:lnTo>
                  <a:lnTo>
                    <a:pt x="772" y="330"/>
                  </a:lnTo>
                  <a:lnTo>
                    <a:pt x="760" y="330"/>
                  </a:lnTo>
                  <a:lnTo>
                    <a:pt x="752" y="334"/>
                  </a:lnTo>
                  <a:lnTo>
                    <a:pt x="750" y="340"/>
                  </a:lnTo>
                  <a:lnTo>
                    <a:pt x="740" y="344"/>
                  </a:lnTo>
                  <a:lnTo>
                    <a:pt x="730" y="358"/>
                  </a:lnTo>
                  <a:lnTo>
                    <a:pt x="726" y="368"/>
                  </a:lnTo>
                  <a:lnTo>
                    <a:pt x="736" y="372"/>
                  </a:lnTo>
                  <a:lnTo>
                    <a:pt x="742" y="378"/>
                  </a:lnTo>
                  <a:lnTo>
                    <a:pt x="750" y="398"/>
                  </a:lnTo>
                  <a:lnTo>
                    <a:pt x="752" y="406"/>
                  </a:lnTo>
                  <a:lnTo>
                    <a:pt x="768" y="418"/>
                  </a:lnTo>
                  <a:lnTo>
                    <a:pt x="766" y="422"/>
                  </a:lnTo>
                  <a:lnTo>
                    <a:pt x="756" y="418"/>
                  </a:lnTo>
                  <a:lnTo>
                    <a:pt x="752" y="426"/>
                  </a:lnTo>
                  <a:lnTo>
                    <a:pt x="764" y="430"/>
                  </a:lnTo>
                  <a:lnTo>
                    <a:pt x="768" y="436"/>
                  </a:lnTo>
                  <a:lnTo>
                    <a:pt x="760" y="438"/>
                  </a:lnTo>
                  <a:lnTo>
                    <a:pt x="750" y="440"/>
                  </a:lnTo>
                  <a:lnTo>
                    <a:pt x="744" y="444"/>
                  </a:lnTo>
                  <a:lnTo>
                    <a:pt x="742" y="446"/>
                  </a:lnTo>
                  <a:lnTo>
                    <a:pt x="756" y="448"/>
                  </a:lnTo>
                  <a:lnTo>
                    <a:pt x="766" y="450"/>
                  </a:lnTo>
                  <a:lnTo>
                    <a:pt x="766" y="462"/>
                  </a:lnTo>
                  <a:lnTo>
                    <a:pt x="758" y="480"/>
                  </a:lnTo>
                  <a:lnTo>
                    <a:pt x="738" y="504"/>
                  </a:lnTo>
                  <a:lnTo>
                    <a:pt x="724" y="524"/>
                  </a:lnTo>
                  <a:lnTo>
                    <a:pt x="714" y="542"/>
                  </a:lnTo>
                  <a:lnTo>
                    <a:pt x="692" y="560"/>
                  </a:lnTo>
                  <a:lnTo>
                    <a:pt x="678" y="572"/>
                  </a:lnTo>
                  <a:lnTo>
                    <a:pt x="656" y="576"/>
                  </a:lnTo>
                  <a:lnTo>
                    <a:pt x="644" y="576"/>
                  </a:lnTo>
                  <a:lnTo>
                    <a:pt x="638" y="568"/>
                  </a:lnTo>
                  <a:lnTo>
                    <a:pt x="632" y="570"/>
                  </a:lnTo>
                  <a:lnTo>
                    <a:pt x="632" y="584"/>
                  </a:lnTo>
                  <a:lnTo>
                    <a:pt x="618" y="588"/>
                  </a:lnTo>
                  <a:lnTo>
                    <a:pt x="598" y="594"/>
                  </a:lnTo>
                  <a:lnTo>
                    <a:pt x="586" y="596"/>
                  </a:lnTo>
                  <a:lnTo>
                    <a:pt x="582" y="604"/>
                  </a:lnTo>
                  <a:lnTo>
                    <a:pt x="584" y="612"/>
                  </a:lnTo>
                  <a:lnTo>
                    <a:pt x="576" y="608"/>
                  </a:lnTo>
                  <a:lnTo>
                    <a:pt x="576" y="600"/>
                  </a:lnTo>
                  <a:lnTo>
                    <a:pt x="576" y="594"/>
                  </a:lnTo>
                  <a:lnTo>
                    <a:pt x="566" y="594"/>
                  </a:lnTo>
                  <a:lnTo>
                    <a:pt x="556" y="590"/>
                  </a:lnTo>
                  <a:lnTo>
                    <a:pt x="546" y="594"/>
                  </a:lnTo>
                  <a:lnTo>
                    <a:pt x="536" y="594"/>
                  </a:lnTo>
                  <a:lnTo>
                    <a:pt x="528" y="590"/>
                  </a:lnTo>
                  <a:lnTo>
                    <a:pt x="526" y="574"/>
                  </a:lnTo>
                  <a:lnTo>
                    <a:pt x="514" y="572"/>
                  </a:lnTo>
                  <a:lnTo>
                    <a:pt x="508" y="568"/>
                  </a:lnTo>
                  <a:lnTo>
                    <a:pt x="500" y="568"/>
                  </a:lnTo>
                  <a:lnTo>
                    <a:pt x="492" y="576"/>
                  </a:lnTo>
                  <a:lnTo>
                    <a:pt x="458" y="576"/>
                  </a:lnTo>
                  <a:lnTo>
                    <a:pt x="456" y="580"/>
                  </a:lnTo>
                  <a:lnTo>
                    <a:pt x="444" y="580"/>
                  </a:lnTo>
                  <a:lnTo>
                    <a:pt x="444" y="588"/>
                  </a:lnTo>
                  <a:lnTo>
                    <a:pt x="450" y="590"/>
                  </a:lnTo>
                  <a:lnTo>
                    <a:pt x="448" y="598"/>
                  </a:lnTo>
                  <a:lnTo>
                    <a:pt x="440" y="598"/>
                  </a:lnTo>
                  <a:lnTo>
                    <a:pt x="436" y="594"/>
                  </a:lnTo>
                  <a:lnTo>
                    <a:pt x="428" y="594"/>
                  </a:lnTo>
                  <a:lnTo>
                    <a:pt x="420" y="594"/>
                  </a:lnTo>
                  <a:lnTo>
                    <a:pt x="420" y="588"/>
                  </a:lnTo>
                  <a:lnTo>
                    <a:pt x="412" y="586"/>
                  </a:lnTo>
                  <a:lnTo>
                    <a:pt x="412" y="570"/>
                  </a:lnTo>
                  <a:lnTo>
                    <a:pt x="402" y="566"/>
                  </a:lnTo>
                  <a:lnTo>
                    <a:pt x="402" y="552"/>
                  </a:lnTo>
                  <a:lnTo>
                    <a:pt x="382" y="546"/>
                  </a:lnTo>
                  <a:lnTo>
                    <a:pt x="382" y="542"/>
                  </a:lnTo>
                  <a:lnTo>
                    <a:pt x="398" y="520"/>
                  </a:lnTo>
                  <a:lnTo>
                    <a:pt x="400" y="496"/>
                  </a:lnTo>
                  <a:lnTo>
                    <a:pt x="392" y="490"/>
                  </a:lnTo>
                  <a:lnTo>
                    <a:pt x="386" y="480"/>
                  </a:lnTo>
                  <a:lnTo>
                    <a:pt x="378" y="478"/>
                  </a:lnTo>
                  <a:lnTo>
                    <a:pt x="362" y="476"/>
                  </a:lnTo>
                  <a:lnTo>
                    <a:pt x="362" y="462"/>
                  </a:lnTo>
                  <a:lnTo>
                    <a:pt x="352" y="464"/>
                  </a:lnTo>
                  <a:lnTo>
                    <a:pt x="330" y="464"/>
                  </a:lnTo>
                  <a:lnTo>
                    <a:pt x="324" y="472"/>
                  </a:lnTo>
                  <a:lnTo>
                    <a:pt x="312" y="472"/>
                  </a:lnTo>
                  <a:lnTo>
                    <a:pt x="302" y="486"/>
                  </a:lnTo>
                  <a:lnTo>
                    <a:pt x="292" y="488"/>
                  </a:lnTo>
                  <a:lnTo>
                    <a:pt x="278" y="486"/>
                  </a:lnTo>
                  <a:lnTo>
                    <a:pt x="266" y="482"/>
                  </a:lnTo>
                  <a:lnTo>
                    <a:pt x="256" y="482"/>
                  </a:lnTo>
                  <a:lnTo>
                    <a:pt x="250" y="488"/>
                  </a:lnTo>
                  <a:lnTo>
                    <a:pt x="230" y="488"/>
                  </a:lnTo>
                  <a:lnTo>
                    <a:pt x="208" y="486"/>
                  </a:lnTo>
                  <a:lnTo>
                    <a:pt x="192" y="484"/>
                  </a:lnTo>
                  <a:lnTo>
                    <a:pt x="174" y="472"/>
                  </a:lnTo>
                  <a:lnTo>
                    <a:pt x="162" y="464"/>
                  </a:lnTo>
                  <a:lnTo>
                    <a:pt x="146" y="456"/>
                  </a:lnTo>
                  <a:lnTo>
                    <a:pt x="132" y="442"/>
                  </a:lnTo>
                  <a:lnTo>
                    <a:pt x="118" y="448"/>
                  </a:lnTo>
                  <a:lnTo>
                    <a:pt x="106" y="438"/>
                  </a:lnTo>
                  <a:lnTo>
                    <a:pt x="80" y="426"/>
                  </a:lnTo>
                  <a:lnTo>
                    <a:pt x="80" y="418"/>
                  </a:lnTo>
                  <a:lnTo>
                    <a:pt x="84" y="408"/>
                  </a:lnTo>
                  <a:lnTo>
                    <a:pt x="94" y="406"/>
                  </a:lnTo>
                  <a:lnTo>
                    <a:pt x="96" y="398"/>
                  </a:lnTo>
                  <a:lnTo>
                    <a:pt x="84" y="390"/>
                  </a:lnTo>
                  <a:lnTo>
                    <a:pt x="84" y="380"/>
                  </a:lnTo>
                  <a:lnTo>
                    <a:pt x="100" y="372"/>
                  </a:lnTo>
                  <a:lnTo>
                    <a:pt x="108" y="364"/>
                  </a:lnTo>
                  <a:lnTo>
                    <a:pt x="108" y="356"/>
                  </a:lnTo>
                  <a:lnTo>
                    <a:pt x="90" y="344"/>
                  </a:lnTo>
                  <a:lnTo>
                    <a:pt x="70" y="352"/>
                  </a:lnTo>
                  <a:lnTo>
                    <a:pt x="58" y="350"/>
                  </a:lnTo>
                  <a:lnTo>
                    <a:pt x="38" y="342"/>
                  </a:lnTo>
                  <a:lnTo>
                    <a:pt x="38" y="332"/>
                  </a:lnTo>
                  <a:lnTo>
                    <a:pt x="20" y="326"/>
                  </a:lnTo>
                  <a:lnTo>
                    <a:pt x="20" y="318"/>
                  </a:lnTo>
                  <a:lnTo>
                    <a:pt x="20" y="298"/>
                  </a:lnTo>
                  <a:lnTo>
                    <a:pt x="8" y="300"/>
                  </a:lnTo>
                  <a:lnTo>
                    <a:pt x="2" y="298"/>
                  </a:lnTo>
                  <a:lnTo>
                    <a:pt x="0" y="290"/>
                  </a:lnTo>
                  <a:lnTo>
                    <a:pt x="2" y="284"/>
                  </a:lnTo>
                  <a:lnTo>
                    <a:pt x="4" y="274"/>
                  </a:lnTo>
                  <a:lnTo>
                    <a:pt x="16" y="266"/>
                  </a:lnTo>
                  <a:lnTo>
                    <a:pt x="18" y="260"/>
                  </a:lnTo>
                  <a:lnTo>
                    <a:pt x="32" y="260"/>
                  </a:lnTo>
                  <a:lnTo>
                    <a:pt x="32" y="266"/>
                  </a:lnTo>
                  <a:lnTo>
                    <a:pt x="48" y="262"/>
                  </a:lnTo>
                  <a:lnTo>
                    <a:pt x="52" y="252"/>
                  </a:lnTo>
                  <a:lnTo>
                    <a:pt x="72" y="252"/>
                  </a:lnTo>
                  <a:lnTo>
                    <a:pt x="76" y="244"/>
                  </a:lnTo>
                  <a:lnTo>
                    <a:pt x="102" y="232"/>
                  </a:lnTo>
                  <a:lnTo>
                    <a:pt x="108" y="228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39" name="Freeform 274"/>
            <p:cNvSpPr>
              <a:spLocks/>
            </p:cNvSpPr>
            <p:nvPr/>
          </p:nvSpPr>
          <p:spPr bwMode="gray">
            <a:xfrm>
              <a:off x="4586288" y="2973388"/>
              <a:ext cx="50800" cy="76200"/>
            </a:xfrm>
            <a:custGeom>
              <a:avLst/>
              <a:gdLst>
                <a:gd name="T0" fmla="*/ 2147483647 w 42"/>
                <a:gd name="T1" fmla="*/ 2147483647 h 62"/>
                <a:gd name="T2" fmla="*/ 2147483647 w 42"/>
                <a:gd name="T3" fmla="*/ 2147483647 h 62"/>
                <a:gd name="T4" fmla="*/ 2147483647 w 42"/>
                <a:gd name="T5" fmla="*/ 2147483647 h 62"/>
                <a:gd name="T6" fmla="*/ 2147483647 w 42"/>
                <a:gd name="T7" fmla="*/ 2147483647 h 62"/>
                <a:gd name="T8" fmla="*/ 0 w 42"/>
                <a:gd name="T9" fmla="*/ 2147483647 h 62"/>
                <a:gd name="T10" fmla="*/ 0 w 42"/>
                <a:gd name="T11" fmla="*/ 2147483647 h 62"/>
                <a:gd name="T12" fmla="*/ 2147483647 w 42"/>
                <a:gd name="T13" fmla="*/ 2147483647 h 62"/>
                <a:gd name="T14" fmla="*/ 2147483647 w 42"/>
                <a:gd name="T15" fmla="*/ 2147483647 h 62"/>
                <a:gd name="T16" fmla="*/ 2147483647 w 42"/>
                <a:gd name="T17" fmla="*/ 2147483647 h 62"/>
                <a:gd name="T18" fmla="*/ 2147483647 w 42"/>
                <a:gd name="T19" fmla="*/ 2147483647 h 62"/>
                <a:gd name="T20" fmla="*/ 2147483647 w 42"/>
                <a:gd name="T21" fmla="*/ 0 h 62"/>
                <a:gd name="T22" fmla="*/ 2147483647 w 42"/>
                <a:gd name="T23" fmla="*/ 2147483647 h 62"/>
                <a:gd name="T24" fmla="*/ 2147483647 w 42"/>
                <a:gd name="T25" fmla="*/ 2147483647 h 62"/>
                <a:gd name="T26" fmla="*/ 2147483647 w 42"/>
                <a:gd name="T27" fmla="*/ 2147483647 h 62"/>
                <a:gd name="T28" fmla="*/ 2147483647 w 42"/>
                <a:gd name="T29" fmla="*/ 2147483647 h 62"/>
                <a:gd name="T30" fmla="*/ 2147483647 w 42"/>
                <a:gd name="T31" fmla="*/ 2147483647 h 62"/>
                <a:gd name="T32" fmla="*/ 2147483647 w 42"/>
                <a:gd name="T33" fmla="*/ 2147483647 h 62"/>
                <a:gd name="T34" fmla="*/ 2147483647 w 42"/>
                <a:gd name="T35" fmla="*/ 2147483647 h 62"/>
                <a:gd name="T36" fmla="*/ 2147483647 w 42"/>
                <a:gd name="T37" fmla="*/ 2147483647 h 62"/>
                <a:gd name="T38" fmla="*/ 2147483647 w 42"/>
                <a:gd name="T39" fmla="*/ 2147483647 h 62"/>
                <a:gd name="T40" fmla="*/ 2147483647 w 42"/>
                <a:gd name="T41" fmla="*/ 2147483647 h 62"/>
                <a:gd name="T42" fmla="*/ 2147483647 w 42"/>
                <a:gd name="T43" fmla="*/ 2147483647 h 6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2"/>
                <a:gd name="T67" fmla="*/ 0 h 62"/>
                <a:gd name="T68" fmla="*/ 42 w 42"/>
                <a:gd name="T69" fmla="*/ 62 h 6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2" h="62">
                  <a:moveTo>
                    <a:pt x="24" y="60"/>
                  </a:moveTo>
                  <a:lnTo>
                    <a:pt x="14" y="62"/>
                  </a:lnTo>
                  <a:lnTo>
                    <a:pt x="8" y="54"/>
                  </a:lnTo>
                  <a:lnTo>
                    <a:pt x="4" y="46"/>
                  </a:lnTo>
                  <a:lnTo>
                    <a:pt x="0" y="34"/>
                  </a:lnTo>
                  <a:lnTo>
                    <a:pt x="0" y="20"/>
                  </a:lnTo>
                  <a:lnTo>
                    <a:pt x="8" y="12"/>
                  </a:lnTo>
                  <a:lnTo>
                    <a:pt x="14" y="18"/>
                  </a:lnTo>
                  <a:lnTo>
                    <a:pt x="22" y="12"/>
                  </a:lnTo>
                  <a:lnTo>
                    <a:pt x="26" y="6"/>
                  </a:lnTo>
                  <a:lnTo>
                    <a:pt x="34" y="0"/>
                  </a:lnTo>
                  <a:lnTo>
                    <a:pt x="38" y="4"/>
                  </a:lnTo>
                  <a:lnTo>
                    <a:pt x="36" y="12"/>
                  </a:lnTo>
                  <a:lnTo>
                    <a:pt x="32" y="16"/>
                  </a:lnTo>
                  <a:lnTo>
                    <a:pt x="34" y="22"/>
                  </a:lnTo>
                  <a:lnTo>
                    <a:pt x="42" y="26"/>
                  </a:lnTo>
                  <a:lnTo>
                    <a:pt x="42" y="32"/>
                  </a:lnTo>
                  <a:lnTo>
                    <a:pt x="32" y="34"/>
                  </a:lnTo>
                  <a:lnTo>
                    <a:pt x="24" y="38"/>
                  </a:lnTo>
                  <a:lnTo>
                    <a:pt x="22" y="44"/>
                  </a:lnTo>
                  <a:lnTo>
                    <a:pt x="20" y="52"/>
                  </a:lnTo>
                  <a:lnTo>
                    <a:pt x="24" y="60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40" name="Freeform 275"/>
            <p:cNvSpPr>
              <a:spLocks/>
            </p:cNvSpPr>
            <p:nvPr/>
          </p:nvSpPr>
          <p:spPr bwMode="gray">
            <a:xfrm>
              <a:off x="4622800" y="3027363"/>
              <a:ext cx="14288" cy="17462"/>
            </a:xfrm>
            <a:custGeom>
              <a:avLst/>
              <a:gdLst>
                <a:gd name="T0" fmla="*/ 2147483647 w 12"/>
                <a:gd name="T1" fmla="*/ 0 h 14"/>
                <a:gd name="T2" fmla="*/ 2147483647 w 12"/>
                <a:gd name="T3" fmla="*/ 0 h 14"/>
                <a:gd name="T4" fmla="*/ 2147483647 w 12"/>
                <a:gd name="T5" fmla="*/ 2147483647 h 14"/>
                <a:gd name="T6" fmla="*/ 2147483647 w 12"/>
                <a:gd name="T7" fmla="*/ 2147483647 h 14"/>
                <a:gd name="T8" fmla="*/ 2147483647 w 12"/>
                <a:gd name="T9" fmla="*/ 2147483647 h 14"/>
                <a:gd name="T10" fmla="*/ 0 w 12"/>
                <a:gd name="T11" fmla="*/ 2147483647 h 14"/>
                <a:gd name="T12" fmla="*/ 2147483647 w 12"/>
                <a:gd name="T13" fmla="*/ 0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4"/>
                <a:gd name="T23" fmla="*/ 12 w 12"/>
                <a:gd name="T24" fmla="*/ 14 h 1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4">
                  <a:moveTo>
                    <a:pt x="2" y="0"/>
                  </a:moveTo>
                  <a:lnTo>
                    <a:pt x="12" y="0"/>
                  </a:lnTo>
                  <a:lnTo>
                    <a:pt x="12" y="8"/>
                  </a:lnTo>
                  <a:lnTo>
                    <a:pt x="12" y="14"/>
                  </a:lnTo>
                  <a:lnTo>
                    <a:pt x="4" y="14"/>
                  </a:lnTo>
                  <a:lnTo>
                    <a:pt x="0" y="8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DEE4F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41" name="Freeform 276"/>
            <p:cNvSpPr>
              <a:spLocks/>
            </p:cNvSpPr>
            <p:nvPr/>
          </p:nvSpPr>
          <p:spPr bwMode="gray">
            <a:xfrm>
              <a:off x="4645025" y="3014663"/>
              <a:ext cx="28575" cy="30162"/>
            </a:xfrm>
            <a:custGeom>
              <a:avLst/>
              <a:gdLst>
                <a:gd name="T0" fmla="*/ 0 w 25"/>
                <a:gd name="T1" fmla="*/ 2147483647 h 24"/>
                <a:gd name="T2" fmla="*/ 2147483647 w 25"/>
                <a:gd name="T3" fmla="*/ 2147483647 h 24"/>
                <a:gd name="T4" fmla="*/ 2147483647 w 25"/>
                <a:gd name="T5" fmla="*/ 2147483647 h 24"/>
                <a:gd name="T6" fmla="*/ 2147483647 w 25"/>
                <a:gd name="T7" fmla="*/ 2147483647 h 24"/>
                <a:gd name="T8" fmla="*/ 2147483647 w 25"/>
                <a:gd name="T9" fmla="*/ 0 h 24"/>
                <a:gd name="T10" fmla="*/ 2147483647 w 25"/>
                <a:gd name="T11" fmla="*/ 2147483647 h 24"/>
                <a:gd name="T12" fmla="*/ 2147483647 w 25"/>
                <a:gd name="T13" fmla="*/ 2147483647 h 24"/>
                <a:gd name="T14" fmla="*/ 2147483647 w 25"/>
                <a:gd name="T15" fmla="*/ 2147483647 h 24"/>
                <a:gd name="T16" fmla="*/ 2147483647 w 25"/>
                <a:gd name="T17" fmla="*/ 2147483647 h 24"/>
                <a:gd name="T18" fmla="*/ 2147483647 w 25"/>
                <a:gd name="T19" fmla="*/ 2147483647 h 24"/>
                <a:gd name="T20" fmla="*/ 2147483647 w 25"/>
                <a:gd name="T21" fmla="*/ 2147483647 h 24"/>
                <a:gd name="T22" fmla="*/ 0 w 25"/>
                <a:gd name="T23" fmla="*/ 2147483647 h 24"/>
                <a:gd name="T24" fmla="*/ 0 w 25"/>
                <a:gd name="T25" fmla="*/ 2147483647 h 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5"/>
                <a:gd name="T40" fmla="*/ 0 h 24"/>
                <a:gd name="T41" fmla="*/ 25 w 25"/>
                <a:gd name="T42" fmla="*/ 24 h 2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5" h="24">
                  <a:moveTo>
                    <a:pt x="0" y="6"/>
                  </a:moveTo>
                  <a:lnTo>
                    <a:pt x="7" y="6"/>
                  </a:lnTo>
                  <a:lnTo>
                    <a:pt x="15" y="8"/>
                  </a:lnTo>
                  <a:lnTo>
                    <a:pt x="15" y="2"/>
                  </a:lnTo>
                  <a:lnTo>
                    <a:pt x="23" y="0"/>
                  </a:lnTo>
                  <a:lnTo>
                    <a:pt x="25" y="4"/>
                  </a:lnTo>
                  <a:lnTo>
                    <a:pt x="21" y="10"/>
                  </a:lnTo>
                  <a:lnTo>
                    <a:pt x="15" y="12"/>
                  </a:lnTo>
                  <a:lnTo>
                    <a:pt x="15" y="18"/>
                  </a:lnTo>
                  <a:lnTo>
                    <a:pt x="15" y="24"/>
                  </a:lnTo>
                  <a:lnTo>
                    <a:pt x="3" y="20"/>
                  </a:lnTo>
                  <a:lnTo>
                    <a:pt x="0" y="14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DEE4F4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42" name="Freeform 277"/>
            <p:cNvSpPr>
              <a:spLocks/>
            </p:cNvSpPr>
            <p:nvPr/>
          </p:nvSpPr>
          <p:spPr bwMode="gray">
            <a:xfrm>
              <a:off x="4281488" y="3489325"/>
              <a:ext cx="393700" cy="376238"/>
            </a:xfrm>
            <a:custGeom>
              <a:avLst/>
              <a:gdLst>
                <a:gd name="T0" fmla="*/ 0 w 331"/>
                <a:gd name="T1" fmla="*/ 2147483647 h 310"/>
                <a:gd name="T2" fmla="*/ 0 w 331"/>
                <a:gd name="T3" fmla="*/ 2147483647 h 310"/>
                <a:gd name="T4" fmla="*/ 2147483647 w 331"/>
                <a:gd name="T5" fmla="*/ 2147483647 h 310"/>
                <a:gd name="T6" fmla="*/ 2147483647 w 331"/>
                <a:gd name="T7" fmla="*/ 2147483647 h 310"/>
                <a:gd name="T8" fmla="*/ 2147483647 w 331"/>
                <a:gd name="T9" fmla="*/ 2147483647 h 310"/>
                <a:gd name="T10" fmla="*/ 2147483647 w 331"/>
                <a:gd name="T11" fmla="*/ 2147483647 h 310"/>
                <a:gd name="T12" fmla="*/ 2147483647 w 331"/>
                <a:gd name="T13" fmla="*/ 2147483647 h 310"/>
                <a:gd name="T14" fmla="*/ 2147483647 w 331"/>
                <a:gd name="T15" fmla="*/ 2147483647 h 310"/>
                <a:gd name="T16" fmla="*/ 2147483647 w 331"/>
                <a:gd name="T17" fmla="*/ 2147483647 h 310"/>
                <a:gd name="T18" fmla="*/ 2147483647 w 331"/>
                <a:gd name="T19" fmla="*/ 2147483647 h 310"/>
                <a:gd name="T20" fmla="*/ 2147483647 w 331"/>
                <a:gd name="T21" fmla="*/ 2147483647 h 310"/>
                <a:gd name="T22" fmla="*/ 2147483647 w 331"/>
                <a:gd name="T23" fmla="*/ 2147483647 h 310"/>
                <a:gd name="T24" fmla="*/ 2147483647 w 331"/>
                <a:gd name="T25" fmla="*/ 2147483647 h 310"/>
                <a:gd name="T26" fmla="*/ 2147483647 w 331"/>
                <a:gd name="T27" fmla="*/ 2147483647 h 310"/>
                <a:gd name="T28" fmla="*/ 2147483647 w 331"/>
                <a:gd name="T29" fmla="*/ 2147483647 h 310"/>
                <a:gd name="T30" fmla="*/ 2147483647 w 331"/>
                <a:gd name="T31" fmla="*/ 2147483647 h 310"/>
                <a:gd name="T32" fmla="*/ 2147483647 w 331"/>
                <a:gd name="T33" fmla="*/ 2147483647 h 310"/>
                <a:gd name="T34" fmla="*/ 2147483647 w 331"/>
                <a:gd name="T35" fmla="*/ 2147483647 h 310"/>
                <a:gd name="T36" fmla="*/ 2147483647 w 331"/>
                <a:gd name="T37" fmla="*/ 2147483647 h 310"/>
                <a:gd name="T38" fmla="*/ 2147483647 w 331"/>
                <a:gd name="T39" fmla="*/ 0 h 310"/>
                <a:gd name="T40" fmla="*/ 2147483647 w 331"/>
                <a:gd name="T41" fmla="*/ 0 h 310"/>
                <a:gd name="T42" fmla="*/ 2147483647 w 331"/>
                <a:gd name="T43" fmla="*/ 0 h 310"/>
                <a:gd name="T44" fmla="*/ 2147483647 w 331"/>
                <a:gd name="T45" fmla="*/ 2147483647 h 310"/>
                <a:gd name="T46" fmla="*/ 2147483647 w 331"/>
                <a:gd name="T47" fmla="*/ 2147483647 h 310"/>
                <a:gd name="T48" fmla="*/ 2147483647 w 331"/>
                <a:gd name="T49" fmla="*/ 2147483647 h 310"/>
                <a:gd name="T50" fmla="*/ 2147483647 w 331"/>
                <a:gd name="T51" fmla="*/ 2147483647 h 310"/>
                <a:gd name="T52" fmla="*/ 2147483647 w 331"/>
                <a:gd name="T53" fmla="*/ 2147483647 h 310"/>
                <a:gd name="T54" fmla="*/ 2147483647 w 331"/>
                <a:gd name="T55" fmla="*/ 2147483647 h 310"/>
                <a:gd name="T56" fmla="*/ 2147483647 w 331"/>
                <a:gd name="T57" fmla="*/ 2147483647 h 310"/>
                <a:gd name="T58" fmla="*/ 2147483647 w 331"/>
                <a:gd name="T59" fmla="*/ 2147483647 h 310"/>
                <a:gd name="T60" fmla="*/ 2147483647 w 331"/>
                <a:gd name="T61" fmla="*/ 2147483647 h 310"/>
                <a:gd name="T62" fmla="*/ 2147483647 w 331"/>
                <a:gd name="T63" fmla="*/ 2147483647 h 310"/>
                <a:gd name="T64" fmla="*/ 2147483647 w 331"/>
                <a:gd name="T65" fmla="*/ 2147483647 h 310"/>
                <a:gd name="T66" fmla="*/ 2147483647 w 331"/>
                <a:gd name="T67" fmla="*/ 2147483647 h 310"/>
                <a:gd name="T68" fmla="*/ 2147483647 w 331"/>
                <a:gd name="T69" fmla="*/ 2147483647 h 310"/>
                <a:gd name="T70" fmla="*/ 2147483647 w 331"/>
                <a:gd name="T71" fmla="*/ 2147483647 h 310"/>
                <a:gd name="T72" fmla="*/ 2147483647 w 331"/>
                <a:gd name="T73" fmla="*/ 2147483647 h 310"/>
                <a:gd name="T74" fmla="*/ 2147483647 w 331"/>
                <a:gd name="T75" fmla="*/ 2147483647 h 310"/>
                <a:gd name="T76" fmla="*/ 2147483647 w 331"/>
                <a:gd name="T77" fmla="*/ 2147483647 h 310"/>
                <a:gd name="T78" fmla="*/ 2147483647 w 331"/>
                <a:gd name="T79" fmla="*/ 2147483647 h 310"/>
                <a:gd name="T80" fmla="*/ 2147483647 w 331"/>
                <a:gd name="T81" fmla="*/ 2147483647 h 310"/>
                <a:gd name="T82" fmla="*/ 2147483647 w 331"/>
                <a:gd name="T83" fmla="*/ 2147483647 h 310"/>
                <a:gd name="T84" fmla="*/ 2147483647 w 331"/>
                <a:gd name="T85" fmla="*/ 2147483647 h 310"/>
                <a:gd name="T86" fmla="*/ 2147483647 w 331"/>
                <a:gd name="T87" fmla="*/ 2147483647 h 310"/>
                <a:gd name="T88" fmla="*/ 0 w 331"/>
                <a:gd name="T89" fmla="*/ 2147483647 h 31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31"/>
                <a:gd name="T136" fmla="*/ 0 h 310"/>
                <a:gd name="T137" fmla="*/ 331 w 331"/>
                <a:gd name="T138" fmla="*/ 310 h 31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31" h="310">
                  <a:moveTo>
                    <a:pt x="0" y="164"/>
                  </a:moveTo>
                  <a:lnTo>
                    <a:pt x="0" y="146"/>
                  </a:lnTo>
                  <a:lnTo>
                    <a:pt x="32" y="126"/>
                  </a:lnTo>
                  <a:lnTo>
                    <a:pt x="54" y="124"/>
                  </a:lnTo>
                  <a:lnTo>
                    <a:pt x="78" y="104"/>
                  </a:lnTo>
                  <a:lnTo>
                    <a:pt x="80" y="96"/>
                  </a:lnTo>
                  <a:lnTo>
                    <a:pt x="96" y="86"/>
                  </a:lnTo>
                  <a:lnTo>
                    <a:pt x="120" y="84"/>
                  </a:lnTo>
                  <a:lnTo>
                    <a:pt x="120" y="76"/>
                  </a:lnTo>
                  <a:lnTo>
                    <a:pt x="112" y="66"/>
                  </a:lnTo>
                  <a:lnTo>
                    <a:pt x="112" y="40"/>
                  </a:lnTo>
                  <a:lnTo>
                    <a:pt x="110" y="34"/>
                  </a:lnTo>
                  <a:lnTo>
                    <a:pt x="126" y="22"/>
                  </a:lnTo>
                  <a:lnTo>
                    <a:pt x="138" y="20"/>
                  </a:lnTo>
                  <a:lnTo>
                    <a:pt x="154" y="10"/>
                  </a:lnTo>
                  <a:lnTo>
                    <a:pt x="180" y="6"/>
                  </a:lnTo>
                  <a:lnTo>
                    <a:pt x="204" y="2"/>
                  </a:lnTo>
                  <a:lnTo>
                    <a:pt x="218" y="4"/>
                  </a:lnTo>
                  <a:lnTo>
                    <a:pt x="226" y="6"/>
                  </a:lnTo>
                  <a:lnTo>
                    <a:pt x="238" y="0"/>
                  </a:lnTo>
                  <a:lnTo>
                    <a:pt x="254" y="0"/>
                  </a:lnTo>
                  <a:lnTo>
                    <a:pt x="262" y="0"/>
                  </a:lnTo>
                  <a:lnTo>
                    <a:pt x="270" y="4"/>
                  </a:lnTo>
                  <a:lnTo>
                    <a:pt x="270" y="40"/>
                  </a:lnTo>
                  <a:lnTo>
                    <a:pt x="258" y="50"/>
                  </a:lnTo>
                  <a:lnTo>
                    <a:pt x="258" y="58"/>
                  </a:lnTo>
                  <a:lnTo>
                    <a:pt x="282" y="86"/>
                  </a:lnTo>
                  <a:lnTo>
                    <a:pt x="286" y="114"/>
                  </a:lnTo>
                  <a:lnTo>
                    <a:pt x="292" y="116"/>
                  </a:lnTo>
                  <a:lnTo>
                    <a:pt x="294" y="132"/>
                  </a:lnTo>
                  <a:lnTo>
                    <a:pt x="296" y="180"/>
                  </a:lnTo>
                  <a:lnTo>
                    <a:pt x="288" y="184"/>
                  </a:lnTo>
                  <a:lnTo>
                    <a:pt x="292" y="194"/>
                  </a:lnTo>
                  <a:lnTo>
                    <a:pt x="302" y="216"/>
                  </a:lnTo>
                  <a:lnTo>
                    <a:pt x="321" y="218"/>
                  </a:lnTo>
                  <a:lnTo>
                    <a:pt x="325" y="226"/>
                  </a:lnTo>
                  <a:lnTo>
                    <a:pt x="331" y="232"/>
                  </a:lnTo>
                  <a:lnTo>
                    <a:pt x="264" y="272"/>
                  </a:lnTo>
                  <a:lnTo>
                    <a:pt x="226" y="304"/>
                  </a:lnTo>
                  <a:lnTo>
                    <a:pt x="206" y="308"/>
                  </a:lnTo>
                  <a:lnTo>
                    <a:pt x="188" y="310"/>
                  </a:lnTo>
                  <a:lnTo>
                    <a:pt x="190" y="294"/>
                  </a:lnTo>
                  <a:lnTo>
                    <a:pt x="170" y="286"/>
                  </a:lnTo>
                  <a:lnTo>
                    <a:pt x="160" y="276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43" name="Freeform 278"/>
            <p:cNvSpPr>
              <a:spLocks/>
            </p:cNvSpPr>
            <p:nvPr/>
          </p:nvSpPr>
          <p:spPr bwMode="gray">
            <a:xfrm>
              <a:off x="4198938" y="3514725"/>
              <a:ext cx="225425" cy="174625"/>
            </a:xfrm>
            <a:custGeom>
              <a:avLst/>
              <a:gdLst>
                <a:gd name="T0" fmla="*/ 2147483647 w 188"/>
                <a:gd name="T1" fmla="*/ 2147483647 h 144"/>
                <a:gd name="T2" fmla="*/ 0 w 188"/>
                <a:gd name="T3" fmla="*/ 2147483647 h 144"/>
                <a:gd name="T4" fmla="*/ 2147483647 w 188"/>
                <a:gd name="T5" fmla="*/ 2147483647 h 144"/>
                <a:gd name="T6" fmla="*/ 2147483647 w 188"/>
                <a:gd name="T7" fmla="*/ 2147483647 h 144"/>
                <a:gd name="T8" fmla="*/ 2147483647 w 188"/>
                <a:gd name="T9" fmla="*/ 2147483647 h 144"/>
                <a:gd name="T10" fmla="*/ 2147483647 w 188"/>
                <a:gd name="T11" fmla="*/ 2147483647 h 144"/>
                <a:gd name="T12" fmla="*/ 2147483647 w 188"/>
                <a:gd name="T13" fmla="*/ 2147483647 h 144"/>
                <a:gd name="T14" fmla="*/ 2147483647 w 188"/>
                <a:gd name="T15" fmla="*/ 2147483647 h 144"/>
                <a:gd name="T16" fmla="*/ 2147483647 w 188"/>
                <a:gd name="T17" fmla="*/ 2147483647 h 144"/>
                <a:gd name="T18" fmla="*/ 2147483647 w 188"/>
                <a:gd name="T19" fmla="*/ 2147483647 h 144"/>
                <a:gd name="T20" fmla="*/ 2147483647 w 188"/>
                <a:gd name="T21" fmla="*/ 2147483647 h 144"/>
                <a:gd name="T22" fmla="*/ 2147483647 w 188"/>
                <a:gd name="T23" fmla="*/ 2147483647 h 144"/>
                <a:gd name="T24" fmla="*/ 2147483647 w 188"/>
                <a:gd name="T25" fmla="*/ 2147483647 h 144"/>
                <a:gd name="T26" fmla="*/ 2147483647 w 188"/>
                <a:gd name="T27" fmla="*/ 0 h 144"/>
                <a:gd name="T28" fmla="*/ 2147483647 w 188"/>
                <a:gd name="T29" fmla="*/ 0 h 144"/>
                <a:gd name="T30" fmla="*/ 2147483647 w 188"/>
                <a:gd name="T31" fmla="*/ 2147483647 h 144"/>
                <a:gd name="T32" fmla="*/ 2147483647 w 188"/>
                <a:gd name="T33" fmla="*/ 2147483647 h 144"/>
                <a:gd name="T34" fmla="*/ 2147483647 w 188"/>
                <a:gd name="T35" fmla="*/ 2147483647 h 144"/>
                <a:gd name="T36" fmla="*/ 2147483647 w 188"/>
                <a:gd name="T37" fmla="*/ 2147483647 h 144"/>
                <a:gd name="T38" fmla="*/ 2147483647 w 188"/>
                <a:gd name="T39" fmla="*/ 2147483647 h 144"/>
                <a:gd name="T40" fmla="*/ 2147483647 w 188"/>
                <a:gd name="T41" fmla="*/ 2147483647 h 144"/>
                <a:gd name="T42" fmla="*/ 2147483647 w 188"/>
                <a:gd name="T43" fmla="*/ 2147483647 h 144"/>
                <a:gd name="T44" fmla="*/ 2147483647 w 188"/>
                <a:gd name="T45" fmla="*/ 2147483647 h 144"/>
                <a:gd name="T46" fmla="*/ 2147483647 w 188"/>
                <a:gd name="T47" fmla="*/ 2147483647 h 144"/>
                <a:gd name="T48" fmla="*/ 2147483647 w 188"/>
                <a:gd name="T49" fmla="*/ 2147483647 h 144"/>
                <a:gd name="T50" fmla="*/ 2147483647 w 188"/>
                <a:gd name="T51" fmla="*/ 2147483647 h 144"/>
                <a:gd name="T52" fmla="*/ 2147483647 w 188"/>
                <a:gd name="T53" fmla="*/ 2147483647 h 144"/>
                <a:gd name="T54" fmla="*/ 2147483647 w 188"/>
                <a:gd name="T55" fmla="*/ 2147483647 h 144"/>
                <a:gd name="T56" fmla="*/ 2147483647 w 188"/>
                <a:gd name="T57" fmla="*/ 2147483647 h 144"/>
                <a:gd name="T58" fmla="*/ 2147483647 w 188"/>
                <a:gd name="T59" fmla="*/ 2147483647 h 144"/>
                <a:gd name="T60" fmla="*/ 2147483647 w 188"/>
                <a:gd name="T61" fmla="*/ 2147483647 h 144"/>
                <a:gd name="T62" fmla="*/ 2147483647 w 188"/>
                <a:gd name="T63" fmla="*/ 2147483647 h 14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88"/>
                <a:gd name="T97" fmla="*/ 0 h 144"/>
                <a:gd name="T98" fmla="*/ 188 w 188"/>
                <a:gd name="T99" fmla="*/ 144 h 14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88" h="144">
                  <a:moveTo>
                    <a:pt x="68" y="144"/>
                  </a:moveTo>
                  <a:lnTo>
                    <a:pt x="0" y="144"/>
                  </a:lnTo>
                  <a:lnTo>
                    <a:pt x="10" y="138"/>
                  </a:lnTo>
                  <a:lnTo>
                    <a:pt x="28" y="128"/>
                  </a:lnTo>
                  <a:lnTo>
                    <a:pt x="50" y="110"/>
                  </a:lnTo>
                  <a:lnTo>
                    <a:pt x="52" y="104"/>
                  </a:lnTo>
                  <a:lnTo>
                    <a:pt x="52" y="68"/>
                  </a:lnTo>
                  <a:lnTo>
                    <a:pt x="62" y="56"/>
                  </a:lnTo>
                  <a:lnTo>
                    <a:pt x="74" y="44"/>
                  </a:lnTo>
                  <a:lnTo>
                    <a:pt x="88" y="40"/>
                  </a:lnTo>
                  <a:lnTo>
                    <a:pt x="102" y="30"/>
                  </a:lnTo>
                  <a:lnTo>
                    <a:pt x="108" y="14"/>
                  </a:lnTo>
                  <a:lnTo>
                    <a:pt x="112" y="4"/>
                  </a:lnTo>
                  <a:lnTo>
                    <a:pt x="116" y="0"/>
                  </a:lnTo>
                  <a:lnTo>
                    <a:pt x="122" y="0"/>
                  </a:lnTo>
                  <a:lnTo>
                    <a:pt x="126" y="8"/>
                  </a:lnTo>
                  <a:lnTo>
                    <a:pt x="132" y="12"/>
                  </a:lnTo>
                  <a:lnTo>
                    <a:pt x="154" y="10"/>
                  </a:lnTo>
                  <a:lnTo>
                    <a:pt x="164" y="10"/>
                  </a:lnTo>
                  <a:lnTo>
                    <a:pt x="168" y="14"/>
                  </a:lnTo>
                  <a:lnTo>
                    <a:pt x="178" y="14"/>
                  </a:lnTo>
                  <a:lnTo>
                    <a:pt x="180" y="20"/>
                  </a:lnTo>
                  <a:lnTo>
                    <a:pt x="180" y="46"/>
                  </a:lnTo>
                  <a:lnTo>
                    <a:pt x="188" y="56"/>
                  </a:lnTo>
                  <a:lnTo>
                    <a:pt x="188" y="64"/>
                  </a:lnTo>
                  <a:lnTo>
                    <a:pt x="164" y="66"/>
                  </a:lnTo>
                  <a:lnTo>
                    <a:pt x="148" y="76"/>
                  </a:lnTo>
                  <a:lnTo>
                    <a:pt x="146" y="84"/>
                  </a:lnTo>
                  <a:lnTo>
                    <a:pt x="122" y="104"/>
                  </a:lnTo>
                  <a:lnTo>
                    <a:pt x="100" y="106"/>
                  </a:lnTo>
                  <a:lnTo>
                    <a:pt x="68" y="126"/>
                  </a:lnTo>
                  <a:lnTo>
                    <a:pt x="68" y="144"/>
                  </a:lnTo>
                  <a:close/>
                </a:path>
              </a:pathLst>
            </a:custGeom>
            <a:solidFill>
              <a:srgbClr val="D2D2D2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eaLnBrk="0" hangingPunct="0"/>
              <a:endParaRPr lang="de-DE"/>
            </a:p>
          </p:txBody>
        </p:sp>
        <p:sp>
          <p:nvSpPr>
            <p:cNvPr id="33044" name="Freeform 278"/>
            <p:cNvSpPr>
              <a:spLocks/>
            </p:cNvSpPr>
            <p:nvPr/>
          </p:nvSpPr>
          <p:spPr bwMode="auto">
            <a:xfrm>
              <a:off x="3003550" y="4578350"/>
              <a:ext cx="180975" cy="790575"/>
            </a:xfrm>
            <a:custGeom>
              <a:avLst/>
              <a:gdLst>
                <a:gd name="T0" fmla="*/ 2147483647 w 107"/>
                <a:gd name="T1" fmla="*/ 0 h 661"/>
                <a:gd name="T2" fmla="*/ 2147483647 w 107"/>
                <a:gd name="T3" fmla="*/ 2147483647 h 661"/>
                <a:gd name="T4" fmla="*/ 2147483647 w 107"/>
                <a:gd name="T5" fmla="*/ 2147483647 h 661"/>
                <a:gd name="T6" fmla="*/ 2147483647 w 107"/>
                <a:gd name="T7" fmla="*/ 2147483647 h 661"/>
                <a:gd name="T8" fmla="*/ 2147483647 w 107"/>
                <a:gd name="T9" fmla="*/ 2147483647 h 661"/>
                <a:gd name="T10" fmla="*/ 2147483647 w 107"/>
                <a:gd name="T11" fmla="*/ 2147483647 h 661"/>
                <a:gd name="T12" fmla="*/ 2147483647 w 107"/>
                <a:gd name="T13" fmla="*/ 2147483647 h 661"/>
                <a:gd name="T14" fmla="*/ 2147483647 w 107"/>
                <a:gd name="T15" fmla="*/ 2147483647 h 661"/>
                <a:gd name="T16" fmla="*/ 2147483647 w 107"/>
                <a:gd name="T17" fmla="*/ 2147483647 h 661"/>
                <a:gd name="T18" fmla="*/ 2147483647 w 107"/>
                <a:gd name="T19" fmla="*/ 2147483647 h 661"/>
                <a:gd name="T20" fmla="*/ 2147483647 w 107"/>
                <a:gd name="T21" fmla="*/ 2147483647 h 661"/>
                <a:gd name="T22" fmla="*/ 2147483647 w 107"/>
                <a:gd name="T23" fmla="*/ 2147483647 h 661"/>
                <a:gd name="T24" fmla="*/ 2147483647 w 107"/>
                <a:gd name="T25" fmla="*/ 2147483647 h 661"/>
                <a:gd name="T26" fmla="*/ 2147483647 w 107"/>
                <a:gd name="T27" fmla="*/ 2147483647 h 661"/>
                <a:gd name="T28" fmla="*/ 2147483647 w 107"/>
                <a:gd name="T29" fmla="*/ 2147483647 h 661"/>
                <a:gd name="T30" fmla="*/ 2147483647 w 107"/>
                <a:gd name="T31" fmla="*/ 2147483647 h 661"/>
                <a:gd name="T32" fmla="*/ 2147483647 w 107"/>
                <a:gd name="T33" fmla="*/ 2147483647 h 661"/>
                <a:gd name="T34" fmla="*/ 2147483647 w 107"/>
                <a:gd name="T35" fmla="*/ 2147483647 h 661"/>
                <a:gd name="T36" fmla="*/ 2147483647 w 107"/>
                <a:gd name="T37" fmla="*/ 2147483647 h 661"/>
                <a:gd name="T38" fmla="*/ 2147483647 w 107"/>
                <a:gd name="T39" fmla="*/ 2147483647 h 661"/>
                <a:gd name="T40" fmla="*/ 2147483647 w 107"/>
                <a:gd name="T41" fmla="*/ 2147483647 h 661"/>
                <a:gd name="T42" fmla="*/ 2147483647 w 107"/>
                <a:gd name="T43" fmla="*/ 2147483647 h 661"/>
                <a:gd name="T44" fmla="*/ 2147483647 w 107"/>
                <a:gd name="T45" fmla="*/ 2147483647 h 661"/>
                <a:gd name="T46" fmla="*/ 2147483647 w 107"/>
                <a:gd name="T47" fmla="*/ 2147483647 h 661"/>
                <a:gd name="T48" fmla="*/ 0 w 107"/>
                <a:gd name="T49" fmla="*/ 2147483647 h 661"/>
                <a:gd name="T50" fmla="*/ 2147483647 w 107"/>
                <a:gd name="T51" fmla="*/ 2147483647 h 661"/>
                <a:gd name="T52" fmla="*/ 2147483647 w 107"/>
                <a:gd name="T53" fmla="*/ 2147483647 h 661"/>
                <a:gd name="T54" fmla="*/ 2147483647 w 107"/>
                <a:gd name="T55" fmla="*/ 2147483647 h 661"/>
                <a:gd name="T56" fmla="*/ 2147483647 w 107"/>
                <a:gd name="T57" fmla="*/ 2147483647 h 661"/>
                <a:gd name="T58" fmla="*/ 2147483647 w 107"/>
                <a:gd name="T59" fmla="*/ 2147483647 h 661"/>
                <a:gd name="T60" fmla="*/ 2147483647 w 107"/>
                <a:gd name="T61" fmla="*/ 2147483647 h 661"/>
                <a:gd name="T62" fmla="*/ 2147483647 w 107"/>
                <a:gd name="T63" fmla="*/ 2147483647 h 661"/>
                <a:gd name="T64" fmla="*/ 2147483647 w 107"/>
                <a:gd name="T65" fmla="*/ 2147483647 h 661"/>
                <a:gd name="T66" fmla="*/ 2147483647 w 107"/>
                <a:gd name="T67" fmla="*/ 2147483647 h 661"/>
                <a:gd name="T68" fmla="*/ 2147483647 w 107"/>
                <a:gd name="T69" fmla="*/ 2147483647 h 661"/>
                <a:gd name="T70" fmla="*/ 2147483647 w 107"/>
                <a:gd name="T71" fmla="*/ 2147483647 h 661"/>
                <a:gd name="T72" fmla="*/ 2147483647 w 107"/>
                <a:gd name="T73" fmla="*/ 2147483647 h 661"/>
                <a:gd name="T74" fmla="*/ 2147483647 w 107"/>
                <a:gd name="T75" fmla="*/ 2147483647 h 661"/>
                <a:gd name="T76" fmla="*/ 2147483647 w 107"/>
                <a:gd name="T77" fmla="*/ 2147483647 h 66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07"/>
                <a:gd name="T118" fmla="*/ 0 h 661"/>
                <a:gd name="T119" fmla="*/ 107 w 107"/>
                <a:gd name="T120" fmla="*/ 661 h 661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07" h="661">
                  <a:moveTo>
                    <a:pt x="63" y="7"/>
                  </a:moveTo>
                  <a:lnTo>
                    <a:pt x="85" y="0"/>
                  </a:lnTo>
                  <a:lnTo>
                    <a:pt x="94" y="22"/>
                  </a:lnTo>
                  <a:lnTo>
                    <a:pt x="99" y="83"/>
                  </a:lnTo>
                  <a:lnTo>
                    <a:pt x="107" y="83"/>
                  </a:lnTo>
                  <a:lnTo>
                    <a:pt x="107" y="98"/>
                  </a:lnTo>
                  <a:lnTo>
                    <a:pt x="94" y="103"/>
                  </a:lnTo>
                  <a:lnTo>
                    <a:pt x="99" y="135"/>
                  </a:lnTo>
                  <a:lnTo>
                    <a:pt x="63" y="217"/>
                  </a:lnTo>
                  <a:lnTo>
                    <a:pt x="72" y="256"/>
                  </a:lnTo>
                  <a:lnTo>
                    <a:pt x="63" y="286"/>
                  </a:lnTo>
                  <a:lnTo>
                    <a:pt x="63" y="299"/>
                  </a:lnTo>
                  <a:lnTo>
                    <a:pt x="57" y="308"/>
                  </a:lnTo>
                  <a:lnTo>
                    <a:pt x="57" y="343"/>
                  </a:lnTo>
                  <a:lnTo>
                    <a:pt x="52" y="368"/>
                  </a:lnTo>
                  <a:lnTo>
                    <a:pt x="52" y="457"/>
                  </a:lnTo>
                  <a:lnTo>
                    <a:pt x="57" y="457"/>
                  </a:lnTo>
                  <a:lnTo>
                    <a:pt x="52" y="501"/>
                  </a:lnTo>
                  <a:lnTo>
                    <a:pt x="42" y="526"/>
                  </a:lnTo>
                  <a:lnTo>
                    <a:pt x="42" y="540"/>
                  </a:lnTo>
                  <a:lnTo>
                    <a:pt x="28" y="572"/>
                  </a:lnTo>
                  <a:lnTo>
                    <a:pt x="28" y="594"/>
                  </a:lnTo>
                  <a:lnTo>
                    <a:pt x="42" y="585"/>
                  </a:lnTo>
                  <a:lnTo>
                    <a:pt x="42" y="617"/>
                  </a:lnTo>
                  <a:lnTo>
                    <a:pt x="52" y="622"/>
                  </a:lnTo>
                  <a:lnTo>
                    <a:pt x="94" y="622"/>
                  </a:lnTo>
                  <a:lnTo>
                    <a:pt x="94" y="639"/>
                  </a:lnTo>
                  <a:lnTo>
                    <a:pt x="85" y="639"/>
                  </a:lnTo>
                  <a:lnTo>
                    <a:pt x="63" y="646"/>
                  </a:lnTo>
                  <a:lnTo>
                    <a:pt x="63" y="661"/>
                  </a:lnTo>
                  <a:lnTo>
                    <a:pt x="57" y="661"/>
                  </a:lnTo>
                  <a:lnTo>
                    <a:pt x="52" y="654"/>
                  </a:lnTo>
                  <a:lnTo>
                    <a:pt x="57" y="654"/>
                  </a:lnTo>
                  <a:lnTo>
                    <a:pt x="57" y="646"/>
                  </a:lnTo>
                  <a:lnTo>
                    <a:pt x="42" y="654"/>
                  </a:lnTo>
                  <a:lnTo>
                    <a:pt x="28" y="646"/>
                  </a:lnTo>
                  <a:lnTo>
                    <a:pt x="28" y="639"/>
                  </a:lnTo>
                  <a:lnTo>
                    <a:pt x="20" y="639"/>
                  </a:lnTo>
                  <a:lnTo>
                    <a:pt x="11" y="622"/>
                  </a:lnTo>
                  <a:lnTo>
                    <a:pt x="11" y="639"/>
                  </a:lnTo>
                  <a:lnTo>
                    <a:pt x="6" y="622"/>
                  </a:lnTo>
                  <a:lnTo>
                    <a:pt x="6" y="617"/>
                  </a:lnTo>
                  <a:lnTo>
                    <a:pt x="11" y="610"/>
                  </a:lnTo>
                  <a:lnTo>
                    <a:pt x="11" y="594"/>
                  </a:lnTo>
                  <a:lnTo>
                    <a:pt x="11" y="610"/>
                  </a:lnTo>
                  <a:lnTo>
                    <a:pt x="6" y="617"/>
                  </a:lnTo>
                  <a:lnTo>
                    <a:pt x="11" y="610"/>
                  </a:lnTo>
                  <a:lnTo>
                    <a:pt x="11" y="578"/>
                  </a:lnTo>
                  <a:lnTo>
                    <a:pt x="6" y="578"/>
                  </a:lnTo>
                  <a:lnTo>
                    <a:pt x="0" y="572"/>
                  </a:lnTo>
                  <a:lnTo>
                    <a:pt x="0" y="563"/>
                  </a:lnTo>
                  <a:lnTo>
                    <a:pt x="6" y="533"/>
                  </a:lnTo>
                  <a:lnTo>
                    <a:pt x="6" y="526"/>
                  </a:lnTo>
                  <a:lnTo>
                    <a:pt x="11" y="540"/>
                  </a:lnTo>
                  <a:lnTo>
                    <a:pt x="20" y="518"/>
                  </a:lnTo>
                  <a:lnTo>
                    <a:pt x="6" y="501"/>
                  </a:lnTo>
                  <a:lnTo>
                    <a:pt x="0" y="501"/>
                  </a:lnTo>
                  <a:lnTo>
                    <a:pt x="6" y="488"/>
                  </a:lnTo>
                  <a:lnTo>
                    <a:pt x="11" y="488"/>
                  </a:lnTo>
                  <a:lnTo>
                    <a:pt x="11" y="457"/>
                  </a:lnTo>
                  <a:lnTo>
                    <a:pt x="20" y="451"/>
                  </a:lnTo>
                  <a:lnTo>
                    <a:pt x="20" y="464"/>
                  </a:lnTo>
                  <a:lnTo>
                    <a:pt x="42" y="412"/>
                  </a:lnTo>
                  <a:lnTo>
                    <a:pt x="42" y="405"/>
                  </a:lnTo>
                  <a:lnTo>
                    <a:pt x="28" y="405"/>
                  </a:lnTo>
                  <a:lnTo>
                    <a:pt x="20" y="399"/>
                  </a:lnTo>
                  <a:lnTo>
                    <a:pt x="20" y="368"/>
                  </a:lnTo>
                  <a:lnTo>
                    <a:pt x="28" y="353"/>
                  </a:lnTo>
                  <a:lnTo>
                    <a:pt x="20" y="331"/>
                  </a:lnTo>
                  <a:lnTo>
                    <a:pt x="28" y="323"/>
                  </a:lnTo>
                  <a:lnTo>
                    <a:pt x="57" y="232"/>
                  </a:lnTo>
                  <a:lnTo>
                    <a:pt x="52" y="210"/>
                  </a:lnTo>
                  <a:lnTo>
                    <a:pt x="57" y="195"/>
                  </a:lnTo>
                  <a:lnTo>
                    <a:pt x="63" y="83"/>
                  </a:lnTo>
                  <a:lnTo>
                    <a:pt x="72" y="52"/>
                  </a:lnTo>
                  <a:lnTo>
                    <a:pt x="63" y="7"/>
                  </a:lnTo>
                  <a:close/>
                </a:path>
              </a:pathLst>
            </a:custGeom>
            <a:solidFill>
              <a:srgbClr val="B6C5E5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0" hangingPunct="0"/>
              <a:endParaRPr lang="de-DE">
                <a:solidFill>
                  <a:srgbClr val="849BCD"/>
                </a:solidFill>
              </a:endParaRPr>
            </a:p>
          </p:txBody>
        </p:sp>
      </p:grpSp>
      <p:sp>
        <p:nvSpPr>
          <p:cNvPr id="32774" name="Text Box 151"/>
          <p:cNvSpPr txBox="1">
            <a:spLocks noChangeArrowheads="1"/>
          </p:cNvSpPr>
          <p:nvPr/>
        </p:nvSpPr>
        <p:spPr bwMode="auto">
          <a:xfrm>
            <a:off x="6731000" y="5453063"/>
            <a:ext cx="1949450" cy="6397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17550" eaLnBrk="0" hangingPunct="0">
              <a:tabLst>
                <a:tab pos="361950" algn="l"/>
              </a:tabLst>
            </a:pPr>
            <a:r>
              <a:rPr lang="de-DE" sz="1200" b="1">
                <a:solidFill>
                  <a:srgbClr val="003E90"/>
                </a:solidFill>
                <a:latin typeface="Calibri" pitchFamily="34" charset="0"/>
              </a:rPr>
              <a:t>	Australia:</a:t>
            </a: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	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en-US" sz="1200">
                <a:solidFill>
                  <a:schemeClr val="bg2"/>
                </a:solidFill>
                <a:latin typeface="Calibri" pitchFamily="34" charset="0"/>
              </a:rPr>
              <a:t>1 windfarm in planning stage (2011), 30 MW</a:t>
            </a:r>
            <a:endParaRPr lang="de-DE" sz="1200" b="1">
              <a:solidFill>
                <a:schemeClr val="bg2"/>
              </a:solidFill>
              <a:latin typeface="Calibri" pitchFamily="34" charset="0"/>
            </a:endParaRPr>
          </a:p>
        </p:txBody>
      </p:sp>
      <p:sp>
        <p:nvSpPr>
          <p:cNvPr id="32775" name="Text Box 151"/>
          <p:cNvSpPr txBox="1">
            <a:spLocks noChangeArrowheads="1"/>
          </p:cNvSpPr>
          <p:nvPr/>
        </p:nvSpPr>
        <p:spPr bwMode="auto">
          <a:xfrm>
            <a:off x="595313" y="5467350"/>
            <a:ext cx="2266950" cy="6397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17550" eaLnBrk="0" hangingPunct="0">
              <a:tabLst>
                <a:tab pos="361950" algn="l"/>
              </a:tabLst>
            </a:pPr>
            <a:r>
              <a:rPr lang="de-DE" sz="1200" b="1">
                <a:solidFill>
                  <a:srgbClr val="003E90"/>
                </a:solidFill>
                <a:latin typeface="Calibri" pitchFamily="34" charset="0"/>
              </a:rPr>
              <a:t>	Argentinia:</a:t>
            </a: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	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en-US" sz="1200">
                <a:solidFill>
                  <a:schemeClr val="bg2"/>
                </a:solidFill>
                <a:latin typeface="Calibri" pitchFamily="34" charset="0"/>
              </a:rPr>
              <a:t>1 windfarm in planning stage (2011),  1.8 MW</a:t>
            </a:r>
            <a:endParaRPr lang="de-DE" sz="1200" b="1">
              <a:solidFill>
                <a:schemeClr val="bg2"/>
              </a:solidFill>
              <a:latin typeface="Calibri" pitchFamily="34" charset="0"/>
            </a:endParaRPr>
          </a:p>
        </p:txBody>
      </p:sp>
      <p:sp>
        <p:nvSpPr>
          <p:cNvPr id="32776" name="Text Box 151"/>
          <p:cNvSpPr txBox="1">
            <a:spLocks noChangeArrowheads="1"/>
          </p:cNvSpPr>
          <p:nvPr/>
        </p:nvSpPr>
        <p:spPr bwMode="auto">
          <a:xfrm>
            <a:off x="561975" y="2022475"/>
            <a:ext cx="1962150" cy="6397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17550" eaLnBrk="0" hangingPunct="0">
              <a:tabLst>
                <a:tab pos="361950" algn="l"/>
              </a:tabLst>
            </a:pPr>
            <a:r>
              <a:rPr lang="de-DE" sz="1200" b="1">
                <a:solidFill>
                  <a:srgbClr val="003E90"/>
                </a:solidFill>
                <a:latin typeface="Calibri" pitchFamily="34" charset="0"/>
              </a:rPr>
              <a:t>	Canada:</a:t>
            </a: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	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en-US" sz="1200">
                <a:solidFill>
                  <a:schemeClr val="bg2"/>
                </a:solidFill>
                <a:latin typeface="Calibri" pitchFamily="34" charset="0"/>
              </a:rPr>
              <a:t>4 windfarms in planning stage  (2010/2011),  40 MW</a:t>
            </a:r>
          </a:p>
        </p:txBody>
      </p:sp>
      <p:sp>
        <p:nvSpPr>
          <p:cNvPr id="32777" name="Text Box 151"/>
          <p:cNvSpPr txBox="1">
            <a:spLocks noChangeArrowheads="1"/>
          </p:cNvSpPr>
          <p:nvPr/>
        </p:nvSpPr>
        <p:spPr bwMode="auto">
          <a:xfrm>
            <a:off x="587375" y="4391025"/>
            <a:ext cx="1897063" cy="6397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17550" eaLnBrk="0" hangingPunct="0">
              <a:tabLst>
                <a:tab pos="361950" algn="l"/>
              </a:tabLst>
            </a:pPr>
            <a:r>
              <a:rPr lang="de-DE" sz="1200" b="1">
                <a:solidFill>
                  <a:srgbClr val="003E90"/>
                </a:solidFill>
                <a:latin typeface="Calibri" pitchFamily="34" charset="0"/>
              </a:rPr>
              <a:t>	Panama:</a:t>
            </a: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	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en-US" sz="1200">
                <a:solidFill>
                  <a:schemeClr val="bg2"/>
                </a:solidFill>
                <a:latin typeface="Calibri" pitchFamily="34" charset="0"/>
              </a:rPr>
              <a:t>3 windfarms in planning stage (2010/2011),  32 MW</a:t>
            </a:r>
          </a:p>
        </p:txBody>
      </p:sp>
      <p:sp>
        <p:nvSpPr>
          <p:cNvPr id="32778" name="Text Box 151"/>
          <p:cNvSpPr txBox="1">
            <a:spLocks noChangeArrowheads="1"/>
          </p:cNvSpPr>
          <p:nvPr/>
        </p:nvSpPr>
        <p:spPr bwMode="auto">
          <a:xfrm>
            <a:off x="6729413" y="2024063"/>
            <a:ext cx="1974850" cy="11874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17550" eaLnBrk="0" hangingPunct="0">
              <a:tabLst>
                <a:tab pos="361950" algn="l"/>
              </a:tabLst>
            </a:pPr>
            <a:r>
              <a:rPr lang="de-DE" sz="1200" b="1">
                <a:solidFill>
                  <a:srgbClr val="003E90"/>
                </a:solidFill>
                <a:latin typeface="Calibri" pitchFamily="34" charset="0"/>
              </a:rPr>
              <a:t>	Taiwan:</a:t>
            </a:r>
            <a:r>
              <a:rPr lang="de-DE" sz="1200">
                <a:solidFill>
                  <a:schemeClr val="bg2"/>
                </a:solidFill>
                <a:latin typeface="Calibri" pitchFamily="34" charset="0"/>
              </a:rPr>
              <a:t>	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en-US" sz="1200">
                <a:solidFill>
                  <a:schemeClr val="bg2"/>
                </a:solidFill>
                <a:latin typeface="Calibri" pitchFamily="34" charset="0"/>
              </a:rPr>
              <a:t>4 windfarms i.o. ,  199.5 MW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en-US" sz="1200">
                <a:solidFill>
                  <a:schemeClr val="bg2"/>
                </a:solidFill>
                <a:latin typeface="Calibri" pitchFamily="34" charset="0"/>
              </a:rPr>
              <a:t>1 windfarm u.c., 43.7 MW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en-US" sz="1200">
                <a:solidFill>
                  <a:schemeClr val="bg2"/>
                </a:solidFill>
                <a:latin typeface="Calibri" pitchFamily="34" charset="0"/>
              </a:rPr>
              <a:t>12 windfarms in planning stage (2010/2011), 243.8 MW</a:t>
            </a:r>
            <a:endParaRPr lang="de-DE" sz="1200">
              <a:solidFill>
                <a:schemeClr val="bg2"/>
              </a:solidFill>
              <a:latin typeface="Calibri" pitchFamily="34" charset="0"/>
            </a:endParaRPr>
          </a:p>
        </p:txBody>
      </p:sp>
      <p:pic>
        <p:nvPicPr>
          <p:cNvPr id="32779" name="Picture 142" descr="Panama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81038" y="4471988"/>
            <a:ext cx="187325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80" name="Picture 28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853238" y="2117725"/>
            <a:ext cx="203200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81" name="Picture 40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73100" y="2108200"/>
            <a:ext cx="211138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82" name="Picture 3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864350" y="5505450"/>
            <a:ext cx="236538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783" name="Picture 46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08025" y="5503863"/>
            <a:ext cx="215900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2784" name="Gerade Verbindung 196"/>
          <p:cNvCxnSpPr>
            <a:cxnSpLocks noChangeShapeType="1"/>
          </p:cNvCxnSpPr>
          <p:nvPr/>
        </p:nvCxnSpPr>
        <p:spPr bwMode="auto">
          <a:xfrm>
            <a:off x="636588" y="2719388"/>
            <a:ext cx="1954212" cy="1116012"/>
          </a:xfrm>
          <a:prstGeom prst="bentConnector3">
            <a:avLst>
              <a:gd name="adj1" fmla="val 100931"/>
            </a:avLst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  <p:sp>
        <p:nvSpPr>
          <p:cNvPr id="32785" name="Oval 13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574925" y="3846513"/>
            <a:ext cx="46038" cy="44450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cxnSp>
        <p:nvCxnSpPr>
          <p:cNvPr id="32786" name="Gerade Verbindung 196"/>
          <p:cNvCxnSpPr>
            <a:cxnSpLocks noChangeShapeType="1"/>
            <a:endCxn id="32787" idx="6"/>
          </p:cNvCxnSpPr>
          <p:nvPr/>
        </p:nvCxnSpPr>
        <p:spPr bwMode="auto">
          <a:xfrm rot="10800000" flipV="1">
            <a:off x="6238875" y="3449638"/>
            <a:ext cx="1181100" cy="992187"/>
          </a:xfrm>
          <a:prstGeom prst="bentConnector3">
            <a:avLst>
              <a:gd name="adj1" fmla="val -389"/>
            </a:avLst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  <p:sp>
        <p:nvSpPr>
          <p:cNvPr id="32787" name="Oval 13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192838" y="4418013"/>
            <a:ext cx="46037" cy="46037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sp>
        <p:nvSpPr>
          <p:cNvPr id="32788" name="Oval 13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97200" y="4678363"/>
            <a:ext cx="46038" cy="46037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cxnSp>
        <p:nvCxnSpPr>
          <p:cNvPr id="32789" name="Gerade Verbindung 310"/>
          <p:cNvCxnSpPr>
            <a:cxnSpLocks noChangeShapeType="1"/>
          </p:cNvCxnSpPr>
          <p:nvPr/>
        </p:nvCxnSpPr>
        <p:spPr bwMode="auto">
          <a:xfrm rot="10800000">
            <a:off x="2230438" y="4699000"/>
            <a:ext cx="752475" cy="1588"/>
          </a:xfrm>
          <a:prstGeom prst="line">
            <a:avLst/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  <p:sp>
        <p:nvSpPr>
          <p:cNvPr id="32790" name="Oval 13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55963" y="5367338"/>
            <a:ext cx="46037" cy="46037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cxnSp>
        <p:nvCxnSpPr>
          <p:cNvPr id="32791" name="Gerade Verbindung 312"/>
          <p:cNvCxnSpPr>
            <a:cxnSpLocks noChangeShapeType="1"/>
            <a:stCxn id="32790" idx="2"/>
          </p:cNvCxnSpPr>
          <p:nvPr/>
        </p:nvCxnSpPr>
        <p:spPr bwMode="auto">
          <a:xfrm rot="10800000">
            <a:off x="698500" y="5386388"/>
            <a:ext cx="2557463" cy="3175"/>
          </a:xfrm>
          <a:prstGeom prst="bentConnector3">
            <a:avLst>
              <a:gd name="adj1" fmla="val 50000"/>
            </a:avLst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  <p:sp>
        <p:nvSpPr>
          <p:cNvPr id="32792" name="Text Box 151"/>
          <p:cNvSpPr txBox="1">
            <a:spLocks noChangeArrowheads="1"/>
          </p:cNvSpPr>
          <p:nvPr/>
        </p:nvSpPr>
        <p:spPr bwMode="auto">
          <a:xfrm>
            <a:off x="3489325" y="2024063"/>
            <a:ext cx="3013075" cy="10156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17550" eaLnBrk="0" hangingPunct="0">
              <a:tabLst>
                <a:tab pos="361950" algn="l"/>
              </a:tabLst>
            </a:pPr>
            <a:r>
              <a:rPr lang="de-DE" sz="1200" b="1" dirty="0">
                <a:solidFill>
                  <a:srgbClr val="003E90"/>
                </a:solidFill>
                <a:latin typeface="Calibri" pitchFamily="34" charset="0"/>
              </a:rPr>
              <a:t>	Europe:</a:t>
            </a:r>
            <a:r>
              <a:rPr lang="de-DE" sz="1200" dirty="0">
                <a:solidFill>
                  <a:schemeClr val="bg2"/>
                </a:solidFill>
                <a:latin typeface="Calibri" pitchFamily="34" charset="0"/>
              </a:rPr>
              <a:t>	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en-US" sz="1200" dirty="0">
                <a:solidFill>
                  <a:schemeClr val="bg2"/>
                </a:solidFill>
                <a:latin typeface="Calibri" pitchFamily="34" charset="0"/>
              </a:rPr>
              <a:t>RE-Projects in operation, 1,589.64 MW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en-US" sz="1200" dirty="0">
                <a:solidFill>
                  <a:schemeClr val="bg2"/>
                </a:solidFill>
                <a:latin typeface="Calibri" pitchFamily="34" charset="0"/>
              </a:rPr>
              <a:t>RE-Projects under construction, 152,5 MW</a:t>
            </a:r>
          </a:p>
          <a:p>
            <a:pPr defTabSz="717550" eaLnBrk="0" hangingPunct="0">
              <a:tabLst>
                <a:tab pos="361950" algn="l"/>
              </a:tabLst>
            </a:pPr>
            <a:r>
              <a:rPr lang="en-US" sz="1200" dirty="0">
                <a:solidFill>
                  <a:schemeClr val="bg2"/>
                </a:solidFill>
                <a:latin typeface="Calibri" pitchFamily="34" charset="0"/>
              </a:rPr>
              <a:t>RE-Projects in planning stage, </a:t>
            </a:r>
            <a:r>
              <a:rPr lang="en-US" sz="1200" dirty="0" smtClean="0">
                <a:solidFill>
                  <a:schemeClr val="bg2"/>
                </a:solidFill>
                <a:latin typeface="Calibri" pitchFamily="34" charset="0"/>
              </a:rPr>
              <a:t> 6,100 </a:t>
            </a:r>
            <a:r>
              <a:rPr lang="en-US" sz="1200" dirty="0">
                <a:solidFill>
                  <a:schemeClr val="bg2"/>
                </a:solidFill>
                <a:latin typeface="Calibri" pitchFamily="34" charset="0"/>
              </a:rPr>
              <a:t>MW</a:t>
            </a:r>
          </a:p>
          <a:p>
            <a:pPr defTabSz="717550" eaLnBrk="0" hangingPunct="0">
              <a:tabLst>
                <a:tab pos="361950" algn="l"/>
              </a:tabLst>
            </a:pPr>
            <a:endParaRPr lang="de-DE" sz="1200" b="1" dirty="0">
              <a:solidFill>
                <a:schemeClr val="bg2"/>
              </a:solidFill>
              <a:latin typeface="Calibri" pitchFamily="34" charset="0"/>
            </a:endParaRPr>
          </a:p>
        </p:txBody>
      </p:sp>
      <p:pic>
        <p:nvPicPr>
          <p:cNvPr id="32793" name="Grafik 318" descr="200px-Flag_of_Europe_svg.png"/>
          <p:cNvPicPr>
            <a:picLocks noChangeAspect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595688" y="2106613"/>
            <a:ext cx="195262" cy="13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94" name="Oval 13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433888" y="3881438"/>
            <a:ext cx="46037" cy="46037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sp>
        <p:nvSpPr>
          <p:cNvPr id="32795" name="Oval 13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410325" y="5243513"/>
            <a:ext cx="46038" cy="44450"/>
          </a:xfrm>
          <a:prstGeom prst="ellipse">
            <a:avLst/>
          </a:prstGeom>
          <a:noFill/>
          <a:ln w="12700">
            <a:solidFill>
              <a:srgbClr val="003E9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/>
            <a:endParaRPr lang="de-DE">
              <a:solidFill>
                <a:srgbClr val="003E90"/>
              </a:solidFill>
              <a:latin typeface="Calibri" pitchFamily="34" charset="0"/>
            </a:endParaRPr>
          </a:p>
        </p:txBody>
      </p:sp>
      <p:cxnSp>
        <p:nvCxnSpPr>
          <p:cNvPr id="32796" name="Gerade Verbindung 332"/>
          <p:cNvCxnSpPr>
            <a:cxnSpLocks noChangeShapeType="1"/>
          </p:cNvCxnSpPr>
          <p:nvPr/>
        </p:nvCxnSpPr>
        <p:spPr bwMode="auto">
          <a:xfrm rot="10800000">
            <a:off x="6483350" y="5265738"/>
            <a:ext cx="1689100" cy="0"/>
          </a:xfrm>
          <a:prstGeom prst="line">
            <a:avLst/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  <p:cxnSp>
        <p:nvCxnSpPr>
          <p:cNvPr id="32797" name="Gerade Verbindung 196"/>
          <p:cNvCxnSpPr>
            <a:cxnSpLocks noChangeShapeType="1"/>
          </p:cNvCxnSpPr>
          <p:nvPr/>
        </p:nvCxnSpPr>
        <p:spPr bwMode="auto">
          <a:xfrm rot="16200000" flipH="1">
            <a:off x="3975101" y="3384550"/>
            <a:ext cx="971550" cy="3175"/>
          </a:xfrm>
          <a:prstGeom prst="bentConnector3">
            <a:avLst>
              <a:gd name="adj1" fmla="val 50000"/>
            </a:avLst>
          </a:prstGeom>
          <a:noFill/>
          <a:ln w="12700" algn="ctr">
            <a:solidFill>
              <a:srgbClr val="003E90"/>
            </a:solidFill>
            <a:prstDash val="sysDot"/>
            <a:round/>
            <a:headEnd/>
            <a:tailEnd/>
          </a:ln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ext Box 28"/>
          <p:cNvSpPr txBox="1">
            <a:spLocks noChangeArrowheads="1"/>
          </p:cNvSpPr>
          <p:nvPr/>
        </p:nvSpPr>
        <p:spPr bwMode="auto">
          <a:xfrm>
            <a:off x="827088" y="1714500"/>
            <a:ext cx="7561262" cy="2219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</a:pPr>
            <a:r>
              <a:rPr lang="en-GB" sz="1400" b="1" dirty="0">
                <a:cs typeface="Times New Roman" pitchFamily="18" charset="0"/>
              </a:rPr>
              <a:t>Strategy</a:t>
            </a:r>
            <a:r>
              <a:rPr lang="en-US" sz="1400" b="1" dirty="0">
                <a:cs typeface="ＭＳ Ｐゴシック"/>
              </a:rPr>
              <a:t> </a:t>
            </a:r>
            <a:endParaRPr lang="en-GB" sz="1400" b="1" dirty="0">
              <a:cs typeface="Times New Roman" pitchFamily="18" charset="0"/>
            </a:endParaRP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 typeface="Wingdings" pitchFamily="2" charset="2"/>
              <a:buChar char="§"/>
            </a:pPr>
            <a:r>
              <a:rPr lang="en-US" sz="1400" b="1" dirty="0">
                <a:cs typeface="ＭＳ Ｐゴシック"/>
              </a:rPr>
              <a:t>Development of a diversified European offshore wind farm portfolio </a:t>
            </a: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 typeface="Wingdings" pitchFamily="2" charset="2"/>
              <a:buChar char="§"/>
            </a:pPr>
            <a:r>
              <a:rPr lang="en-US" sz="1400" b="1" dirty="0">
                <a:cs typeface="ＭＳ Ｐゴシック"/>
              </a:rPr>
              <a:t>Expertise in project and construction management – also offered to third parties</a:t>
            </a: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 typeface="Wingdings" pitchFamily="2" charset="2"/>
              <a:buChar char="§"/>
            </a:pPr>
            <a:r>
              <a:rPr lang="en-US" sz="1400" b="1" dirty="0" smtClean="0">
                <a:cs typeface="ＭＳ Ｐゴシック"/>
              </a:rPr>
              <a:t>Opportunity </a:t>
            </a:r>
            <a:r>
              <a:rPr lang="en-US" sz="1400" b="1" dirty="0">
                <a:cs typeface="ＭＳ Ｐゴシック"/>
              </a:rPr>
              <a:t>to ownership and operation at later stage</a:t>
            </a:r>
            <a:endParaRPr lang="en-GB" sz="1400" b="1" dirty="0">
              <a:cs typeface="ＭＳ Ｐゴシック"/>
            </a:endParaRP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Tx/>
              <a:buChar char="•"/>
            </a:pPr>
            <a:endParaRPr lang="en-GB" sz="500" dirty="0">
              <a:cs typeface="ＭＳ Ｐゴシック"/>
            </a:endParaRP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Tx/>
              <a:buChar char="•"/>
            </a:pPr>
            <a:endParaRPr lang="en-GB" sz="500" dirty="0">
              <a:cs typeface="ＭＳ Ｐゴシック"/>
            </a:endParaRP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Tx/>
              <a:buChar char="•"/>
            </a:pPr>
            <a:endParaRPr lang="en-GB" sz="500" dirty="0">
              <a:cs typeface="ＭＳ Ｐゴシック"/>
            </a:endParaRP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Tx/>
              <a:buChar char="•"/>
            </a:pPr>
            <a:endParaRPr lang="en-GB" sz="500" dirty="0">
              <a:cs typeface="ＭＳ Ｐゴシック"/>
            </a:endParaRP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Tx/>
              <a:buChar char="•"/>
            </a:pPr>
            <a:endParaRPr lang="en-GB" sz="500" dirty="0">
              <a:cs typeface="ＭＳ Ｐゴシック"/>
            </a:endParaRP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Tx/>
              <a:buChar char="•"/>
            </a:pPr>
            <a:endParaRPr lang="en-GB" sz="500" dirty="0">
              <a:cs typeface="ＭＳ Ｐゴシック"/>
            </a:endParaRP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Tx/>
              <a:buChar char="•"/>
            </a:pPr>
            <a:endParaRPr lang="en-GB" sz="500" dirty="0">
              <a:cs typeface="ＭＳ Ｐゴシック"/>
            </a:endParaRP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Tx/>
              <a:buChar char="•"/>
            </a:pPr>
            <a:endParaRPr lang="en-GB" sz="500" dirty="0">
              <a:cs typeface="ＭＳ Ｐゴシック"/>
            </a:endParaRP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Tx/>
              <a:buChar char="•"/>
            </a:pPr>
            <a:endParaRPr lang="en-GB" sz="500" dirty="0">
              <a:cs typeface="ＭＳ Ｐゴシック"/>
            </a:endParaRP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</a:pPr>
            <a:r>
              <a:rPr lang="en-GB" sz="1400" b="1" dirty="0">
                <a:cs typeface="ＭＳ Ｐゴシック"/>
              </a:rPr>
              <a:t>Achievements</a:t>
            </a: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 typeface="Wingdings" pitchFamily="2" charset="2"/>
              <a:buChar char="§"/>
            </a:pPr>
            <a:r>
              <a:rPr lang="en-GB" sz="1400" dirty="0">
                <a:cs typeface="ＭＳ Ｐゴシック"/>
              </a:rPr>
              <a:t>2.0 GW projects consented and sold</a:t>
            </a: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 typeface="Wingdings" pitchFamily="2" charset="2"/>
              <a:buChar char="§"/>
            </a:pPr>
            <a:r>
              <a:rPr lang="en-GB" sz="1400" dirty="0">
                <a:cs typeface="Times New Roman" pitchFamily="18" charset="0"/>
              </a:rPr>
              <a:t>9 - 10 GW projects under development</a:t>
            </a: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Tx/>
              <a:buChar char="•"/>
            </a:pPr>
            <a:endParaRPr lang="en-GB" sz="500" dirty="0">
              <a:cs typeface="Times New Roman" pitchFamily="18" charset="0"/>
            </a:endParaRP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</a:pPr>
            <a:r>
              <a:rPr lang="en-GB" sz="1400" b="1" dirty="0">
                <a:cs typeface="Times New Roman" pitchFamily="18" charset="0"/>
              </a:rPr>
              <a:t>Resources</a:t>
            </a: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 typeface="Wingdings" pitchFamily="2" charset="2"/>
              <a:buChar char="§"/>
            </a:pPr>
            <a:r>
              <a:rPr lang="en-GB" sz="1400" dirty="0">
                <a:cs typeface="Times New Roman" pitchFamily="18" charset="0"/>
              </a:rPr>
              <a:t>European presence (project developments in 8 countries)</a:t>
            </a: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 typeface="Wingdings" pitchFamily="2" charset="2"/>
              <a:buChar char="§"/>
            </a:pPr>
            <a:r>
              <a:rPr lang="en-GB" sz="1400" dirty="0" smtClean="0">
                <a:cs typeface="Times New Roman" pitchFamily="18" charset="0"/>
              </a:rPr>
              <a:t>60 employees, combining the record of developing 18 offshore-</a:t>
            </a:r>
            <a:r>
              <a:rPr lang="en-GB" sz="1400" dirty="0" err="1" smtClean="0">
                <a:cs typeface="Times New Roman" pitchFamily="18" charset="0"/>
              </a:rPr>
              <a:t>windfarms</a:t>
            </a:r>
            <a:r>
              <a:rPr lang="en-GB" sz="1400" dirty="0" smtClean="0">
                <a:cs typeface="Times New Roman" pitchFamily="18" charset="0"/>
              </a:rPr>
              <a:t> in Europe with the construction experience of five offshore wind projects</a:t>
            </a:r>
            <a:endParaRPr lang="en-GB" sz="1400" dirty="0">
              <a:cs typeface="Times New Roman" pitchFamily="18" charset="0"/>
            </a:endParaRP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Tx/>
              <a:buChar char="•"/>
            </a:pPr>
            <a:endParaRPr lang="en-GB" sz="1400" dirty="0">
              <a:cs typeface="Times New Roman" pitchFamily="18" charset="0"/>
            </a:endParaRPr>
          </a:p>
        </p:txBody>
      </p:sp>
      <p:sp>
        <p:nvSpPr>
          <p:cNvPr id="52232" name="Text Box 8"/>
          <p:cNvSpPr txBox="1">
            <a:spLocks noChangeArrowheads="1"/>
          </p:cNvSpPr>
          <p:nvPr/>
        </p:nvSpPr>
        <p:spPr bwMode="auto">
          <a:xfrm>
            <a:off x="539750" y="981075"/>
            <a:ext cx="6335713" cy="366713"/>
          </a:xfrm>
          <a:prstGeom prst="rect">
            <a:avLst/>
          </a:prstGeom>
          <a:gradFill rotWithShape="1">
            <a:gsLst>
              <a:gs pos="0">
                <a:srgbClr val="6281C0"/>
              </a:gs>
              <a:gs pos="100000">
                <a:srgbClr val="9EB1DA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800" b="1">
                <a:solidFill>
                  <a:schemeClr val="bg1"/>
                </a:solidFill>
                <a:cs typeface="ＭＳ Ｐゴシック"/>
              </a:rPr>
              <a:t>wpd Offshore Wind Business Highlights </a:t>
            </a:r>
            <a:endParaRPr lang="de-DE" sz="1800" b="1">
              <a:solidFill>
                <a:schemeClr val="bg1"/>
              </a:solidFill>
              <a:cs typeface="ＭＳ Ｐゴシック"/>
            </a:endParaRPr>
          </a:p>
        </p:txBody>
      </p:sp>
      <p:sp>
        <p:nvSpPr>
          <p:cNvPr id="11" name="Rectangle 11"/>
          <p:cNvSpPr>
            <a:spLocks noChangeArrowheads="1"/>
          </p:cNvSpPr>
          <p:nvPr/>
        </p:nvSpPr>
        <p:spPr bwMode="auto">
          <a:xfrm>
            <a:off x="1347559" y="3658622"/>
            <a:ext cx="937795" cy="468897"/>
          </a:xfrm>
          <a:prstGeom prst="rect">
            <a:avLst/>
          </a:prstGeom>
          <a:solidFill>
            <a:srgbClr val="003399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00" b="1" dirty="0">
                <a:solidFill>
                  <a:schemeClr val="bg1"/>
                </a:solidFill>
              </a:rPr>
              <a:t>Project</a:t>
            </a:r>
          </a:p>
          <a:p>
            <a:pPr algn="ctr" eaLnBrk="0" hangingPunct="0">
              <a:defRPr/>
            </a:pPr>
            <a:r>
              <a:rPr lang="de-DE" sz="1000" b="1" dirty="0">
                <a:solidFill>
                  <a:schemeClr val="bg1"/>
                </a:solidFill>
              </a:rPr>
              <a:t>Development</a:t>
            </a:r>
          </a:p>
        </p:txBody>
      </p:sp>
      <p:sp>
        <p:nvSpPr>
          <p:cNvPr id="12" name="Rectangle 12"/>
          <p:cNvSpPr>
            <a:spLocks noChangeArrowheads="1"/>
          </p:cNvSpPr>
          <p:nvPr/>
        </p:nvSpPr>
        <p:spPr bwMode="auto">
          <a:xfrm>
            <a:off x="2378308" y="3658622"/>
            <a:ext cx="937795" cy="468897"/>
          </a:xfrm>
          <a:prstGeom prst="rect">
            <a:avLst/>
          </a:prstGeom>
          <a:solidFill>
            <a:srgbClr val="003399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000" b="1">
                <a:solidFill>
                  <a:schemeClr val="bg1"/>
                </a:solidFill>
              </a:rPr>
              <a:t>IRPP</a:t>
            </a:r>
            <a:endParaRPr lang="de-DE" sz="1000" b="1">
              <a:solidFill>
                <a:schemeClr val="bg1"/>
              </a:solidFill>
            </a:endParaRPr>
          </a:p>
        </p:txBody>
      </p:sp>
      <p:sp>
        <p:nvSpPr>
          <p:cNvPr id="13" name="Rectangle 13"/>
          <p:cNvSpPr>
            <a:spLocks noChangeArrowheads="1"/>
          </p:cNvSpPr>
          <p:nvPr/>
        </p:nvSpPr>
        <p:spPr bwMode="auto">
          <a:xfrm>
            <a:off x="3411122" y="3658622"/>
            <a:ext cx="937795" cy="468897"/>
          </a:xfrm>
          <a:prstGeom prst="rect">
            <a:avLst/>
          </a:prstGeom>
          <a:solidFill>
            <a:srgbClr val="003399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000" b="1" dirty="0">
                <a:solidFill>
                  <a:schemeClr val="bg1"/>
                </a:solidFill>
              </a:rPr>
              <a:t>Service</a:t>
            </a:r>
            <a:endParaRPr lang="de-DE" sz="1000" b="1" dirty="0">
              <a:solidFill>
                <a:schemeClr val="bg1"/>
              </a:solidFill>
            </a:endParaRPr>
          </a:p>
        </p:txBody>
      </p:sp>
      <p:cxnSp>
        <p:nvCxnSpPr>
          <p:cNvPr id="14" name="AutoShape 17"/>
          <p:cNvCxnSpPr>
            <a:cxnSpLocks noChangeShapeType="1"/>
            <a:endCxn id="11" idx="0"/>
          </p:cNvCxnSpPr>
          <p:nvPr/>
        </p:nvCxnSpPr>
        <p:spPr bwMode="auto">
          <a:xfrm rot="5400000">
            <a:off x="2730497" y="2511166"/>
            <a:ext cx="233416" cy="2061497"/>
          </a:xfrm>
          <a:prstGeom prst="bentConnector3">
            <a:avLst>
              <a:gd name="adj1" fmla="val 49556"/>
            </a:avLst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15" name="AutoShape 18"/>
          <p:cNvCxnSpPr>
            <a:cxnSpLocks noChangeShapeType="1"/>
            <a:stCxn id="12" idx="0"/>
          </p:cNvCxnSpPr>
          <p:nvPr/>
        </p:nvCxnSpPr>
        <p:spPr bwMode="auto">
          <a:xfrm rot="16200000">
            <a:off x="3245872" y="3026540"/>
            <a:ext cx="233416" cy="1030749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16" name="AutoShape 22"/>
          <p:cNvCxnSpPr>
            <a:cxnSpLocks noChangeShapeType="1"/>
            <a:endCxn id="13" idx="0"/>
          </p:cNvCxnSpPr>
          <p:nvPr/>
        </p:nvCxnSpPr>
        <p:spPr bwMode="auto">
          <a:xfrm rot="16200000" flipH="1">
            <a:off x="3762279" y="3540881"/>
            <a:ext cx="233416" cy="2066"/>
          </a:xfrm>
          <a:prstGeom prst="bentConnector3">
            <a:avLst>
              <a:gd name="adj1" fmla="val 49556"/>
            </a:avLst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</p:cxnSp>
      <p:sp>
        <p:nvSpPr>
          <p:cNvPr id="17" name="Rectangle 11"/>
          <p:cNvSpPr>
            <a:spLocks noChangeArrowheads="1"/>
          </p:cNvSpPr>
          <p:nvPr/>
        </p:nvSpPr>
        <p:spPr bwMode="auto">
          <a:xfrm>
            <a:off x="3428992" y="2928934"/>
            <a:ext cx="928694" cy="506411"/>
          </a:xfrm>
          <a:prstGeom prst="rect">
            <a:avLst/>
          </a:prstGeom>
          <a:solidFill>
            <a:srgbClr val="7F7F7F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pd offshore</a:t>
            </a:r>
            <a:endParaRPr lang="de-DE" sz="10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Datumsplatzhalter 3"/>
          <p:cNvSpPr txBox="1">
            <a:spLocks/>
          </p:cNvSpPr>
          <p:nvPr/>
        </p:nvSpPr>
        <p:spPr bwMode="auto">
          <a:xfrm>
            <a:off x="685800" y="628652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8677A4-4130-46FA-81F7-E25A519FD343}" type="datetime1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ＭＳ Ｐゴシック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.10.2009</a:t>
            </a:fld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Rectangle 17"/>
          <p:cNvSpPr>
            <a:spLocks noChangeArrowheads="1"/>
          </p:cNvSpPr>
          <p:nvPr/>
        </p:nvSpPr>
        <p:spPr bwMode="auto">
          <a:xfrm>
            <a:off x="684213" y="1992313"/>
            <a:ext cx="4816475" cy="150812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1"/>
              </a:gs>
            </a:gsLst>
            <a:lin ang="2700000" scaled="1"/>
          </a:gradFill>
          <a:ln w="6350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lIns="72000" tIns="0" rIns="0" bIns="0" anchor="ctr"/>
          <a:lstStyle/>
          <a:p>
            <a:pPr marL="365125" indent="-182563" eaLnBrk="0" hangingPunct="0">
              <a:lnSpc>
                <a:spcPct val="120000"/>
              </a:lnSpc>
              <a:buClr>
                <a:srgbClr val="041A7D"/>
              </a:buClr>
              <a:buFont typeface="Wingdings" pitchFamily="2" charset="2"/>
              <a:buChar char="§"/>
              <a:defRPr/>
            </a:pPr>
            <a:r>
              <a:rPr lang="en-GB" sz="1400">
                <a:cs typeface="Times New Roman" pitchFamily="18" charset="0"/>
              </a:rPr>
              <a:t>Site evaluation</a:t>
            </a:r>
          </a:p>
          <a:p>
            <a:pPr marL="365125" indent="-182563" eaLnBrk="0" hangingPunct="0">
              <a:lnSpc>
                <a:spcPct val="120000"/>
              </a:lnSpc>
              <a:buClr>
                <a:srgbClr val="041A7D"/>
              </a:buClr>
              <a:buFont typeface="Wingdings" pitchFamily="2" charset="2"/>
              <a:buChar char="§"/>
              <a:defRPr/>
            </a:pPr>
            <a:r>
              <a:rPr lang="en-GB" sz="1400">
                <a:cs typeface="Times New Roman" pitchFamily="18" charset="0"/>
              </a:rPr>
              <a:t>Micrositing</a:t>
            </a:r>
          </a:p>
          <a:p>
            <a:pPr marL="365125" indent="-182563" eaLnBrk="0" hangingPunct="0">
              <a:lnSpc>
                <a:spcPct val="120000"/>
              </a:lnSpc>
              <a:buClr>
                <a:srgbClr val="041A7D"/>
              </a:buClr>
              <a:buFont typeface="Wingdings" pitchFamily="2" charset="2"/>
              <a:buChar char="§"/>
              <a:defRPr/>
            </a:pPr>
            <a:r>
              <a:rPr lang="en-GB" sz="1400">
                <a:cs typeface="Times New Roman" pitchFamily="18" charset="0"/>
              </a:rPr>
              <a:t>Permission process</a:t>
            </a:r>
          </a:p>
          <a:p>
            <a:pPr marL="365125" indent="-182563" eaLnBrk="0" hangingPunct="0">
              <a:lnSpc>
                <a:spcPct val="120000"/>
              </a:lnSpc>
              <a:buClr>
                <a:srgbClr val="041A7D"/>
              </a:buClr>
              <a:buFont typeface="Wingdings" pitchFamily="2" charset="2"/>
              <a:buChar char="§"/>
              <a:defRPr/>
            </a:pPr>
            <a:r>
              <a:rPr lang="en-GB" sz="1400">
                <a:cs typeface="Times New Roman" pitchFamily="18" charset="0"/>
              </a:rPr>
              <a:t>Environmental and technical studies</a:t>
            </a:r>
          </a:p>
          <a:p>
            <a:pPr marL="365125" indent="-182563" eaLnBrk="0" hangingPunct="0">
              <a:lnSpc>
                <a:spcPct val="120000"/>
              </a:lnSpc>
              <a:buClr>
                <a:srgbClr val="041A7D"/>
              </a:buClr>
              <a:buFont typeface="Wingdings" pitchFamily="2" charset="2"/>
              <a:buChar char="§"/>
              <a:defRPr/>
            </a:pPr>
            <a:r>
              <a:rPr lang="en-GB" sz="1400">
                <a:cs typeface="Times New Roman" pitchFamily="18" charset="0"/>
              </a:rPr>
              <a:t>Public relations</a:t>
            </a:r>
          </a:p>
        </p:txBody>
      </p:sp>
      <p:sp>
        <p:nvSpPr>
          <p:cNvPr id="21506" name="Rectangle 17"/>
          <p:cNvSpPr>
            <a:spLocks noChangeArrowheads="1"/>
          </p:cNvSpPr>
          <p:nvPr/>
        </p:nvSpPr>
        <p:spPr bwMode="auto">
          <a:xfrm>
            <a:off x="785813" y="3860800"/>
            <a:ext cx="4929187" cy="20716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 typeface="Wingdings" pitchFamily="2" charset="2"/>
              <a:buChar char="§"/>
            </a:pPr>
            <a:r>
              <a:rPr lang="en-GB" sz="1400">
                <a:cs typeface="Times New Roman" pitchFamily="18" charset="0"/>
              </a:rPr>
              <a:t>Ongoing development of 9 -10 GW in ongoing permission procedures in Europe </a:t>
            </a:r>
          </a:p>
          <a:p>
            <a:pPr marL="180975" indent="-180975" eaLnBrk="0" hangingPunct="0">
              <a:spcAft>
                <a:spcPts val="600"/>
              </a:spcAft>
              <a:buClr>
                <a:srgbClr val="041A7D"/>
              </a:buClr>
              <a:buFont typeface="Wingdings" pitchFamily="2" charset="2"/>
              <a:buChar char="§"/>
            </a:pPr>
            <a:r>
              <a:rPr lang="en-GB" sz="1400">
                <a:cs typeface="Times New Roman" pitchFamily="18" charset="0"/>
              </a:rPr>
              <a:t>Background: Successful completion of the development of 5 wind farm projects</a:t>
            </a:r>
            <a:br>
              <a:rPr lang="en-GB" sz="1400">
                <a:cs typeface="Times New Roman" pitchFamily="18" charset="0"/>
              </a:rPr>
            </a:br>
            <a:r>
              <a:rPr lang="en-GB" sz="1400">
                <a:cs typeface="Times New Roman" pitchFamily="18" charset="0"/>
              </a:rPr>
              <a:t>(all permissions granted):</a:t>
            </a:r>
          </a:p>
          <a:p>
            <a:pPr marL="742950" lvl="1" indent="-285750" eaLnBrk="0" hangingPunct="0">
              <a:spcAft>
                <a:spcPts val="600"/>
              </a:spcAft>
              <a:buClr>
                <a:srgbClr val="041A7D"/>
              </a:buClr>
              <a:buFont typeface="Wingdings" pitchFamily="2" charset="2"/>
              <a:buChar char="§"/>
            </a:pPr>
            <a:r>
              <a:rPr lang="en-GB" sz="1400">
                <a:cs typeface="Times New Roman" pitchFamily="18" charset="0"/>
              </a:rPr>
              <a:t>Swedish </a:t>
            </a:r>
            <a:r>
              <a:rPr lang="en-GB" sz="1400" b="1">
                <a:cs typeface="Times New Roman" pitchFamily="18" charset="0"/>
              </a:rPr>
              <a:t>Kriegers Flak II</a:t>
            </a:r>
          </a:p>
          <a:p>
            <a:pPr marL="742950" lvl="1" indent="-285750" eaLnBrk="0" hangingPunct="0">
              <a:spcAft>
                <a:spcPts val="600"/>
              </a:spcAft>
              <a:buClr>
                <a:srgbClr val="041A7D"/>
              </a:buClr>
              <a:buFont typeface="Wingdings" pitchFamily="2" charset="2"/>
              <a:buChar char="§"/>
            </a:pPr>
            <a:r>
              <a:rPr lang="en-GB" sz="1400">
                <a:cs typeface="Times New Roman" pitchFamily="18" charset="0"/>
              </a:rPr>
              <a:t>2 German Baltic Sea projects </a:t>
            </a:r>
            <a:br>
              <a:rPr lang="en-GB" sz="1400">
                <a:cs typeface="Times New Roman" pitchFamily="18" charset="0"/>
              </a:rPr>
            </a:br>
            <a:r>
              <a:rPr lang="en-GB" sz="1400" b="1">
                <a:cs typeface="Times New Roman" pitchFamily="18" charset="0"/>
              </a:rPr>
              <a:t>(Baltic I, Kriegers Flak I)</a:t>
            </a:r>
          </a:p>
          <a:p>
            <a:pPr marL="742950" lvl="1" indent="-285750" eaLnBrk="0" hangingPunct="0">
              <a:spcAft>
                <a:spcPts val="600"/>
              </a:spcAft>
              <a:buClr>
                <a:srgbClr val="041A7D"/>
              </a:buClr>
              <a:buFont typeface="Wingdings" pitchFamily="2" charset="2"/>
              <a:buChar char="§"/>
            </a:pPr>
            <a:r>
              <a:rPr lang="en-GB" sz="1400">
                <a:cs typeface="Times New Roman" pitchFamily="18" charset="0"/>
              </a:rPr>
              <a:t>2 German North Sea projects </a:t>
            </a:r>
            <a:br>
              <a:rPr lang="en-GB" sz="1400">
                <a:cs typeface="Times New Roman" pitchFamily="18" charset="0"/>
              </a:rPr>
            </a:br>
            <a:r>
              <a:rPr lang="en-GB" sz="1400" b="1">
                <a:cs typeface="Times New Roman" pitchFamily="18" charset="0"/>
              </a:rPr>
              <a:t>(Hochseewindpark Nordsee, He Dreiht)</a:t>
            </a:r>
          </a:p>
        </p:txBody>
      </p:sp>
      <p:pic>
        <p:nvPicPr>
          <p:cNvPr id="21508" name="Picture 5" descr="bird watching suurheikka.bmp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29313" y="4286250"/>
            <a:ext cx="2714625" cy="181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09" name="TextBox 7"/>
          <p:cNvSpPr txBox="1">
            <a:spLocks noChangeArrowheads="1"/>
          </p:cNvSpPr>
          <p:nvPr/>
        </p:nvSpPr>
        <p:spPr bwMode="auto">
          <a:xfrm>
            <a:off x="5929313" y="6232525"/>
            <a:ext cx="2751137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1100" i="1">
                <a:cs typeface="ＭＳ Ｐゴシック"/>
              </a:rPr>
              <a:t>Bird watching at Suurheikka (FI), September 2008</a:t>
            </a:r>
            <a:endParaRPr lang="sv-SE" sz="1100" i="1">
              <a:cs typeface="ＭＳ Ｐゴシック"/>
            </a:endParaRPr>
          </a:p>
        </p:txBody>
      </p:sp>
      <p:pic>
        <p:nvPicPr>
          <p:cNvPr id="21510" name="Picture 1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29313" y="1857375"/>
            <a:ext cx="2689225" cy="1785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11" name="TextBox 19"/>
          <p:cNvSpPr txBox="1">
            <a:spLocks noChangeArrowheads="1"/>
          </p:cNvSpPr>
          <p:nvPr/>
        </p:nvSpPr>
        <p:spPr bwMode="auto">
          <a:xfrm>
            <a:off x="5929313" y="3786188"/>
            <a:ext cx="2786062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1000" i="1">
                <a:cs typeface="ＭＳ Ｐゴシック"/>
              </a:rPr>
              <a:t>Dropping of C-PODs counting porpoises at North-Sea project Aiolos (DE), July 2008</a:t>
            </a:r>
            <a:endParaRPr lang="sv-SE" sz="1000" i="1">
              <a:cs typeface="ＭＳ Ｐゴシック"/>
            </a:endParaRPr>
          </a:p>
        </p:txBody>
      </p:sp>
      <p:sp>
        <p:nvSpPr>
          <p:cNvPr id="20" name="Rectangle 11"/>
          <p:cNvSpPr>
            <a:spLocks noChangeArrowheads="1"/>
          </p:cNvSpPr>
          <p:nvPr/>
        </p:nvSpPr>
        <p:spPr bwMode="auto">
          <a:xfrm>
            <a:off x="561741" y="1158292"/>
            <a:ext cx="937795" cy="468897"/>
          </a:xfrm>
          <a:prstGeom prst="rect">
            <a:avLst/>
          </a:prstGeom>
          <a:solidFill>
            <a:srgbClr val="003399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00" b="1" dirty="0">
                <a:solidFill>
                  <a:schemeClr val="bg1"/>
                </a:solidFill>
              </a:rPr>
              <a:t>Project</a:t>
            </a:r>
          </a:p>
          <a:p>
            <a:pPr algn="ctr" eaLnBrk="0" hangingPunct="0">
              <a:defRPr/>
            </a:pPr>
            <a:r>
              <a:rPr lang="de-DE" sz="1000" b="1" dirty="0">
                <a:solidFill>
                  <a:schemeClr val="bg1"/>
                </a:solidFill>
              </a:rPr>
              <a:t>Development</a:t>
            </a:r>
          </a:p>
        </p:txBody>
      </p:sp>
      <p:sp>
        <p:nvSpPr>
          <p:cNvPr id="21" name="Rectangle 12"/>
          <p:cNvSpPr>
            <a:spLocks noChangeArrowheads="1"/>
          </p:cNvSpPr>
          <p:nvPr/>
        </p:nvSpPr>
        <p:spPr bwMode="auto">
          <a:xfrm>
            <a:off x="1592490" y="1158292"/>
            <a:ext cx="937795" cy="468897"/>
          </a:xfrm>
          <a:prstGeom prst="rect">
            <a:avLst/>
          </a:prstGeom>
          <a:solidFill>
            <a:schemeClr val="accent3">
              <a:lumMod val="50000"/>
              <a:alpha val="50000"/>
            </a:scheme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000" b="1">
                <a:solidFill>
                  <a:schemeClr val="bg1"/>
                </a:solidFill>
              </a:rPr>
              <a:t>IRPP</a:t>
            </a:r>
            <a:endParaRPr lang="de-DE" sz="1000" b="1">
              <a:solidFill>
                <a:schemeClr val="bg1"/>
              </a:solidFill>
            </a:endParaRPr>
          </a:p>
        </p:txBody>
      </p:sp>
      <p:sp>
        <p:nvSpPr>
          <p:cNvPr id="22" name="Rectangle 13"/>
          <p:cNvSpPr>
            <a:spLocks noChangeArrowheads="1"/>
          </p:cNvSpPr>
          <p:nvPr/>
        </p:nvSpPr>
        <p:spPr bwMode="auto">
          <a:xfrm>
            <a:off x="2625304" y="1158292"/>
            <a:ext cx="937795" cy="468897"/>
          </a:xfrm>
          <a:prstGeom prst="rect">
            <a:avLst/>
          </a:prstGeom>
          <a:solidFill>
            <a:srgbClr val="7F7F7F">
              <a:alpha val="5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000" b="1" dirty="0">
                <a:solidFill>
                  <a:schemeClr val="bg1"/>
                </a:solidFill>
              </a:rPr>
              <a:t>Service</a:t>
            </a:r>
            <a:endParaRPr lang="de-DE" sz="1000" b="1" dirty="0">
              <a:solidFill>
                <a:schemeClr val="bg1"/>
              </a:solidFill>
            </a:endParaRPr>
          </a:p>
        </p:txBody>
      </p:sp>
      <p:cxnSp>
        <p:nvCxnSpPr>
          <p:cNvPr id="23" name="AutoShape 17"/>
          <p:cNvCxnSpPr>
            <a:cxnSpLocks noChangeShapeType="1"/>
            <a:endCxn id="20" idx="0"/>
          </p:cNvCxnSpPr>
          <p:nvPr/>
        </p:nvCxnSpPr>
        <p:spPr bwMode="auto">
          <a:xfrm rot="5400000">
            <a:off x="1944679" y="10836"/>
            <a:ext cx="233416" cy="2061497"/>
          </a:xfrm>
          <a:prstGeom prst="bentConnector3">
            <a:avLst>
              <a:gd name="adj1" fmla="val 49556"/>
            </a:avLst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24" name="AutoShape 18"/>
          <p:cNvCxnSpPr>
            <a:cxnSpLocks noChangeShapeType="1"/>
            <a:stCxn id="21" idx="0"/>
          </p:cNvCxnSpPr>
          <p:nvPr/>
        </p:nvCxnSpPr>
        <p:spPr bwMode="auto">
          <a:xfrm rot="16200000">
            <a:off x="2460054" y="526210"/>
            <a:ext cx="233416" cy="1030749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25" name="AutoShape 22"/>
          <p:cNvCxnSpPr>
            <a:cxnSpLocks noChangeShapeType="1"/>
            <a:endCxn id="22" idx="0"/>
          </p:cNvCxnSpPr>
          <p:nvPr/>
        </p:nvCxnSpPr>
        <p:spPr bwMode="auto">
          <a:xfrm rot="16200000" flipH="1">
            <a:off x="2976461" y="1040551"/>
            <a:ext cx="233416" cy="2066"/>
          </a:xfrm>
          <a:prstGeom prst="bentConnector3">
            <a:avLst>
              <a:gd name="adj1" fmla="val 49556"/>
            </a:avLst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</p:cxnSp>
      <p:sp>
        <p:nvSpPr>
          <p:cNvPr id="26" name="Rectangle 11"/>
          <p:cNvSpPr>
            <a:spLocks noChangeArrowheads="1"/>
          </p:cNvSpPr>
          <p:nvPr/>
        </p:nvSpPr>
        <p:spPr bwMode="auto">
          <a:xfrm>
            <a:off x="2643174" y="428604"/>
            <a:ext cx="928694" cy="506411"/>
          </a:xfrm>
          <a:prstGeom prst="rect">
            <a:avLst/>
          </a:prstGeom>
          <a:solidFill>
            <a:srgbClr val="7F7F7F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pd offshore</a:t>
            </a:r>
            <a:endParaRPr lang="de-DE" sz="10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Datumsplatzhalter 3"/>
          <p:cNvSpPr txBox="1">
            <a:spLocks/>
          </p:cNvSpPr>
          <p:nvPr/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8677A4-4130-46FA-81F7-E25A519FD343}" type="datetime1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ＭＳ Ｐゴシック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.10.2009</a:t>
            </a:fld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513263" y="6021388"/>
            <a:ext cx="2895600" cy="457200"/>
          </a:xfrm>
        </p:spPr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52232" name="Text Box 8"/>
          <p:cNvSpPr txBox="1">
            <a:spLocks noChangeArrowheads="1"/>
          </p:cNvSpPr>
          <p:nvPr/>
        </p:nvSpPr>
        <p:spPr bwMode="auto">
          <a:xfrm>
            <a:off x="539750" y="981075"/>
            <a:ext cx="6335713" cy="366713"/>
          </a:xfrm>
          <a:prstGeom prst="rect">
            <a:avLst/>
          </a:prstGeom>
          <a:gradFill rotWithShape="1">
            <a:gsLst>
              <a:gs pos="0">
                <a:srgbClr val="6281C0"/>
              </a:gs>
              <a:gs pos="100000">
                <a:srgbClr val="9EB1DA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800" b="1">
                <a:solidFill>
                  <a:schemeClr val="bg1"/>
                </a:solidFill>
                <a:cs typeface="ＭＳ Ｐゴシック"/>
              </a:rPr>
              <a:t>Project Pipeline</a:t>
            </a:r>
            <a:endParaRPr lang="de-DE" sz="1800" b="1">
              <a:solidFill>
                <a:schemeClr val="bg1"/>
              </a:solidFill>
              <a:cs typeface="ＭＳ Ｐゴシック"/>
            </a:endParaRPr>
          </a:p>
        </p:txBody>
      </p:sp>
      <p:sp>
        <p:nvSpPr>
          <p:cNvPr id="33795" name="AutoShape 5"/>
          <p:cNvSpPr>
            <a:spLocks noChangeAspect="1" noChangeArrowheads="1" noTextEdit="1"/>
          </p:cNvSpPr>
          <p:nvPr/>
        </p:nvSpPr>
        <p:spPr bwMode="auto">
          <a:xfrm>
            <a:off x="1743075" y="1852613"/>
            <a:ext cx="5616575" cy="44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33796" name="Group 9"/>
          <p:cNvGrpSpPr>
            <a:grpSpLocks/>
          </p:cNvGrpSpPr>
          <p:nvPr/>
        </p:nvGrpSpPr>
        <p:grpSpPr bwMode="auto">
          <a:xfrm>
            <a:off x="1747838" y="5641975"/>
            <a:ext cx="5567362" cy="649288"/>
            <a:chOff x="343" y="3554"/>
            <a:chExt cx="3507" cy="409"/>
          </a:xfrm>
        </p:grpSpPr>
        <p:sp>
          <p:nvSpPr>
            <p:cNvPr id="34472" name="Rectangle 7"/>
            <p:cNvSpPr>
              <a:spLocks noChangeArrowheads="1"/>
            </p:cNvSpPr>
            <p:nvPr/>
          </p:nvSpPr>
          <p:spPr bwMode="auto">
            <a:xfrm>
              <a:off x="343" y="3554"/>
              <a:ext cx="3507" cy="40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73" name="Rectangle 8"/>
            <p:cNvSpPr>
              <a:spLocks noChangeArrowheads="1"/>
            </p:cNvSpPr>
            <p:nvPr/>
          </p:nvSpPr>
          <p:spPr bwMode="auto">
            <a:xfrm>
              <a:off x="343" y="3554"/>
              <a:ext cx="3507" cy="409"/>
            </a:xfrm>
            <a:prstGeom prst="rect">
              <a:avLst/>
            </a:prstGeom>
            <a:noFill/>
            <a:ln w="9525" cap="rnd">
              <a:solidFill>
                <a:srgbClr val="98ADD4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797" name="Group 12"/>
          <p:cNvGrpSpPr>
            <a:grpSpLocks/>
          </p:cNvGrpSpPr>
          <p:nvPr/>
        </p:nvGrpSpPr>
        <p:grpSpPr bwMode="auto">
          <a:xfrm>
            <a:off x="3841750" y="4230688"/>
            <a:ext cx="577850" cy="577850"/>
            <a:chOff x="1662" y="2665"/>
            <a:chExt cx="364" cy="364"/>
          </a:xfrm>
        </p:grpSpPr>
        <p:sp>
          <p:nvSpPr>
            <p:cNvPr id="34470" name="Freeform 10"/>
            <p:cNvSpPr>
              <a:spLocks/>
            </p:cNvSpPr>
            <p:nvPr/>
          </p:nvSpPr>
          <p:spPr bwMode="auto">
            <a:xfrm>
              <a:off x="1662" y="2665"/>
              <a:ext cx="364" cy="364"/>
            </a:xfrm>
            <a:custGeom>
              <a:avLst/>
              <a:gdLst>
                <a:gd name="T0" fmla="*/ 183 w 364"/>
                <a:gd name="T1" fmla="*/ 18 h 364"/>
                <a:gd name="T2" fmla="*/ 169 w 364"/>
                <a:gd name="T3" fmla="*/ 51 h 364"/>
                <a:gd name="T4" fmla="*/ 149 w 364"/>
                <a:gd name="T5" fmla="*/ 71 h 364"/>
                <a:gd name="T6" fmla="*/ 130 w 364"/>
                <a:gd name="T7" fmla="*/ 80 h 364"/>
                <a:gd name="T8" fmla="*/ 100 w 364"/>
                <a:gd name="T9" fmla="*/ 69 h 364"/>
                <a:gd name="T10" fmla="*/ 83 w 364"/>
                <a:gd name="T11" fmla="*/ 73 h 364"/>
                <a:gd name="T12" fmla="*/ 93 w 364"/>
                <a:gd name="T13" fmla="*/ 105 h 364"/>
                <a:gd name="T14" fmla="*/ 84 w 364"/>
                <a:gd name="T15" fmla="*/ 107 h 364"/>
                <a:gd name="T16" fmla="*/ 49 w 364"/>
                <a:gd name="T17" fmla="*/ 101 h 364"/>
                <a:gd name="T18" fmla="*/ 26 w 364"/>
                <a:gd name="T19" fmla="*/ 107 h 364"/>
                <a:gd name="T20" fmla="*/ 0 w 364"/>
                <a:gd name="T21" fmla="*/ 122 h 364"/>
                <a:gd name="T22" fmla="*/ 5 w 364"/>
                <a:gd name="T23" fmla="*/ 129 h 364"/>
                <a:gd name="T24" fmla="*/ 5 w 364"/>
                <a:gd name="T25" fmla="*/ 137 h 364"/>
                <a:gd name="T26" fmla="*/ 22 w 364"/>
                <a:gd name="T27" fmla="*/ 142 h 364"/>
                <a:gd name="T28" fmla="*/ 54 w 364"/>
                <a:gd name="T29" fmla="*/ 153 h 364"/>
                <a:gd name="T30" fmla="*/ 67 w 364"/>
                <a:gd name="T31" fmla="*/ 157 h 364"/>
                <a:gd name="T32" fmla="*/ 78 w 364"/>
                <a:gd name="T33" fmla="*/ 171 h 364"/>
                <a:gd name="T34" fmla="*/ 75 w 364"/>
                <a:gd name="T35" fmla="*/ 183 h 364"/>
                <a:gd name="T36" fmla="*/ 99 w 364"/>
                <a:gd name="T37" fmla="*/ 206 h 364"/>
                <a:gd name="T38" fmla="*/ 104 w 364"/>
                <a:gd name="T39" fmla="*/ 229 h 364"/>
                <a:gd name="T40" fmla="*/ 115 w 364"/>
                <a:gd name="T41" fmla="*/ 247 h 364"/>
                <a:gd name="T42" fmla="*/ 103 w 364"/>
                <a:gd name="T43" fmla="*/ 274 h 364"/>
                <a:gd name="T44" fmla="*/ 103 w 364"/>
                <a:gd name="T45" fmla="*/ 285 h 364"/>
                <a:gd name="T46" fmla="*/ 85 w 364"/>
                <a:gd name="T47" fmla="*/ 327 h 364"/>
                <a:gd name="T48" fmla="*/ 116 w 364"/>
                <a:gd name="T49" fmla="*/ 346 h 364"/>
                <a:gd name="T50" fmla="*/ 162 w 364"/>
                <a:gd name="T51" fmla="*/ 348 h 364"/>
                <a:gd name="T52" fmla="*/ 189 w 364"/>
                <a:gd name="T53" fmla="*/ 363 h 364"/>
                <a:gd name="T54" fmla="*/ 226 w 364"/>
                <a:gd name="T55" fmla="*/ 362 h 364"/>
                <a:gd name="T56" fmla="*/ 237 w 364"/>
                <a:gd name="T57" fmla="*/ 328 h 364"/>
                <a:gd name="T58" fmla="*/ 255 w 364"/>
                <a:gd name="T59" fmla="*/ 320 h 364"/>
                <a:gd name="T60" fmla="*/ 275 w 364"/>
                <a:gd name="T61" fmla="*/ 326 h 364"/>
                <a:gd name="T62" fmla="*/ 289 w 364"/>
                <a:gd name="T63" fmla="*/ 327 h 364"/>
                <a:gd name="T64" fmla="*/ 311 w 364"/>
                <a:gd name="T65" fmla="*/ 336 h 364"/>
                <a:gd name="T66" fmla="*/ 336 w 364"/>
                <a:gd name="T67" fmla="*/ 316 h 364"/>
                <a:gd name="T68" fmla="*/ 350 w 364"/>
                <a:gd name="T69" fmla="*/ 304 h 364"/>
                <a:gd name="T70" fmla="*/ 333 w 364"/>
                <a:gd name="T71" fmla="*/ 287 h 364"/>
                <a:gd name="T72" fmla="*/ 327 w 364"/>
                <a:gd name="T73" fmla="*/ 264 h 364"/>
                <a:gd name="T74" fmla="*/ 336 w 364"/>
                <a:gd name="T75" fmla="*/ 248 h 364"/>
                <a:gd name="T76" fmla="*/ 334 w 364"/>
                <a:gd name="T77" fmla="*/ 224 h 364"/>
                <a:gd name="T78" fmla="*/ 326 w 364"/>
                <a:gd name="T79" fmla="*/ 202 h 364"/>
                <a:gd name="T80" fmla="*/ 306 w 364"/>
                <a:gd name="T81" fmla="*/ 200 h 364"/>
                <a:gd name="T82" fmla="*/ 317 w 364"/>
                <a:gd name="T83" fmla="*/ 185 h 364"/>
                <a:gd name="T84" fmla="*/ 333 w 364"/>
                <a:gd name="T85" fmla="*/ 156 h 364"/>
                <a:gd name="T86" fmla="*/ 348 w 364"/>
                <a:gd name="T87" fmla="*/ 145 h 364"/>
                <a:gd name="T88" fmla="*/ 364 w 364"/>
                <a:gd name="T89" fmla="*/ 93 h 364"/>
                <a:gd name="T90" fmla="*/ 319 w 364"/>
                <a:gd name="T91" fmla="*/ 74 h 364"/>
                <a:gd name="T92" fmla="*/ 287 w 364"/>
                <a:gd name="T93" fmla="*/ 66 h 364"/>
                <a:gd name="T94" fmla="*/ 276 w 364"/>
                <a:gd name="T95" fmla="*/ 43 h 364"/>
                <a:gd name="T96" fmla="*/ 256 w 364"/>
                <a:gd name="T97" fmla="*/ 48 h 364"/>
                <a:gd name="T98" fmla="*/ 237 w 364"/>
                <a:gd name="T99" fmla="*/ 26 h 364"/>
                <a:gd name="T100" fmla="*/ 214 w 364"/>
                <a:gd name="T101" fmla="*/ 8 h 36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64"/>
                <a:gd name="T154" fmla="*/ 0 h 364"/>
                <a:gd name="T155" fmla="*/ 364 w 364"/>
                <a:gd name="T156" fmla="*/ 364 h 36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64" h="364">
                  <a:moveTo>
                    <a:pt x="214" y="0"/>
                  </a:moveTo>
                  <a:lnTo>
                    <a:pt x="211" y="2"/>
                  </a:lnTo>
                  <a:lnTo>
                    <a:pt x="200" y="4"/>
                  </a:lnTo>
                  <a:lnTo>
                    <a:pt x="186" y="9"/>
                  </a:lnTo>
                  <a:lnTo>
                    <a:pt x="183" y="18"/>
                  </a:lnTo>
                  <a:lnTo>
                    <a:pt x="181" y="34"/>
                  </a:lnTo>
                  <a:lnTo>
                    <a:pt x="183" y="36"/>
                  </a:lnTo>
                  <a:lnTo>
                    <a:pt x="182" y="40"/>
                  </a:lnTo>
                  <a:lnTo>
                    <a:pt x="176" y="46"/>
                  </a:lnTo>
                  <a:lnTo>
                    <a:pt x="169" y="51"/>
                  </a:lnTo>
                  <a:lnTo>
                    <a:pt x="152" y="57"/>
                  </a:lnTo>
                  <a:lnTo>
                    <a:pt x="144" y="62"/>
                  </a:lnTo>
                  <a:lnTo>
                    <a:pt x="141" y="68"/>
                  </a:lnTo>
                  <a:lnTo>
                    <a:pt x="141" y="71"/>
                  </a:lnTo>
                  <a:lnTo>
                    <a:pt x="149" y="71"/>
                  </a:lnTo>
                  <a:lnTo>
                    <a:pt x="152" y="72"/>
                  </a:lnTo>
                  <a:lnTo>
                    <a:pt x="151" y="74"/>
                  </a:lnTo>
                  <a:lnTo>
                    <a:pt x="140" y="75"/>
                  </a:lnTo>
                  <a:lnTo>
                    <a:pt x="135" y="79"/>
                  </a:lnTo>
                  <a:lnTo>
                    <a:pt x="130" y="80"/>
                  </a:lnTo>
                  <a:lnTo>
                    <a:pt x="125" y="80"/>
                  </a:lnTo>
                  <a:lnTo>
                    <a:pt x="117" y="78"/>
                  </a:lnTo>
                  <a:lnTo>
                    <a:pt x="109" y="77"/>
                  </a:lnTo>
                  <a:lnTo>
                    <a:pt x="106" y="77"/>
                  </a:lnTo>
                  <a:lnTo>
                    <a:pt x="100" y="69"/>
                  </a:lnTo>
                  <a:lnTo>
                    <a:pt x="100" y="64"/>
                  </a:lnTo>
                  <a:lnTo>
                    <a:pt x="98" y="63"/>
                  </a:lnTo>
                  <a:lnTo>
                    <a:pt x="87" y="64"/>
                  </a:lnTo>
                  <a:lnTo>
                    <a:pt x="82" y="62"/>
                  </a:lnTo>
                  <a:lnTo>
                    <a:pt x="83" y="73"/>
                  </a:lnTo>
                  <a:lnTo>
                    <a:pt x="85" y="77"/>
                  </a:lnTo>
                  <a:lnTo>
                    <a:pt x="88" y="80"/>
                  </a:lnTo>
                  <a:lnTo>
                    <a:pt x="91" y="92"/>
                  </a:lnTo>
                  <a:lnTo>
                    <a:pt x="91" y="98"/>
                  </a:lnTo>
                  <a:lnTo>
                    <a:pt x="93" y="105"/>
                  </a:lnTo>
                  <a:lnTo>
                    <a:pt x="96" y="107"/>
                  </a:lnTo>
                  <a:lnTo>
                    <a:pt x="94" y="109"/>
                  </a:lnTo>
                  <a:lnTo>
                    <a:pt x="88" y="110"/>
                  </a:lnTo>
                  <a:lnTo>
                    <a:pt x="86" y="108"/>
                  </a:lnTo>
                  <a:lnTo>
                    <a:pt x="84" y="107"/>
                  </a:lnTo>
                  <a:lnTo>
                    <a:pt x="80" y="108"/>
                  </a:lnTo>
                  <a:lnTo>
                    <a:pt x="76" y="109"/>
                  </a:lnTo>
                  <a:lnTo>
                    <a:pt x="71" y="109"/>
                  </a:lnTo>
                  <a:lnTo>
                    <a:pt x="62" y="112"/>
                  </a:lnTo>
                  <a:lnTo>
                    <a:pt x="49" y="101"/>
                  </a:lnTo>
                  <a:lnTo>
                    <a:pt x="40" y="101"/>
                  </a:lnTo>
                  <a:lnTo>
                    <a:pt x="37" y="100"/>
                  </a:lnTo>
                  <a:lnTo>
                    <a:pt x="35" y="102"/>
                  </a:lnTo>
                  <a:lnTo>
                    <a:pt x="34" y="105"/>
                  </a:lnTo>
                  <a:lnTo>
                    <a:pt x="26" y="107"/>
                  </a:lnTo>
                  <a:lnTo>
                    <a:pt x="22" y="107"/>
                  </a:lnTo>
                  <a:lnTo>
                    <a:pt x="13" y="109"/>
                  </a:lnTo>
                  <a:lnTo>
                    <a:pt x="2" y="114"/>
                  </a:lnTo>
                  <a:lnTo>
                    <a:pt x="0" y="119"/>
                  </a:lnTo>
                  <a:lnTo>
                    <a:pt x="0" y="122"/>
                  </a:lnTo>
                  <a:lnTo>
                    <a:pt x="10" y="120"/>
                  </a:lnTo>
                  <a:lnTo>
                    <a:pt x="10" y="123"/>
                  </a:lnTo>
                  <a:lnTo>
                    <a:pt x="7" y="123"/>
                  </a:lnTo>
                  <a:lnTo>
                    <a:pt x="4" y="126"/>
                  </a:lnTo>
                  <a:lnTo>
                    <a:pt x="5" y="129"/>
                  </a:lnTo>
                  <a:lnTo>
                    <a:pt x="10" y="129"/>
                  </a:lnTo>
                  <a:lnTo>
                    <a:pt x="14" y="128"/>
                  </a:lnTo>
                  <a:lnTo>
                    <a:pt x="14" y="132"/>
                  </a:lnTo>
                  <a:lnTo>
                    <a:pt x="3" y="134"/>
                  </a:lnTo>
                  <a:lnTo>
                    <a:pt x="5" y="137"/>
                  </a:lnTo>
                  <a:lnTo>
                    <a:pt x="12" y="139"/>
                  </a:lnTo>
                  <a:lnTo>
                    <a:pt x="12" y="145"/>
                  </a:lnTo>
                  <a:lnTo>
                    <a:pt x="18" y="145"/>
                  </a:lnTo>
                  <a:lnTo>
                    <a:pt x="18" y="142"/>
                  </a:lnTo>
                  <a:lnTo>
                    <a:pt x="22" y="142"/>
                  </a:lnTo>
                  <a:lnTo>
                    <a:pt x="39" y="148"/>
                  </a:lnTo>
                  <a:lnTo>
                    <a:pt x="43" y="151"/>
                  </a:lnTo>
                  <a:lnTo>
                    <a:pt x="45" y="154"/>
                  </a:lnTo>
                  <a:lnTo>
                    <a:pt x="48" y="155"/>
                  </a:lnTo>
                  <a:lnTo>
                    <a:pt x="54" y="153"/>
                  </a:lnTo>
                  <a:lnTo>
                    <a:pt x="58" y="154"/>
                  </a:lnTo>
                  <a:lnTo>
                    <a:pt x="56" y="156"/>
                  </a:lnTo>
                  <a:lnTo>
                    <a:pt x="62" y="158"/>
                  </a:lnTo>
                  <a:lnTo>
                    <a:pt x="65" y="156"/>
                  </a:lnTo>
                  <a:lnTo>
                    <a:pt x="67" y="157"/>
                  </a:lnTo>
                  <a:lnTo>
                    <a:pt x="66" y="166"/>
                  </a:lnTo>
                  <a:lnTo>
                    <a:pt x="73" y="168"/>
                  </a:lnTo>
                  <a:lnTo>
                    <a:pt x="81" y="166"/>
                  </a:lnTo>
                  <a:lnTo>
                    <a:pt x="86" y="168"/>
                  </a:lnTo>
                  <a:lnTo>
                    <a:pt x="78" y="171"/>
                  </a:lnTo>
                  <a:lnTo>
                    <a:pt x="78" y="174"/>
                  </a:lnTo>
                  <a:lnTo>
                    <a:pt x="81" y="177"/>
                  </a:lnTo>
                  <a:lnTo>
                    <a:pt x="79" y="182"/>
                  </a:lnTo>
                  <a:lnTo>
                    <a:pt x="76" y="179"/>
                  </a:lnTo>
                  <a:lnTo>
                    <a:pt x="75" y="183"/>
                  </a:lnTo>
                  <a:lnTo>
                    <a:pt x="81" y="189"/>
                  </a:lnTo>
                  <a:lnTo>
                    <a:pt x="85" y="194"/>
                  </a:lnTo>
                  <a:lnTo>
                    <a:pt x="86" y="198"/>
                  </a:lnTo>
                  <a:lnTo>
                    <a:pt x="92" y="203"/>
                  </a:lnTo>
                  <a:lnTo>
                    <a:pt x="99" y="206"/>
                  </a:lnTo>
                  <a:lnTo>
                    <a:pt x="106" y="208"/>
                  </a:lnTo>
                  <a:lnTo>
                    <a:pt x="105" y="212"/>
                  </a:lnTo>
                  <a:lnTo>
                    <a:pt x="107" y="217"/>
                  </a:lnTo>
                  <a:lnTo>
                    <a:pt x="107" y="223"/>
                  </a:lnTo>
                  <a:lnTo>
                    <a:pt x="104" y="229"/>
                  </a:lnTo>
                  <a:lnTo>
                    <a:pt x="106" y="234"/>
                  </a:lnTo>
                  <a:lnTo>
                    <a:pt x="111" y="238"/>
                  </a:lnTo>
                  <a:lnTo>
                    <a:pt x="115" y="243"/>
                  </a:lnTo>
                  <a:lnTo>
                    <a:pt x="117" y="250"/>
                  </a:lnTo>
                  <a:lnTo>
                    <a:pt x="115" y="247"/>
                  </a:lnTo>
                  <a:lnTo>
                    <a:pt x="108" y="239"/>
                  </a:lnTo>
                  <a:lnTo>
                    <a:pt x="106" y="243"/>
                  </a:lnTo>
                  <a:lnTo>
                    <a:pt x="106" y="252"/>
                  </a:lnTo>
                  <a:lnTo>
                    <a:pt x="104" y="269"/>
                  </a:lnTo>
                  <a:lnTo>
                    <a:pt x="103" y="274"/>
                  </a:lnTo>
                  <a:lnTo>
                    <a:pt x="106" y="270"/>
                  </a:lnTo>
                  <a:lnTo>
                    <a:pt x="108" y="274"/>
                  </a:lnTo>
                  <a:lnTo>
                    <a:pt x="107" y="275"/>
                  </a:lnTo>
                  <a:lnTo>
                    <a:pt x="103" y="278"/>
                  </a:lnTo>
                  <a:lnTo>
                    <a:pt x="103" y="285"/>
                  </a:lnTo>
                  <a:lnTo>
                    <a:pt x="97" y="316"/>
                  </a:lnTo>
                  <a:lnTo>
                    <a:pt x="95" y="322"/>
                  </a:lnTo>
                  <a:lnTo>
                    <a:pt x="89" y="325"/>
                  </a:lnTo>
                  <a:lnTo>
                    <a:pt x="84" y="325"/>
                  </a:lnTo>
                  <a:lnTo>
                    <a:pt x="85" y="327"/>
                  </a:lnTo>
                  <a:lnTo>
                    <a:pt x="97" y="336"/>
                  </a:lnTo>
                  <a:lnTo>
                    <a:pt x="101" y="339"/>
                  </a:lnTo>
                  <a:lnTo>
                    <a:pt x="107" y="340"/>
                  </a:lnTo>
                  <a:lnTo>
                    <a:pt x="113" y="343"/>
                  </a:lnTo>
                  <a:lnTo>
                    <a:pt x="116" y="346"/>
                  </a:lnTo>
                  <a:lnTo>
                    <a:pt x="141" y="353"/>
                  </a:lnTo>
                  <a:lnTo>
                    <a:pt x="149" y="354"/>
                  </a:lnTo>
                  <a:lnTo>
                    <a:pt x="152" y="353"/>
                  </a:lnTo>
                  <a:lnTo>
                    <a:pt x="157" y="349"/>
                  </a:lnTo>
                  <a:lnTo>
                    <a:pt x="162" y="348"/>
                  </a:lnTo>
                  <a:lnTo>
                    <a:pt x="166" y="350"/>
                  </a:lnTo>
                  <a:lnTo>
                    <a:pt x="174" y="355"/>
                  </a:lnTo>
                  <a:lnTo>
                    <a:pt x="181" y="356"/>
                  </a:lnTo>
                  <a:lnTo>
                    <a:pt x="184" y="359"/>
                  </a:lnTo>
                  <a:lnTo>
                    <a:pt x="189" y="363"/>
                  </a:lnTo>
                  <a:lnTo>
                    <a:pt x="194" y="364"/>
                  </a:lnTo>
                  <a:lnTo>
                    <a:pt x="208" y="364"/>
                  </a:lnTo>
                  <a:lnTo>
                    <a:pt x="216" y="362"/>
                  </a:lnTo>
                  <a:lnTo>
                    <a:pt x="222" y="362"/>
                  </a:lnTo>
                  <a:lnTo>
                    <a:pt x="226" y="362"/>
                  </a:lnTo>
                  <a:lnTo>
                    <a:pt x="225" y="347"/>
                  </a:lnTo>
                  <a:lnTo>
                    <a:pt x="223" y="345"/>
                  </a:lnTo>
                  <a:lnTo>
                    <a:pt x="224" y="338"/>
                  </a:lnTo>
                  <a:lnTo>
                    <a:pt x="227" y="332"/>
                  </a:lnTo>
                  <a:lnTo>
                    <a:pt x="237" y="328"/>
                  </a:lnTo>
                  <a:lnTo>
                    <a:pt x="243" y="324"/>
                  </a:lnTo>
                  <a:lnTo>
                    <a:pt x="246" y="321"/>
                  </a:lnTo>
                  <a:lnTo>
                    <a:pt x="251" y="319"/>
                  </a:lnTo>
                  <a:lnTo>
                    <a:pt x="254" y="319"/>
                  </a:lnTo>
                  <a:lnTo>
                    <a:pt x="255" y="320"/>
                  </a:lnTo>
                  <a:lnTo>
                    <a:pt x="264" y="322"/>
                  </a:lnTo>
                  <a:lnTo>
                    <a:pt x="265" y="323"/>
                  </a:lnTo>
                  <a:lnTo>
                    <a:pt x="266" y="324"/>
                  </a:lnTo>
                  <a:lnTo>
                    <a:pt x="269" y="324"/>
                  </a:lnTo>
                  <a:lnTo>
                    <a:pt x="275" y="326"/>
                  </a:lnTo>
                  <a:lnTo>
                    <a:pt x="276" y="324"/>
                  </a:lnTo>
                  <a:lnTo>
                    <a:pt x="281" y="324"/>
                  </a:lnTo>
                  <a:lnTo>
                    <a:pt x="282" y="325"/>
                  </a:lnTo>
                  <a:lnTo>
                    <a:pt x="286" y="325"/>
                  </a:lnTo>
                  <a:lnTo>
                    <a:pt x="289" y="327"/>
                  </a:lnTo>
                  <a:lnTo>
                    <a:pt x="290" y="329"/>
                  </a:lnTo>
                  <a:lnTo>
                    <a:pt x="292" y="330"/>
                  </a:lnTo>
                  <a:lnTo>
                    <a:pt x="298" y="331"/>
                  </a:lnTo>
                  <a:lnTo>
                    <a:pt x="303" y="335"/>
                  </a:lnTo>
                  <a:lnTo>
                    <a:pt x="311" y="336"/>
                  </a:lnTo>
                  <a:lnTo>
                    <a:pt x="324" y="330"/>
                  </a:lnTo>
                  <a:lnTo>
                    <a:pt x="325" y="329"/>
                  </a:lnTo>
                  <a:lnTo>
                    <a:pt x="325" y="325"/>
                  </a:lnTo>
                  <a:lnTo>
                    <a:pt x="330" y="322"/>
                  </a:lnTo>
                  <a:lnTo>
                    <a:pt x="336" y="316"/>
                  </a:lnTo>
                  <a:lnTo>
                    <a:pt x="339" y="315"/>
                  </a:lnTo>
                  <a:lnTo>
                    <a:pt x="340" y="312"/>
                  </a:lnTo>
                  <a:lnTo>
                    <a:pt x="350" y="307"/>
                  </a:lnTo>
                  <a:lnTo>
                    <a:pt x="350" y="306"/>
                  </a:lnTo>
                  <a:lnTo>
                    <a:pt x="350" y="304"/>
                  </a:lnTo>
                  <a:lnTo>
                    <a:pt x="351" y="301"/>
                  </a:lnTo>
                  <a:lnTo>
                    <a:pt x="351" y="297"/>
                  </a:lnTo>
                  <a:lnTo>
                    <a:pt x="349" y="293"/>
                  </a:lnTo>
                  <a:lnTo>
                    <a:pt x="336" y="291"/>
                  </a:lnTo>
                  <a:lnTo>
                    <a:pt x="333" y="287"/>
                  </a:lnTo>
                  <a:lnTo>
                    <a:pt x="332" y="281"/>
                  </a:lnTo>
                  <a:lnTo>
                    <a:pt x="331" y="275"/>
                  </a:lnTo>
                  <a:lnTo>
                    <a:pt x="332" y="270"/>
                  </a:lnTo>
                  <a:lnTo>
                    <a:pt x="332" y="266"/>
                  </a:lnTo>
                  <a:lnTo>
                    <a:pt x="327" y="264"/>
                  </a:lnTo>
                  <a:lnTo>
                    <a:pt x="327" y="262"/>
                  </a:lnTo>
                  <a:lnTo>
                    <a:pt x="326" y="260"/>
                  </a:lnTo>
                  <a:lnTo>
                    <a:pt x="327" y="255"/>
                  </a:lnTo>
                  <a:lnTo>
                    <a:pt x="330" y="252"/>
                  </a:lnTo>
                  <a:lnTo>
                    <a:pt x="336" y="248"/>
                  </a:lnTo>
                  <a:lnTo>
                    <a:pt x="335" y="243"/>
                  </a:lnTo>
                  <a:lnTo>
                    <a:pt x="329" y="230"/>
                  </a:lnTo>
                  <a:lnTo>
                    <a:pt x="328" y="227"/>
                  </a:lnTo>
                  <a:lnTo>
                    <a:pt x="328" y="224"/>
                  </a:lnTo>
                  <a:lnTo>
                    <a:pt x="334" y="224"/>
                  </a:lnTo>
                  <a:lnTo>
                    <a:pt x="332" y="218"/>
                  </a:lnTo>
                  <a:lnTo>
                    <a:pt x="328" y="217"/>
                  </a:lnTo>
                  <a:lnTo>
                    <a:pt x="327" y="211"/>
                  </a:lnTo>
                  <a:lnTo>
                    <a:pt x="327" y="203"/>
                  </a:lnTo>
                  <a:lnTo>
                    <a:pt x="326" y="202"/>
                  </a:lnTo>
                  <a:lnTo>
                    <a:pt x="317" y="202"/>
                  </a:lnTo>
                  <a:lnTo>
                    <a:pt x="311" y="211"/>
                  </a:lnTo>
                  <a:lnTo>
                    <a:pt x="307" y="213"/>
                  </a:lnTo>
                  <a:lnTo>
                    <a:pt x="305" y="212"/>
                  </a:lnTo>
                  <a:lnTo>
                    <a:pt x="306" y="200"/>
                  </a:lnTo>
                  <a:lnTo>
                    <a:pt x="308" y="194"/>
                  </a:lnTo>
                  <a:lnTo>
                    <a:pt x="310" y="192"/>
                  </a:lnTo>
                  <a:lnTo>
                    <a:pt x="312" y="188"/>
                  </a:lnTo>
                  <a:lnTo>
                    <a:pt x="315" y="186"/>
                  </a:lnTo>
                  <a:lnTo>
                    <a:pt x="317" y="185"/>
                  </a:lnTo>
                  <a:lnTo>
                    <a:pt x="318" y="179"/>
                  </a:lnTo>
                  <a:lnTo>
                    <a:pt x="321" y="175"/>
                  </a:lnTo>
                  <a:lnTo>
                    <a:pt x="333" y="162"/>
                  </a:lnTo>
                  <a:lnTo>
                    <a:pt x="331" y="159"/>
                  </a:lnTo>
                  <a:lnTo>
                    <a:pt x="333" y="156"/>
                  </a:lnTo>
                  <a:lnTo>
                    <a:pt x="342" y="156"/>
                  </a:lnTo>
                  <a:lnTo>
                    <a:pt x="346" y="155"/>
                  </a:lnTo>
                  <a:lnTo>
                    <a:pt x="350" y="151"/>
                  </a:lnTo>
                  <a:lnTo>
                    <a:pt x="349" y="150"/>
                  </a:lnTo>
                  <a:lnTo>
                    <a:pt x="348" y="145"/>
                  </a:lnTo>
                  <a:lnTo>
                    <a:pt x="348" y="130"/>
                  </a:lnTo>
                  <a:lnTo>
                    <a:pt x="353" y="118"/>
                  </a:lnTo>
                  <a:lnTo>
                    <a:pt x="354" y="111"/>
                  </a:lnTo>
                  <a:lnTo>
                    <a:pt x="363" y="99"/>
                  </a:lnTo>
                  <a:lnTo>
                    <a:pt x="364" y="93"/>
                  </a:lnTo>
                  <a:lnTo>
                    <a:pt x="357" y="90"/>
                  </a:lnTo>
                  <a:lnTo>
                    <a:pt x="336" y="84"/>
                  </a:lnTo>
                  <a:lnTo>
                    <a:pt x="326" y="83"/>
                  </a:lnTo>
                  <a:lnTo>
                    <a:pt x="323" y="78"/>
                  </a:lnTo>
                  <a:lnTo>
                    <a:pt x="319" y="74"/>
                  </a:lnTo>
                  <a:lnTo>
                    <a:pt x="312" y="68"/>
                  </a:lnTo>
                  <a:lnTo>
                    <a:pt x="306" y="69"/>
                  </a:lnTo>
                  <a:lnTo>
                    <a:pt x="297" y="66"/>
                  </a:lnTo>
                  <a:lnTo>
                    <a:pt x="293" y="67"/>
                  </a:lnTo>
                  <a:lnTo>
                    <a:pt x="287" y="66"/>
                  </a:lnTo>
                  <a:lnTo>
                    <a:pt x="283" y="62"/>
                  </a:lnTo>
                  <a:lnTo>
                    <a:pt x="277" y="59"/>
                  </a:lnTo>
                  <a:lnTo>
                    <a:pt x="278" y="56"/>
                  </a:lnTo>
                  <a:lnTo>
                    <a:pt x="276" y="55"/>
                  </a:lnTo>
                  <a:lnTo>
                    <a:pt x="276" y="43"/>
                  </a:lnTo>
                  <a:lnTo>
                    <a:pt x="273" y="43"/>
                  </a:lnTo>
                  <a:lnTo>
                    <a:pt x="269" y="47"/>
                  </a:lnTo>
                  <a:lnTo>
                    <a:pt x="267" y="51"/>
                  </a:lnTo>
                  <a:lnTo>
                    <a:pt x="262" y="51"/>
                  </a:lnTo>
                  <a:lnTo>
                    <a:pt x="256" y="48"/>
                  </a:lnTo>
                  <a:lnTo>
                    <a:pt x="255" y="40"/>
                  </a:lnTo>
                  <a:lnTo>
                    <a:pt x="254" y="36"/>
                  </a:lnTo>
                  <a:lnTo>
                    <a:pt x="251" y="33"/>
                  </a:lnTo>
                  <a:lnTo>
                    <a:pt x="244" y="31"/>
                  </a:lnTo>
                  <a:lnTo>
                    <a:pt x="237" y="26"/>
                  </a:lnTo>
                  <a:lnTo>
                    <a:pt x="232" y="25"/>
                  </a:lnTo>
                  <a:lnTo>
                    <a:pt x="227" y="15"/>
                  </a:lnTo>
                  <a:lnTo>
                    <a:pt x="221" y="16"/>
                  </a:lnTo>
                  <a:lnTo>
                    <a:pt x="215" y="13"/>
                  </a:lnTo>
                  <a:lnTo>
                    <a:pt x="214" y="8"/>
                  </a:lnTo>
                  <a:lnTo>
                    <a:pt x="214" y="0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71" name="Freeform 11"/>
            <p:cNvSpPr>
              <a:spLocks/>
            </p:cNvSpPr>
            <p:nvPr/>
          </p:nvSpPr>
          <p:spPr bwMode="auto">
            <a:xfrm>
              <a:off x="1662" y="2665"/>
              <a:ext cx="364" cy="364"/>
            </a:xfrm>
            <a:custGeom>
              <a:avLst/>
              <a:gdLst>
                <a:gd name="T0" fmla="*/ 183 w 364"/>
                <a:gd name="T1" fmla="*/ 18 h 364"/>
                <a:gd name="T2" fmla="*/ 169 w 364"/>
                <a:gd name="T3" fmla="*/ 51 h 364"/>
                <a:gd name="T4" fmla="*/ 149 w 364"/>
                <a:gd name="T5" fmla="*/ 71 h 364"/>
                <a:gd name="T6" fmla="*/ 130 w 364"/>
                <a:gd name="T7" fmla="*/ 80 h 364"/>
                <a:gd name="T8" fmla="*/ 100 w 364"/>
                <a:gd name="T9" fmla="*/ 69 h 364"/>
                <a:gd name="T10" fmla="*/ 83 w 364"/>
                <a:gd name="T11" fmla="*/ 73 h 364"/>
                <a:gd name="T12" fmla="*/ 93 w 364"/>
                <a:gd name="T13" fmla="*/ 105 h 364"/>
                <a:gd name="T14" fmla="*/ 84 w 364"/>
                <a:gd name="T15" fmla="*/ 107 h 364"/>
                <a:gd name="T16" fmla="*/ 49 w 364"/>
                <a:gd name="T17" fmla="*/ 101 h 364"/>
                <a:gd name="T18" fmla="*/ 26 w 364"/>
                <a:gd name="T19" fmla="*/ 107 h 364"/>
                <a:gd name="T20" fmla="*/ 0 w 364"/>
                <a:gd name="T21" fmla="*/ 122 h 364"/>
                <a:gd name="T22" fmla="*/ 5 w 364"/>
                <a:gd name="T23" fmla="*/ 129 h 364"/>
                <a:gd name="T24" fmla="*/ 5 w 364"/>
                <a:gd name="T25" fmla="*/ 137 h 364"/>
                <a:gd name="T26" fmla="*/ 22 w 364"/>
                <a:gd name="T27" fmla="*/ 142 h 364"/>
                <a:gd name="T28" fmla="*/ 54 w 364"/>
                <a:gd name="T29" fmla="*/ 153 h 364"/>
                <a:gd name="T30" fmla="*/ 67 w 364"/>
                <a:gd name="T31" fmla="*/ 157 h 364"/>
                <a:gd name="T32" fmla="*/ 78 w 364"/>
                <a:gd name="T33" fmla="*/ 171 h 364"/>
                <a:gd name="T34" fmla="*/ 75 w 364"/>
                <a:gd name="T35" fmla="*/ 183 h 364"/>
                <a:gd name="T36" fmla="*/ 99 w 364"/>
                <a:gd name="T37" fmla="*/ 206 h 364"/>
                <a:gd name="T38" fmla="*/ 104 w 364"/>
                <a:gd name="T39" fmla="*/ 229 h 364"/>
                <a:gd name="T40" fmla="*/ 115 w 364"/>
                <a:gd name="T41" fmla="*/ 247 h 364"/>
                <a:gd name="T42" fmla="*/ 103 w 364"/>
                <a:gd name="T43" fmla="*/ 274 h 364"/>
                <a:gd name="T44" fmla="*/ 103 w 364"/>
                <a:gd name="T45" fmla="*/ 285 h 364"/>
                <a:gd name="T46" fmla="*/ 85 w 364"/>
                <a:gd name="T47" fmla="*/ 327 h 364"/>
                <a:gd name="T48" fmla="*/ 116 w 364"/>
                <a:gd name="T49" fmla="*/ 346 h 364"/>
                <a:gd name="T50" fmla="*/ 162 w 364"/>
                <a:gd name="T51" fmla="*/ 348 h 364"/>
                <a:gd name="T52" fmla="*/ 189 w 364"/>
                <a:gd name="T53" fmla="*/ 363 h 364"/>
                <a:gd name="T54" fmla="*/ 226 w 364"/>
                <a:gd name="T55" fmla="*/ 362 h 364"/>
                <a:gd name="T56" fmla="*/ 237 w 364"/>
                <a:gd name="T57" fmla="*/ 328 h 364"/>
                <a:gd name="T58" fmla="*/ 255 w 364"/>
                <a:gd name="T59" fmla="*/ 320 h 364"/>
                <a:gd name="T60" fmla="*/ 275 w 364"/>
                <a:gd name="T61" fmla="*/ 326 h 364"/>
                <a:gd name="T62" fmla="*/ 289 w 364"/>
                <a:gd name="T63" fmla="*/ 327 h 364"/>
                <a:gd name="T64" fmla="*/ 311 w 364"/>
                <a:gd name="T65" fmla="*/ 336 h 364"/>
                <a:gd name="T66" fmla="*/ 336 w 364"/>
                <a:gd name="T67" fmla="*/ 316 h 364"/>
                <a:gd name="T68" fmla="*/ 350 w 364"/>
                <a:gd name="T69" fmla="*/ 304 h 364"/>
                <a:gd name="T70" fmla="*/ 333 w 364"/>
                <a:gd name="T71" fmla="*/ 287 h 364"/>
                <a:gd name="T72" fmla="*/ 327 w 364"/>
                <a:gd name="T73" fmla="*/ 264 h 364"/>
                <a:gd name="T74" fmla="*/ 336 w 364"/>
                <a:gd name="T75" fmla="*/ 248 h 364"/>
                <a:gd name="T76" fmla="*/ 334 w 364"/>
                <a:gd name="T77" fmla="*/ 224 h 364"/>
                <a:gd name="T78" fmla="*/ 326 w 364"/>
                <a:gd name="T79" fmla="*/ 202 h 364"/>
                <a:gd name="T80" fmla="*/ 306 w 364"/>
                <a:gd name="T81" fmla="*/ 200 h 364"/>
                <a:gd name="T82" fmla="*/ 317 w 364"/>
                <a:gd name="T83" fmla="*/ 185 h 364"/>
                <a:gd name="T84" fmla="*/ 333 w 364"/>
                <a:gd name="T85" fmla="*/ 156 h 364"/>
                <a:gd name="T86" fmla="*/ 348 w 364"/>
                <a:gd name="T87" fmla="*/ 145 h 364"/>
                <a:gd name="T88" fmla="*/ 364 w 364"/>
                <a:gd name="T89" fmla="*/ 93 h 364"/>
                <a:gd name="T90" fmla="*/ 319 w 364"/>
                <a:gd name="T91" fmla="*/ 74 h 364"/>
                <a:gd name="T92" fmla="*/ 287 w 364"/>
                <a:gd name="T93" fmla="*/ 66 h 364"/>
                <a:gd name="T94" fmla="*/ 276 w 364"/>
                <a:gd name="T95" fmla="*/ 43 h 364"/>
                <a:gd name="T96" fmla="*/ 256 w 364"/>
                <a:gd name="T97" fmla="*/ 48 h 364"/>
                <a:gd name="T98" fmla="*/ 237 w 364"/>
                <a:gd name="T99" fmla="*/ 26 h 364"/>
                <a:gd name="T100" fmla="*/ 214 w 364"/>
                <a:gd name="T101" fmla="*/ 8 h 36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64"/>
                <a:gd name="T154" fmla="*/ 0 h 364"/>
                <a:gd name="T155" fmla="*/ 364 w 364"/>
                <a:gd name="T156" fmla="*/ 364 h 36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64" h="364">
                  <a:moveTo>
                    <a:pt x="214" y="0"/>
                  </a:moveTo>
                  <a:lnTo>
                    <a:pt x="211" y="2"/>
                  </a:lnTo>
                  <a:lnTo>
                    <a:pt x="200" y="4"/>
                  </a:lnTo>
                  <a:lnTo>
                    <a:pt x="186" y="9"/>
                  </a:lnTo>
                  <a:lnTo>
                    <a:pt x="183" y="18"/>
                  </a:lnTo>
                  <a:lnTo>
                    <a:pt x="181" y="34"/>
                  </a:lnTo>
                  <a:lnTo>
                    <a:pt x="183" y="36"/>
                  </a:lnTo>
                  <a:lnTo>
                    <a:pt x="182" y="40"/>
                  </a:lnTo>
                  <a:lnTo>
                    <a:pt x="176" y="46"/>
                  </a:lnTo>
                  <a:lnTo>
                    <a:pt x="169" y="51"/>
                  </a:lnTo>
                  <a:lnTo>
                    <a:pt x="152" y="57"/>
                  </a:lnTo>
                  <a:lnTo>
                    <a:pt x="144" y="62"/>
                  </a:lnTo>
                  <a:lnTo>
                    <a:pt x="141" y="68"/>
                  </a:lnTo>
                  <a:lnTo>
                    <a:pt x="141" y="71"/>
                  </a:lnTo>
                  <a:lnTo>
                    <a:pt x="149" y="71"/>
                  </a:lnTo>
                  <a:lnTo>
                    <a:pt x="152" y="72"/>
                  </a:lnTo>
                  <a:lnTo>
                    <a:pt x="151" y="74"/>
                  </a:lnTo>
                  <a:lnTo>
                    <a:pt x="140" y="75"/>
                  </a:lnTo>
                  <a:lnTo>
                    <a:pt x="135" y="79"/>
                  </a:lnTo>
                  <a:lnTo>
                    <a:pt x="130" y="80"/>
                  </a:lnTo>
                  <a:lnTo>
                    <a:pt x="125" y="80"/>
                  </a:lnTo>
                  <a:lnTo>
                    <a:pt x="117" y="78"/>
                  </a:lnTo>
                  <a:lnTo>
                    <a:pt x="109" y="77"/>
                  </a:lnTo>
                  <a:lnTo>
                    <a:pt x="106" y="77"/>
                  </a:lnTo>
                  <a:lnTo>
                    <a:pt x="100" y="69"/>
                  </a:lnTo>
                  <a:lnTo>
                    <a:pt x="100" y="64"/>
                  </a:lnTo>
                  <a:lnTo>
                    <a:pt x="98" y="63"/>
                  </a:lnTo>
                  <a:lnTo>
                    <a:pt x="87" y="64"/>
                  </a:lnTo>
                  <a:lnTo>
                    <a:pt x="82" y="62"/>
                  </a:lnTo>
                  <a:lnTo>
                    <a:pt x="83" y="73"/>
                  </a:lnTo>
                  <a:lnTo>
                    <a:pt x="85" y="77"/>
                  </a:lnTo>
                  <a:lnTo>
                    <a:pt x="88" y="80"/>
                  </a:lnTo>
                  <a:lnTo>
                    <a:pt x="91" y="92"/>
                  </a:lnTo>
                  <a:lnTo>
                    <a:pt x="91" y="98"/>
                  </a:lnTo>
                  <a:lnTo>
                    <a:pt x="93" y="105"/>
                  </a:lnTo>
                  <a:lnTo>
                    <a:pt x="96" y="107"/>
                  </a:lnTo>
                  <a:lnTo>
                    <a:pt x="94" y="109"/>
                  </a:lnTo>
                  <a:lnTo>
                    <a:pt x="88" y="110"/>
                  </a:lnTo>
                  <a:lnTo>
                    <a:pt x="86" y="108"/>
                  </a:lnTo>
                  <a:lnTo>
                    <a:pt x="84" y="107"/>
                  </a:lnTo>
                  <a:lnTo>
                    <a:pt x="80" y="108"/>
                  </a:lnTo>
                  <a:lnTo>
                    <a:pt x="76" y="109"/>
                  </a:lnTo>
                  <a:lnTo>
                    <a:pt x="71" y="109"/>
                  </a:lnTo>
                  <a:lnTo>
                    <a:pt x="62" y="112"/>
                  </a:lnTo>
                  <a:lnTo>
                    <a:pt x="49" y="101"/>
                  </a:lnTo>
                  <a:lnTo>
                    <a:pt x="40" y="101"/>
                  </a:lnTo>
                  <a:lnTo>
                    <a:pt x="37" y="100"/>
                  </a:lnTo>
                  <a:lnTo>
                    <a:pt x="35" y="102"/>
                  </a:lnTo>
                  <a:lnTo>
                    <a:pt x="34" y="105"/>
                  </a:lnTo>
                  <a:lnTo>
                    <a:pt x="26" y="107"/>
                  </a:lnTo>
                  <a:lnTo>
                    <a:pt x="22" y="107"/>
                  </a:lnTo>
                  <a:lnTo>
                    <a:pt x="13" y="109"/>
                  </a:lnTo>
                  <a:lnTo>
                    <a:pt x="2" y="114"/>
                  </a:lnTo>
                  <a:lnTo>
                    <a:pt x="0" y="119"/>
                  </a:lnTo>
                  <a:lnTo>
                    <a:pt x="0" y="122"/>
                  </a:lnTo>
                  <a:lnTo>
                    <a:pt x="10" y="120"/>
                  </a:lnTo>
                  <a:lnTo>
                    <a:pt x="10" y="123"/>
                  </a:lnTo>
                  <a:lnTo>
                    <a:pt x="7" y="123"/>
                  </a:lnTo>
                  <a:lnTo>
                    <a:pt x="4" y="126"/>
                  </a:lnTo>
                  <a:lnTo>
                    <a:pt x="5" y="129"/>
                  </a:lnTo>
                  <a:lnTo>
                    <a:pt x="10" y="129"/>
                  </a:lnTo>
                  <a:lnTo>
                    <a:pt x="14" y="128"/>
                  </a:lnTo>
                  <a:lnTo>
                    <a:pt x="14" y="132"/>
                  </a:lnTo>
                  <a:lnTo>
                    <a:pt x="3" y="134"/>
                  </a:lnTo>
                  <a:lnTo>
                    <a:pt x="5" y="137"/>
                  </a:lnTo>
                  <a:lnTo>
                    <a:pt x="12" y="139"/>
                  </a:lnTo>
                  <a:lnTo>
                    <a:pt x="12" y="145"/>
                  </a:lnTo>
                  <a:lnTo>
                    <a:pt x="18" y="145"/>
                  </a:lnTo>
                  <a:lnTo>
                    <a:pt x="18" y="142"/>
                  </a:lnTo>
                  <a:lnTo>
                    <a:pt x="22" y="142"/>
                  </a:lnTo>
                  <a:lnTo>
                    <a:pt x="39" y="148"/>
                  </a:lnTo>
                  <a:lnTo>
                    <a:pt x="43" y="151"/>
                  </a:lnTo>
                  <a:lnTo>
                    <a:pt x="45" y="154"/>
                  </a:lnTo>
                  <a:lnTo>
                    <a:pt x="48" y="155"/>
                  </a:lnTo>
                  <a:lnTo>
                    <a:pt x="54" y="153"/>
                  </a:lnTo>
                  <a:lnTo>
                    <a:pt x="58" y="154"/>
                  </a:lnTo>
                  <a:lnTo>
                    <a:pt x="56" y="156"/>
                  </a:lnTo>
                  <a:lnTo>
                    <a:pt x="62" y="158"/>
                  </a:lnTo>
                  <a:lnTo>
                    <a:pt x="65" y="156"/>
                  </a:lnTo>
                  <a:lnTo>
                    <a:pt x="67" y="157"/>
                  </a:lnTo>
                  <a:lnTo>
                    <a:pt x="66" y="166"/>
                  </a:lnTo>
                  <a:lnTo>
                    <a:pt x="73" y="168"/>
                  </a:lnTo>
                  <a:lnTo>
                    <a:pt x="81" y="166"/>
                  </a:lnTo>
                  <a:lnTo>
                    <a:pt x="86" y="168"/>
                  </a:lnTo>
                  <a:lnTo>
                    <a:pt x="78" y="171"/>
                  </a:lnTo>
                  <a:lnTo>
                    <a:pt x="78" y="174"/>
                  </a:lnTo>
                  <a:lnTo>
                    <a:pt x="81" y="177"/>
                  </a:lnTo>
                  <a:lnTo>
                    <a:pt x="79" y="182"/>
                  </a:lnTo>
                  <a:lnTo>
                    <a:pt x="76" y="179"/>
                  </a:lnTo>
                  <a:lnTo>
                    <a:pt x="75" y="183"/>
                  </a:lnTo>
                  <a:lnTo>
                    <a:pt x="81" y="189"/>
                  </a:lnTo>
                  <a:lnTo>
                    <a:pt x="85" y="194"/>
                  </a:lnTo>
                  <a:lnTo>
                    <a:pt x="86" y="198"/>
                  </a:lnTo>
                  <a:lnTo>
                    <a:pt x="92" y="203"/>
                  </a:lnTo>
                  <a:lnTo>
                    <a:pt x="99" y="206"/>
                  </a:lnTo>
                  <a:lnTo>
                    <a:pt x="106" y="208"/>
                  </a:lnTo>
                  <a:lnTo>
                    <a:pt x="105" y="212"/>
                  </a:lnTo>
                  <a:lnTo>
                    <a:pt x="107" y="217"/>
                  </a:lnTo>
                  <a:lnTo>
                    <a:pt x="107" y="223"/>
                  </a:lnTo>
                  <a:lnTo>
                    <a:pt x="104" y="229"/>
                  </a:lnTo>
                  <a:lnTo>
                    <a:pt x="106" y="234"/>
                  </a:lnTo>
                  <a:lnTo>
                    <a:pt x="111" y="238"/>
                  </a:lnTo>
                  <a:lnTo>
                    <a:pt x="115" y="243"/>
                  </a:lnTo>
                  <a:lnTo>
                    <a:pt x="117" y="250"/>
                  </a:lnTo>
                  <a:lnTo>
                    <a:pt x="115" y="247"/>
                  </a:lnTo>
                  <a:lnTo>
                    <a:pt x="108" y="239"/>
                  </a:lnTo>
                  <a:lnTo>
                    <a:pt x="106" y="243"/>
                  </a:lnTo>
                  <a:lnTo>
                    <a:pt x="106" y="252"/>
                  </a:lnTo>
                  <a:lnTo>
                    <a:pt x="104" y="269"/>
                  </a:lnTo>
                  <a:lnTo>
                    <a:pt x="103" y="274"/>
                  </a:lnTo>
                  <a:lnTo>
                    <a:pt x="106" y="270"/>
                  </a:lnTo>
                  <a:lnTo>
                    <a:pt x="108" y="274"/>
                  </a:lnTo>
                  <a:lnTo>
                    <a:pt x="107" y="275"/>
                  </a:lnTo>
                  <a:lnTo>
                    <a:pt x="103" y="278"/>
                  </a:lnTo>
                  <a:lnTo>
                    <a:pt x="103" y="285"/>
                  </a:lnTo>
                  <a:lnTo>
                    <a:pt x="97" y="316"/>
                  </a:lnTo>
                  <a:lnTo>
                    <a:pt x="95" y="322"/>
                  </a:lnTo>
                  <a:lnTo>
                    <a:pt x="89" y="325"/>
                  </a:lnTo>
                  <a:lnTo>
                    <a:pt x="84" y="325"/>
                  </a:lnTo>
                  <a:lnTo>
                    <a:pt x="85" y="327"/>
                  </a:lnTo>
                  <a:lnTo>
                    <a:pt x="97" y="336"/>
                  </a:lnTo>
                  <a:lnTo>
                    <a:pt x="101" y="339"/>
                  </a:lnTo>
                  <a:lnTo>
                    <a:pt x="107" y="340"/>
                  </a:lnTo>
                  <a:lnTo>
                    <a:pt x="113" y="343"/>
                  </a:lnTo>
                  <a:lnTo>
                    <a:pt x="116" y="346"/>
                  </a:lnTo>
                  <a:lnTo>
                    <a:pt x="141" y="353"/>
                  </a:lnTo>
                  <a:lnTo>
                    <a:pt x="149" y="354"/>
                  </a:lnTo>
                  <a:lnTo>
                    <a:pt x="152" y="353"/>
                  </a:lnTo>
                  <a:lnTo>
                    <a:pt x="157" y="349"/>
                  </a:lnTo>
                  <a:lnTo>
                    <a:pt x="162" y="348"/>
                  </a:lnTo>
                  <a:lnTo>
                    <a:pt x="166" y="350"/>
                  </a:lnTo>
                  <a:lnTo>
                    <a:pt x="174" y="355"/>
                  </a:lnTo>
                  <a:lnTo>
                    <a:pt x="181" y="356"/>
                  </a:lnTo>
                  <a:lnTo>
                    <a:pt x="184" y="359"/>
                  </a:lnTo>
                  <a:lnTo>
                    <a:pt x="189" y="363"/>
                  </a:lnTo>
                  <a:lnTo>
                    <a:pt x="194" y="364"/>
                  </a:lnTo>
                  <a:lnTo>
                    <a:pt x="208" y="364"/>
                  </a:lnTo>
                  <a:lnTo>
                    <a:pt x="216" y="362"/>
                  </a:lnTo>
                  <a:lnTo>
                    <a:pt x="222" y="362"/>
                  </a:lnTo>
                  <a:lnTo>
                    <a:pt x="226" y="362"/>
                  </a:lnTo>
                  <a:lnTo>
                    <a:pt x="225" y="347"/>
                  </a:lnTo>
                  <a:lnTo>
                    <a:pt x="223" y="345"/>
                  </a:lnTo>
                  <a:lnTo>
                    <a:pt x="224" y="338"/>
                  </a:lnTo>
                  <a:lnTo>
                    <a:pt x="227" y="332"/>
                  </a:lnTo>
                  <a:lnTo>
                    <a:pt x="237" y="328"/>
                  </a:lnTo>
                  <a:lnTo>
                    <a:pt x="243" y="324"/>
                  </a:lnTo>
                  <a:lnTo>
                    <a:pt x="246" y="321"/>
                  </a:lnTo>
                  <a:lnTo>
                    <a:pt x="251" y="319"/>
                  </a:lnTo>
                  <a:lnTo>
                    <a:pt x="254" y="319"/>
                  </a:lnTo>
                  <a:lnTo>
                    <a:pt x="255" y="320"/>
                  </a:lnTo>
                  <a:lnTo>
                    <a:pt x="264" y="322"/>
                  </a:lnTo>
                  <a:lnTo>
                    <a:pt x="265" y="323"/>
                  </a:lnTo>
                  <a:lnTo>
                    <a:pt x="266" y="324"/>
                  </a:lnTo>
                  <a:lnTo>
                    <a:pt x="269" y="324"/>
                  </a:lnTo>
                  <a:lnTo>
                    <a:pt x="275" y="326"/>
                  </a:lnTo>
                  <a:lnTo>
                    <a:pt x="276" y="324"/>
                  </a:lnTo>
                  <a:lnTo>
                    <a:pt x="281" y="324"/>
                  </a:lnTo>
                  <a:lnTo>
                    <a:pt x="282" y="325"/>
                  </a:lnTo>
                  <a:lnTo>
                    <a:pt x="286" y="325"/>
                  </a:lnTo>
                  <a:lnTo>
                    <a:pt x="289" y="327"/>
                  </a:lnTo>
                  <a:lnTo>
                    <a:pt x="290" y="329"/>
                  </a:lnTo>
                  <a:lnTo>
                    <a:pt x="292" y="330"/>
                  </a:lnTo>
                  <a:lnTo>
                    <a:pt x="298" y="331"/>
                  </a:lnTo>
                  <a:lnTo>
                    <a:pt x="303" y="335"/>
                  </a:lnTo>
                  <a:lnTo>
                    <a:pt x="311" y="336"/>
                  </a:lnTo>
                  <a:lnTo>
                    <a:pt x="324" y="330"/>
                  </a:lnTo>
                  <a:lnTo>
                    <a:pt x="325" y="329"/>
                  </a:lnTo>
                  <a:lnTo>
                    <a:pt x="325" y="325"/>
                  </a:lnTo>
                  <a:lnTo>
                    <a:pt x="330" y="322"/>
                  </a:lnTo>
                  <a:lnTo>
                    <a:pt x="336" y="316"/>
                  </a:lnTo>
                  <a:lnTo>
                    <a:pt x="339" y="315"/>
                  </a:lnTo>
                  <a:lnTo>
                    <a:pt x="340" y="312"/>
                  </a:lnTo>
                  <a:lnTo>
                    <a:pt x="350" y="307"/>
                  </a:lnTo>
                  <a:lnTo>
                    <a:pt x="350" y="306"/>
                  </a:lnTo>
                  <a:lnTo>
                    <a:pt x="350" y="304"/>
                  </a:lnTo>
                  <a:lnTo>
                    <a:pt x="351" y="301"/>
                  </a:lnTo>
                  <a:lnTo>
                    <a:pt x="351" y="297"/>
                  </a:lnTo>
                  <a:lnTo>
                    <a:pt x="349" y="293"/>
                  </a:lnTo>
                  <a:lnTo>
                    <a:pt x="336" y="291"/>
                  </a:lnTo>
                  <a:lnTo>
                    <a:pt x="333" y="287"/>
                  </a:lnTo>
                  <a:lnTo>
                    <a:pt x="332" y="281"/>
                  </a:lnTo>
                  <a:lnTo>
                    <a:pt x="331" y="275"/>
                  </a:lnTo>
                  <a:lnTo>
                    <a:pt x="332" y="270"/>
                  </a:lnTo>
                  <a:lnTo>
                    <a:pt x="332" y="266"/>
                  </a:lnTo>
                  <a:lnTo>
                    <a:pt x="327" y="264"/>
                  </a:lnTo>
                  <a:lnTo>
                    <a:pt x="327" y="262"/>
                  </a:lnTo>
                  <a:lnTo>
                    <a:pt x="326" y="260"/>
                  </a:lnTo>
                  <a:lnTo>
                    <a:pt x="327" y="255"/>
                  </a:lnTo>
                  <a:lnTo>
                    <a:pt x="330" y="252"/>
                  </a:lnTo>
                  <a:lnTo>
                    <a:pt x="336" y="248"/>
                  </a:lnTo>
                  <a:lnTo>
                    <a:pt x="335" y="243"/>
                  </a:lnTo>
                  <a:lnTo>
                    <a:pt x="329" y="230"/>
                  </a:lnTo>
                  <a:lnTo>
                    <a:pt x="328" y="227"/>
                  </a:lnTo>
                  <a:lnTo>
                    <a:pt x="328" y="224"/>
                  </a:lnTo>
                  <a:lnTo>
                    <a:pt x="334" y="224"/>
                  </a:lnTo>
                  <a:lnTo>
                    <a:pt x="332" y="218"/>
                  </a:lnTo>
                  <a:lnTo>
                    <a:pt x="328" y="217"/>
                  </a:lnTo>
                  <a:lnTo>
                    <a:pt x="327" y="211"/>
                  </a:lnTo>
                  <a:lnTo>
                    <a:pt x="327" y="203"/>
                  </a:lnTo>
                  <a:lnTo>
                    <a:pt x="326" y="202"/>
                  </a:lnTo>
                  <a:lnTo>
                    <a:pt x="317" y="202"/>
                  </a:lnTo>
                  <a:lnTo>
                    <a:pt x="311" y="211"/>
                  </a:lnTo>
                  <a:lnTo>
                    <a:pt x="307" y="213"/>
                  </a:lnTo>
                  <a:lnTo>
                    <a:pt x="305" y="212"/>
                  </a:lnTo>
                  <a:lnTo>
                    <a:pt x="306" y="200"/>
                  </a:lnTo>
                  <a:lnTo>
                    <a:pt x="308" y="194"/>
                  </a:lnTo>
                  <a:lnTo>
                    <a:pt x="310" y="192"/>
                  </a:lnTo>
                  <a:lnTo>
                    <a:pt x="312" y="188"/>
                  </a:lnTo>
                  <a:lnTo>
                    <a:pt x="315" y="186"/>
                  </a:lnTo>
                  <a:lnTo>
                    <a:pt x="317" y="185"/>
                  </a:lnTo>
                  <a:lnTo>
                    <a:pt x="318" y="179"/>
                  </a:lnTo>
                  <a:lnTo>
                    <a:pt x="321" y="175"/>
                  </a:lnTo>
                  <a:lnTo>
                    <a:pt x="333" y="162"/>
                  </a:lnTo>
                  <a:lnTo>
                    <a:pt x="331" y="159"/>
                  </a:lnTo>
                  <a:lnTo>
                    <a:pt x="333" y="156"/>
                  </a:lnTo>
                  <a:lnTo>
                    <a:pt x="342" y="156"/>
                  </a:lnTo>
                  <a:lnTo>
                    <a:pt x="346" y="155"/>
                  </a:lnTo>
                  <a:lnTo>
                    <a:pt x="350" y="151"/>
                  </a:lnTo>
                  <a:lnTo>
                    <a:pt x="349" y="150"/>
                  </a:lnTo>
                  <a:lnTo>
                    <a:pt x="348" y="145"/>
                  </a:lnTo>
                  <a:lnTo>
                    <a:pt x="348" y="130"/>
                  </a:lnTo>
                  <a:lnTo>
                    <a:pt x="353" y="118"/>
                  </a:lnTo>
                  <a:lnTo>
                    <a:pt x="354" y="111"/>
                  </a:lnTo>
                  <a:lnTo>
                    <a:pt x="363" y="99"/>
                  </a:lnTo>
                  <a:lnTo>
                    <a:pt x="364" y="93"/>
                  </a:lnTo>
                  <a:lnTo>
                    <a:pt x="357" y="90"/>
                  </a:lnTo>
                  <a:lnTo>
                    <a:pt x="336" y="84"/>
                  </a:lnTo>
                  <a:lnTo>
                    <a:pt x="326" y="83"/>
                  </a:lnTo>
                  <a:lnTo>
                    <a:pt x="323" y="78"/>
                  </a:lnTo>
                  <a:lnTo>
                    <a:pt x="319" y="74"/>
                  </a:lnTo>
                  <a:lnTo>
                    <a:pt x="312" y="68"/>
                  </a:lnTo>
                  <a:lnTo>
                    <a:pt x="306" y="69"/>
                  </a:lnTo>
                  <a:lnTo>
                    <a:pt x="297" y="66"/>
                  </a:lnTo>
                  <a:lnTo>
                    <a:pt x="293" y="67"/>
                  </a:lnTo>
                  <a:lnTo>
                    <a:pt x="287" y="66"/>
                  </a:lnTo>
                  <a:lnTo>
                    <a:pt x="283" y="62"/>
                  </a:lnTo>
                  <a:lnTo>
                    <a:pt x="277" y="59"/>
                  </a:lnTo>
                  <a:lnTo>
                    <a:pt x="278" y="56"/>
                  </a:lnTo>
                  <a:lnTo>
                    <a:pt x="276" y="55"/>
                  </a:lnTo>
                  <a:lnTo>
                    <a:pt x="276" y="43"/>
                  </a:lnTo>
                  <a:lnTo>
                    <a:pt x="273" y="43"/>
                  </a:lnTo>
                  <a:lnTo>
                    <a:pt x="269" y="47"/>
                  </a:lnTo>
                  <a:lnTo>
                    <a:pt x="267" y="51"/>
                  </a:lnTo>
                  <a:lnTo>
                    <a:pt x="262" y="51"/>
                  </a:lnTo>
                  <a:lnTo>
                    <a:pt x="256" y="48"/>
                  </a:lnTo>
                  <a:lnTo>
                    <a:pt x="255" y="40"/>
                  </a:lnTo>
                  <a:lnTo>
                    <a:pt x="254" y="36"/>
                  </a:lnTo>
                  <a:lnTo>
                    <a:pt x="251" y="33"/>
                  </a:lnTo>
                  <a:lnTo>
                    <a:pt x="244" y="31"/>
                  </a:lnTo>
                  <a:lnTo>
                    <a:pt x="237" y="26"/>
                  </a:lnTo>
                  <a:lnTo>
                    <a:pt x="232" y="25"/>
                  </a:lnTo>
                  <a:lnTo>
                    <a:pt x="227" y="15"/>
                  </a:lnTo>
                  <a:lnTo>
                    <a:pt x="221" y="16"/>
                  </a:lnTo>
                  <a:lnTo>
                    <a:pt x="215" y="13"/>
                  </a:lnTo>
                  <a:lnTo>
                    <a:pt x="214" y="8"/>
                  </a:lnTo>
                  <a:lnTo>
                    <a:pt x="214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798" name="Group 15"/>
          <p:cNvGrpSpPr>
            <a:grpSpLocks/>
          </p:cNvGrpSpPr>
          <p:nvPr/>
        </p:nvGrpSpPr>
        <p:grpSpPr bwMode="auto">
          <a:xfrm>
            <a:off x="4622800" y="5051425"/>
            <a:ext cx="142875" cy="90488"/>
            <a:chOff x="2154" y="3182"/>
            <a:chExt cx="90" cy="57"/>
          </a:xfrm>
        </p:grpSpPr>
        <p:sp>
          <p:nvSpPr>
            <p:cNvPr id="34468" name="Freeform 13"/>
            <p:cNvSpPr>
              <a:spLocks/>
            </p:cNvSpPr>
            <p:nvPr/>
          </p:nvSpPr>
          <p:spPr bwMode="auto">
            <a:xfrm>
              <a:off x="2154" y="3182"/>
              <a:ext cx="90" cy="57"/>
            </a:xfrm>
            <a:custGeom>
              <a:avLst/>
              <a:gdLst>
                <a:gd name="T0" fmla="*/ 90 w 90"/>
                <a:gd name="T1" fmla="*/ 0 h 57"/>
                <a:gd name="T2" fmla="*/ 88 w 90"/>
                <a:gd name="T3" fmla="*/ 0 h 57"/>
                <a:gd name="T4" fmla="*/ 88 w 90"/>
                <a:gd name="T5" fmla="*/ 1 h 57"/>
                <a:gd name="T6" fmla="*/ 88 w 90"/>
                <a:gd name="T7" fmla="*/ 6 h 57"/>
                <a:gd name="T8" fmla="*/ 80 w 90"/>
                <a:gd name="T9" fmla="*/ 18 h 57"/>
                <a:gd name="T10" fmla="*/ 75 w 90"/>
                <a:gd name="T11" fmla="*/ 31 h 57"/>
                <a:gd name="T12" fmla="*/ 75 w 90"/>
                <a:gd name="T13" fmla="*/ 34 h 57"/>
                <a:gd name="T14" fmla="*/ 77 w 90"/>
                <a:gd name="T15" fmla="*/ 36 h 57"/>
                <a:gd name="T16" fmla="*/ 77 w 90"/>
                <a:gd name="T17" fmla="*/ 39 h 57"/>
                <a:gd name="T18" fmla="*/ 80 w 90"/>
                <a:gd name="T19" fmla="*/ 45 h 57"/>
                <a:gd name="T20" fmla="*/ 77 w 90"/>
                <a:gd name="T21" fmla="*/ 54 h 57"/>
                <a:gd name="T22" fmla="*/ 76 w 90"/>
                <a:gd name="T23" fmla="*/ 57 h 57"/>
                <a:gd name="T24" fmla="*/ 68 w 90"/>
                <a:gd name="T25" fmla="*/ 57 h 57"/>
                <a:gd name="T26" fmla="*/ 62 w 90"/>
                <a:gd name="T27" fmla="*/ 56 h 57"/>
                <a:gd name="T28" fmla="*/ 56 w 90"/>
                <a:gd name="T29" fmla="*/ 51 h 57"/>
                <a:gd name="T30" fmla="*/ 52 w 90"/>
                <a:gd name="T31" fmla="*/ 46 h 57"/>
                <a:gd name="T32" fmla="*/ 44 w 90"/>
                <a:gd name="T33" fmla="*/ 43 h 57"/>
                <a:gd name="T34" fmla="*/ 40 w 90"/>
                <a:gd name="T35" fmla="*/ 43 h 57"/>
                <a:gd name="T36" fmla="*/ 35 w 90"/>
                <a:gd name="T37" fmla="*/ 41 h 57"/>
                <a:gd name="T38" fmla="*/ 32 w 90"/>
                <a:gd name="T39" fmla="*/ 37 h 57"/>
                <a:gd name="T40" fmla="*/ 26 w 90"/>
                <a:gd name="T41" fmla="*/ 34 h 57"/>
                <a:gd name="T42" fmla="*/ 19 w 90"/>
                <a:gd name="T43" fmla="*/ 29 h 57"/>
                <a:gd name="T44" fmla="*/ 13 w 90"/>
                <a:gd name="T45" fmla="*/ 26 h 57"/>
                <a:gd name="T46" fmla="*/ 4 w 90"/>
                <a:gd name="T47" fmla="*/ 25 h 57"/>
                <a:gd name="T48" fmla="*/ 1 w 90"/>
                <a:gd name="T49" fmla="*/ 21 h 57"/>
                <a:gd name="T50" fmla="*/ 0 w 90"/>
                <a:gd name="T51" fmla="*/ 13 h 57"/>
                <a:gd name="T52" fmla="*/ 1 w 90"/>
                <a:gd name="T53" fmla="*/ 9 h 57"/>
                <a:gd name="T54" fmla="*/ 2 w 90"/>
                <a:gd name="T55" fmla="*/ 7 h 57"/>
                <a:gd name="T56" fmla="*/ 3 w 90"/>
                <a:gd name="T57" fmla="*/ 5 h 57"/>
                <a:gd name="T58" fmla="*/ 5 w 90"/>
                <a:gd name="T59" fmla="*/ 4 h 57"/>
                <a:gd name="T60" fmla="*/ 10 w 90"/>
                <a:gd name="T61" fmla="*/ 8 h 57"/>
                <a:gd name="T62" fmla="*/ 13 w 90"/>
                <a:gd name="T63" fmla="*/ 7 h 57"/>
                <a:gd name="T64" fmla="*/ 22 w 90"/>
                <a:gd name="T65" fmla="*/ 2 h 57"/>
                <a:gd name="T66" fmla="*/ 32 w 90"/>
                <a:gd name="T67" fmla="*/ 8 h 57"/>
                <a:gd name="T68" fmla="*/ 35 w 90"/>
                <a:gd name="T69" fmla="*/ 11 h 57"/>
                <a:gd name="T70" fmla="*/ 38 w 90"/>
                <a:gd name="T71" fmla="*/ 11 h 57"/>
                <a:gd name="T72" fmla="*/ 42 w 90"/>
                <a:gd name="T73" fmla="*/ 10 h 57"/>
                <a:gd name="T74" fmla="*/ 58 w 90"/>
                <a:gd name="T75" fmla="*/ 8 h 57"/>
                <a:gd name="T76" fmla="*/ 62 w 90"/>
                <a:gd name="T77" fmla="*/ 7 h 57"/>
                <a:gd name="T78" fmla="*/ 67 w 90"/>
                <a:gd name="T79" fmla="*/ 4 h 57"/>
                <a:gd name="T80" fmla="*/ 77 w 90"/>
                <a:gd name="T81" fmla="*/ 4 h 57"/>
                <a:gd name="T82" fmla="*/ 80 w 90"/>
                <a:gd name="T83" fmla="*/ 2 h 57"/>
                <a:gd name="T84" fmla="*/ 86 w 90"/>
                <a:gd name="T85" fmla="*/ 1 h 57"/>
                <a:gd name="T86" fmla="*/ 90 w 90"/>
                <a:gd name="T87" fmla="*/ 0 h 5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90"/>
                <a:gd name="T133" fmla="*/ 0 h 57"/>
                <a:gd name="T134" fmla="*/ 90 w 90"/>
                <a:gd name="T135" fmla="*/ 57 h 5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90" h="57">
                  <a:moveTo>
                    <a:pt x="90" y="0"/>
                  </a:moveTo>
                  <a:lnTo>
                    <a:pt x="88" y="0"/>
                  </a:lnTo>
                  <a:lnTo>
                    <a:pt x="88" y="1"/>
                  </a:lnTo>
                  <a:lnTo>
                    <a:pt x="88" y="6"/>
                  </a:lnTo>
                  <a:lnTo>
                    <a:pt x="80" y="18"/>
                  </a:lnTo>
                  <a:lnTo>
                    <a:pt x="75" y="31"/>
                  </a:lnTo>
                  <a:lnTo>
                    <a:pt x="75" y="34"/>
                  </a:lnTo>
                  <a:lnTo>
                    <a:pt x="77" y="36"/>
                  </a:lnTo>
                  <a:lnTo>
                    <a:pt x="77" y="39"/>
                  </a:lnTo>
                  <a:lnTo>
                    <a:pt x="80" y="45"/>
                  </a:lnTo>
                  <a:lnTo>
                    <a:pt x="77" y="54"/>
                  </a:lnTo>
                  <a:lnTo>
                    <a:pt x="76" y="57"/>
                  </a:lnTo>
                  <a:lnTo>
                    <a:pt x="68" y="57"/>
                  </a:lnTo>
                  <a:lnTo>
                    <a:pt x="62" y="56"/>
                  </a:lnTo>
                  <a:lnTo>
                    <a:pt x="56" y="51"/>
                  </a:lnTo>
                  <a:lnTo>
                    <a:pt x="52" y="46"/>
                  </a:lnTo>
                  <a:lnTo>
                    <a:pt x="44" y="43"/>
                  </a:lnTo>
                  <a:lnTo>
                    <a:pt x="40" y="43"/>
                  </a:lnTo>
                  <a:lnTo>
                    <a:pt x="35" y="41"/>
                  </a:lnTo>
                  <a:lnTo>
                    <a:pt x="32" y="37"/>
                  </a:lnTo>
                  <a:lnTo>
                    <a:pt x="26" y="34"/>
                  </a:lnTo>
                  <a:lnTo>
                    <a:pt x="19" y="29"/>
                  </a:lnTo>
                  <a:lnTo>
                    <a:pt x="13" y="26"/>
                  </a:lnTo>
                  <a:lnTo>
                    <a:pt x="4" y="25"/>
                  </a:lnTo>
                  <a:lnTo>
                    <a:pt x="1" y="21"/>
                  </a:lnTo>
                  <a:lnTo>
                    <a:pt x="0" y="13"/>
                  </a:lnTo>
                  <a:lnTo>
                    <a:pt x="1" y="9"/>
                  </a:lnTo>
                  <a:lnTo>
                    <a:pt x="2" y="7"/>
                  </a:lnTo>
                  <a:lnTo>
                    <a:pt x="3" y="5"/>
                  </a:lnTo>
                  <a:lnTo>
                    <a:pt x="5" y="4"/>
                  </a:lnTo>
                  <a:lnTo>
                    <a:pt x="10" y="8"/>
                  </a:lnTo>
                  <a:lnTo>
                    <a:pt x="13" y="7"/>
                  </a:lnTo>
                  <a:lnTo>
                    <a:pt x="22" y="2"/>
                  </a:lnTo>
                  <a:lnTo>
                    <a:pt x="32" y="8"/>
                  </a:lnTo>
                  <a:lnTo>
                    <a:pt x="35" y="11"/>
                  </a:lnTo>
                  <a:lnTo>
                    <a:pt x="38" y="11"/>
                  </a:lnTo>
                  <a:lnTo>
                    <a:pt x="42" y="10"/>
                  </a:lnTo>
                  <a:lnTo>
                    <a:pt x="58" y="8"/>
                  </a:lnTo>
                  <a:lnTo>
                    <a:pt x="62" y="7"/>
                  </a:lnTo>
                  <a:lnTo>
                    <a:pt x="67" y="4"/>
                  </a:lnTo>
                  <a:lnTo>
                    <a:pt x="77" y="4"/>
                  </a:lnTo>
                  <a:lnTo>
                    <a:pt x="80" y="2"/>
                  </a:lnTo>
                  <a:lnTo>
                    <a:pt x="86" y="1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69" name="Freeform 14"/>
            <p:cNvSpPr>
              <a:spLocks/>
            </p:cNvSpPr>
            <p:nvPr/>
          </p:nvSpPr>
          <p:spPr bwMode="auto">
            <a:xfrm>
              <a:off x="2154" y="3182"/>
              <a:ext cx="90" cy="57"/>
            </a:xfrm>
            <a:custGeom>
              <a:avLst/>
              <a:gdLst>
                <a:gd name="T0" fmla="*/ 90 w 90"/>
                <a:gd name="T1" fmla="*/ 0 h 57"/>
                <a:gd name="T2" fmla="*/ 88 w 90"/>
                <a:gd name="T3" fmla="*/ 0 h 57"/>
                <a:gd name="T4" fmla="*/ 88 w 90"/>
                <a:gd name="T5" fmla="*/ 1 h 57"/>
                <a:gd name="T6" fmla="*/ 88 w 90"/>
                <a:gd name="T7" fmla="*/ 6 h 57"/>
                <a:gd name="T8" fmla="*/ 80 w 90"/>
                <a:gd name="T9" fmla="*/ 18 h 57"/>
                <a:gd name="T10" fmla="*/ 75 w 90"/>
                <a:gd name="T11" fmla="*/ 31 h 57"/>
                <a:gd name="T12" fmla="*/ 75 w 90"/>
                <a:gd name="T13" fmla="*/ 34 h 57"/>
                <a:gd name="T14" fmla="*/ 77 w 90"/>
                <a:gd name="T15" fmla="*/ 36 h 57"/>
                <a:gd name="T16" fmla="*/ 77 w 90"/>
                <a:gd name="T17" fmla="*/ 39 h 57"/>
                <a:gd name="T18" fmla="*/ 80 w 90"/>
                <a:gd name="T19" fmla="*/ 45 h 57"/>
                <a:gd name="T20" fmla="*/ 77 w 90"/>
                <a:gd name="T21" fmla="*/ 54 h 57"/>
                <a:gd name="T22" fmla="*/ 76 w 90"/>
                <a:gd name="T23" fmla="*/ 57 h 57"/>
                <a:gd name="T24" fmla="*/ 68 w 90"/>
                <a:gd name="T25" fmla="*/ 57 h 57"/>
                <a:gd name="T26" fmla="*/ 62 w 90"/>
                <a:gd name="T27" fmla="*/ 56 h 57"/>
                <a:gd name="T28" fmla="*/ 56 w 90"/>
                <a:gd name="T29" fmla="*/ 51 h 57"/>
                <a:gd name="T30" fmla="*/ 52 w 90"/>
                <a:gd name="T31" fmla="*/ 46 h 57"/>
                <a:gd name="T32" fmla="*/ 44 w 90"/>
                <a:gd name="T33" fmla="*/ 43 h 57"/>
                <a:gd name="T34" fmla="*/ 40 w 90"/>
                <a:gd name="T35" fmla="*/ 43 h 57"/>
                <a:gd name="T36" fmla="*/ 35 w 90"/>
                <a:gd name="T37" fmla="*/ 41 h 57"/>
                <a:gd name="T38" fmla="*/ 32 w 90"/>
                <a:gd name="T39" fmla="*/ 37 h 57"/>
                <a:gd name="T40" fmla="*/ 26 w 90"/>
                <a:gd name="T41" fmla="*/ 34 h 57"/>
                <a:gd name="T42" fmla="*/ 19 w 90"/>
                <a:gd name="T43" fmla="*/ 29 h 57"/>
                <a:gd name="T44" fmla="*/ 13 w 90"/>
                <a:gd name="T45" fmla="*/ 26 h 57"/>
                <a:gd name="T46" fmla="*/ 4 w 90"/>
                <a:gd name="T47" fmla="*/ 25 h 57"/>
                <a:gd name="T48" fmla="*/ 1 w 90"/>
                <a:gd name="T49" fmla="*/ 21 h 57"/>
                <a:gd name="T50" fmla="*/ 0 w 90"/>
                <a:gd name="T51" fmla="*/ 13 h 57"/>
                <a:gd name="T52" fmla="*/ 1 w 90"/>
                <a:gd name="T53" fmla="*/ 9 h 57"/>
                <a:gd name="T54" fmla="*/ 2 w 90"/>
                <a:gd name="T55" fmla="*/ 7 h 57"/>
                <a:gd name="T56" fmla="*/ 3 w 90"/>
                <a:gd name="T57" fmla="*/ 5 h 57"/>
                <a:gd name="T58" fmla="*/ 5 w 90"/>
                <a:gd name="T59" fmla="*/ 4 h 57"/>
                <a:gd name="T60" fmla="*/ 10 w 90"/>
                <a:gd name="T61" fmla="*/ 8 h 57"/>
                <a:gd name="T62" fmla="*/ 13 w 90"/>
                <a:gd name="T63" fmla="*/ 7 h 57"/>
                <a:gd name="T64" fmla="*/ 22 w 90"/>
                <a:gd name="T65" fmla="*/ 2 h 57"/>
                <a:gd name="T66" fmla="*/ 32 w 90"/>
                <a:gd name="T67" fmla="*/ 8 h 57"/>
                <a:gd name="T68" fmla="*/ 35 w 90"/>
                <a:gd name="T69" fmla="*/ 11 h 57"/>
                <a:gd name="T70" fmla="*/ 38 w 90"/>
                <a:gd name="T71" fmla="*/ 11 h 57"/>
                <a:gd name="T72" fmla="*/ 42 w 90"/>
                <a:gd name="T73" fmla="*/ 10 h 57"/>
                <a:gd name="T74" fmla="*/ 58 w 90"/>
                <a:gd name="T75" fmla="*/ 8 h 57"/>
                <a:gd name="T76" fmla="*/ 62 w 90"/>
                <a:gd name="T77" fmla="*/ 7 h 57"/>
                <a:gd name="T78" fmla="*/ 67 w 90"/>
                <a:gd name="T79" fmla="*/ 4 h 57"/>
                <a:gd name="T80" fmla="*/ 77 w 90"/>
                <a:gd name="T81" fmla="*/ 4 h 57"/>
                <a:gd name="T82" fmla="*/ 80 w 90"/>
                <a:gd name="T83" fmla="*/ 2 h 57"/>
                <a:gd name="T84" fmla="*/ 86 w 90"/>
                <a:gd name="T85" fmla="*/ 1 h 57"/>
                <a:gd name="T86" fmla="*/ 90 w 90"/>
                <a:gd name="T87" fmla="*/ 0 h 5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90"/>
                <a:gd name="T133" fmla="*/ 0 h 57"/>
                <a:gd name="T134" fmla="*/ 90 w 90"/>
                <a:gd name="T135" fmla="*/ 57 h 5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90" h="57">
                  <a:moveTo>
                    <a:pt x="90" y="0"/>
                  </a:moveTo>
                  <a:lnTo>
                    <a:pt x="88" y="0"/>
                  </a:lnTo>
                  <a:lnTo>
                    <a:pt x="88" y="1"/>
                  </a:lnTo>
                  <a:lnTo>
                    <a:pt x="88" y="6"/>
                  </a:lnTo>
                  <a:lnTo>
                    <a:pt x="80" y="18"/>
                  </a:lnTo>
                  <a:lnTo>
                    <a:pt x="75" y="31"/>
                  </a:lnTo>
                  <a:lnTo>
                    <a:pt x="75" y="34"/>
                  </a:lnTo>
                  <a:lnTo>
                    <a:pt x="77" y="36"/>
                  </a:lnTo>
                  <a:lnTo>
                    <a:pt x="77" y="39"/>
                  </a:lnTo>
                  <a:lnTo>
                    <a:pt x="80" y="45"/>
                  </a:lnTo>
                  <a:lnTo>
                    <a:pt x="77" y="54"/>
                  </a:lnTo>
                  <a:lnTo>
                    <a:pt x="76" y="57"/>
                  </a:lnTo>
                  <a:lnTo>
                    <a:pt x="68" y="57"/>
                  </a:lnTo>
                  <a:lnTo>
                    <a:pt x="62" y="56"/>
                  </a:lnTo>
                  <a:lnTo>
                    <a:pt x="56" y="51"/>
                  </a:lnTo>
                  <a:lnTo>
                    <a:pt x="52" y="46"/>
                  </a:lnTo>
                  <a:lnTo>
                    <a:pt x="44" y="43"/>
                  </a:lnTo>
                  <a:lnTo>
                    <a:pt x="40" y="43"/>
                  </a:lnTo>
                  <a:lnTo>
                    <a:pt x="35" y="41"/>
                  </a:lnTo>
                  <a:lnTo>
                    <a:pt x="32" y="37"/>
                  </a:lnTo>
                  <a:lnTo>
                    <a:pt x="26" y="34"/>
                  </a:lnTo>
                  <a:lnTo>
                    <a:pt x="19" y="29"/>
                  </a:lnTo>
                  <a:lnTo>
                    <a:pt x="13" y="26"/>
                  </a:lnTo>
                  <a:lnTo>
                    <a:pt x="4" y="25"/>
                  </a:lnTo>
                  <a:lnTo>
                    <a:pt x="1" y="21"/>
                  </a:lnTo>
                  <a:lnTo>
                    <a:pt x="0" y="13"/>
                  </a:lnTo>
                  <a:lnTo>
                    <a:pt x="1" y="9"/>
                  </a:lnTo>
                  <a:lnTo>
                    <a:pt x="2" y="7"/>
                  </a:lnTo>
                  <a:lnTo>
                    <a:pt x="3" y="5"/>
                  </a:lnTo>
                  <a:lnTo>
                    <a:pt x="5" y="4"/>
                  </a:lnTo>
                  <a:lnTo>
                    <a:pt x="10" y="8"/>
                  </a:lnTo>
                  <a:lnTo>
                    <a:pt x="13" y="7"/>
                  </a:lnTo>
                  <a:lnTo>
                    <a:pt x="22" y="2"/>
                  </a:lnTo>
                  <a:lnTo>
                    <a:pt x="32" y="8"/>
                  </a:lnTo>
                  <a:lnTo>
                    <a:pt x="35" y="11"/>
                  </a:lnTo>
                  <a:lnTo>
                    <a:pt x="38" y="11"/>
                  </a:lnTo>
                  <a:lnTo>
                    <a:pt x="42" y="10"/>
                  </a:lnTo>
                  <a:lnTo>
                    <a:pt x="58" y="8"/>
                  </a:lnTo>
                  <a:lnTo>
                    <a:pt x="62" y="7"/>
                  </a:lnTo>
                  <a:lnTo>
                    <a:pt x="67" y="4"/>
                  </a:lnTo>
                  <a:lnTo>
                    <a:pt x="77" y="4"/>
                  </a:lnTo>
                  <a:lnTo>
                    <a:pt x="80" y="2"/>
                  </a:lnTo>
                  <a:lnTo>
                    <a:pt x="86" y="1"/>
                  </a:lnTo>
                  <a:lnTo>
                    <a:pt x="90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799" name="Group 18"/>
          <p:cNvGrpSpPr>
            <a:grpSpLocks/>
          </p:cNvGrpSpPr>
          <p:nvPr/>
        </p:nvGrpSpPr>
        <p:grpSpPr bwMode="auto">
          <a:xfrm>
            <a:off x="4425950" y="4872038"/>
            <a:ext cx="69850" cy="144462"/>
            <a:chOff x="2030" y="3069"/>
            <a:chExt cx="44" cy="91"/>
          </a:xfrm>
        </p:grpSpPr>
        <p:sp>
          <p:nvSpPr>
            <p:cNvPr id="34466" name="Freeform 16"/>
            <p:cNvSpPr>
              <a:spLocks/>
            </p:cNvSpPr>
            <p:nvPr/>
          </p:nvSpPr>
          <p:spPr bwMode="auto">
            <a:xfrm>
              <a:off x="2030" y="3069"/>
              <a:ext cx="44" cy="91"/>
            </a:xfrm>
            <a:custGeom>
              <a:avLst/>
              <a:gdLst>
                <a:gd name="T0" fmla="*/ 27 w 44"/>
                <a:gd name="T1" fmla="*/ 0 h 91"/>
                <a:gd name="T2" fmla="*/ 34 w 44"/>
                <a:gd name="T3" fmla="*/ 3 h 91"/>
                <a:gd name="T4" fmla="*/ 35 w 44"/>
                <a:gd name="T5" fmla="*/ 4 h 91"/>
                <a:gd name="T6" fmla="*/ 38 w 44"/>
                <a:gd name="T7" fmla="*/ 7 h 91"/>
                <a:gd name="T8" fmla="*/ 40 w 44"/>
                <a:gd name="T9" fmla="*/ 12 h 91"/>
                <a:gd name="T10" fmla="*/ 43 w 44"/>
                <a:gd name="T11" fmla="*/ 23 h 91"/>
                <a:gd name="T12" fmla="*/ 44 w 44"/>
                <a:gd name="T13" fmla="*/ 33 h 91"/>
                <a:gd name="T14" fmla="*/ 43 w 44"/>
                <a:gd name="T15" fmla="*/ 42 h 91"/>
                <a:gd name="T16" fmla="*/ 43 w 44"/>
                <a:gd name="T17" fmla="*/ 58 h 91"/>
                <a:gd name="T18" fmla="*/ 43 w 44"/>
                <a:gd name="T19" fmla="*/ 73 h 91"/>
                <a:gd name="T20" fmla="*/ 41 w 44"/>
                <a:gd name="T21" fmla="*/ 76 h 91"/>
                <a:gd name="T22" fmla="*/ 41 w 44"/>
                <a:gd name="T23" fmla="*/ 79 h 91"/>
                <a:gd name="T24" fmla="*/ 38 w 44"/>
                <a:gd name="T25" fmla="*/ 81 h 91"/>
                <a:gd name="T26" fmla="*/ 31 w 44"/>
                <a:gd name="T27" fmla="*/ 79 h 91"/>
                <a:gd name="T28" fmla="*/ 28 w 44"/>
                <a:gd name="T29" fmla="*/ 82 h 91"/>
                <a:gd name="T30" fmla="*/ 26 w 44"/>
                <a:gd name="T31" fmla="*/ 87 h 91"/>
                <a:gd name="T32" fmla="*/ 22 w 44"/>
                <a:gd name="T33" fmla="*/ 90 h 91"/>
                <a:gd name="T34" fmla="*/ 17 w 44"/>
                <a:gd name="T35" fmla="*/ 91 h 91"/>
                <a:gd name="T36" fmla="*/ 14 w 44"/>
                <a:gd name="T37" fmla="*/ 89 h 91"/>
                <a:gd name="T38" fmla="*/ 8 w 44"/>
                <a:gd name="T39" fmla="*/ 80 h 91"/>
                <a:gd name="T40" fmla="*/ 7 w 44"/>
                <a:gd name="T41" fmla="*/ 76 h 91"/>
                <a:gd name="T42" fmla="*/ 8 w 44"/>
                <a:gd name="T43" fmla="*/ 73 h 91"/>
                <a:gd name="T44" fmla="*/ 6 w 44"/>
                <a:gd name="T45" fmla="*/ 69 h 91"/>
                <a:gd name="T46" fmla="*/ 8 w 44"/>
                <a:gd name="T47" fmla="*/ 58 h 91"/>
                <a:gd name="T48" fmla="*/ 10 w 44"/>
                <a:gd name="T49" fmla="*/ 56 h 91"/>
                <a:gd name="T50" fmla="*/ 10 w 44"/>
                <a:gd name="T51" fmla="*/ 53 h 91"/>
                <a:gd name="T52" fmla="*/ 9 w 44"/>
                <a:gd name="T53" fmla="*/ 51 h 91"/>
                <a:gd name="T54" fmla="*/ 8 w 44"/>
                <a:gd name="T55" fmla="*/ 46 h 91"/>
                <a:gd name="T56" fmla="*/ 8 w 44"/>
                <a:gd name="T57" fmla="*/ 42 h 91"/>
                <a:gd name="T58" fmla="*/ 8 w 44"/>
                <a:gd name="T59" fmla="*/ 37 h 91"/>
                <a:gd name="T60" fmla="*/ 7 w 44"/>
                <a:gd name="T61" fmla="*/ 33 h 91"/>
                <a:gd name="T62" fmla="*/ 5 w 44"/>
                <a:gd name="T63" fmla="*/ 29 h 91"/>
                <a:gd name="T64" fmla="*/ 4 w 44"/>
                <a:gd name="T65" fmla="*/ 28 h 91"/>
                <a:gd name="T66" fmla="*/ 2 w 44"/>
                <a:gd name="T67" fmla="*/ 28 h 91"/>
                <a:gd name="T68" fmla="*/ 0 w 44"/>
                <a:gd name="T69" fmla="*/ 25 h 91"/>
                <a:gd name="T70" fmla="*/ 0 w 44"/>
                <a:gd name="T71" fmla="*/ 14 h 91"/>
                <a:gd name="T72" fmla="*/ 1 w 44"/>
                <a:gd name="T73" fmla="*/ 13 h 91"/>
                <a:gd name="T74" fmla="*/ 5 w 44"/>
                <a:gd name="T75" fmla="*/ 18 h 91"/>
                <a:gd name="T76" fmla="*/ 11 w 44"/>
                <a:gd name="T77" fmla="*/ 17 h 91"/>
                <a:gd name="T78" fmla="*/ 21 w 44"/>
                <a:gd name="T79" fmla="*/ 7 h 91"/>
                <a:gd name="T80" fmla="*/ 25 w 44"/>
                <a:gd name="T81" fmla="*/ 5 h 91"/>
                <a:gd name="T82" fmla="*/ 27 w 44"/>
                <a:gd name="T83" fmla="*/ 0 h 9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4"/>
                <a:gd name="T127" fmla="*/ 0 h 91"/>
                <a:gd name="T128" fmla="*/ 44 w 44"/>
                <a:gd name="T129" fmla="*/ 91 h 9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4" h="91">
                  <a:moveTo>
                    <a:pt x="27" y="0"/>
                  </a:moveTo>
                  <a:lnTo>
                    <a:pt x="34" y="3"/>
                  </a:lnTo>
                  <a:lnTo>
                    <a:pt x="35" y="4"/>
                  </a:lnTo>
                  <a:lnTo>
                    <a:pt x="38" y="7"/>
                  </a:lnTo>
                  <a:lnTo>
                    <a:pt x="40" y="12"/>
                  </a:lnTo>
                  <a:lnTo>
                    <a:pt x="43" y="23"/>
                  </a:lnTo>
                  <a:lnTo>
                    <a:pt x="44" y="33"/>
                  </a:lnTo>
                  <a:lnTo>
                    <a:pt x="43" y="42"/>
                  </a:lnTo>
                  <a:lnTo>
                    <a:pt x="43" y="58"/>
                  </a:lnTo>
                  <a:lnTo>
                    <a:pt x="43" y="73"/>
                  </a:lnTo>
                  <a:lnTo>
                    <a:pt x="41" y="76"/>
                  </a:lnTo>
                  <a:lnTo>
                    <a:pt x="41" y="79"/>
                  </a:lnTo>
                  <a:lnTo>
                    <a:pt x="38" y="81"/>
                  </a:lnTo>
                  <a:lnTo>
                    <a:pt x="31" y="79"/>
                  </a:lnTo>
                  <a:lnTo>
                    <a:pt x="28" y="82"/>
                  </a:lnTo>
                  <a:lnTo>
                    <a:pt x="26" y="87"/>
                  </a:lnTo>
                  <a:lnTo>
                    <a:pt x="22" y="90"/>
                  </a:lnTo>
                  <a:lnTo>
                    <a:pt x="17" y="91"/>
                  </a:lnTo>
                  <a:lnTo>
                    <a:pt x="14" y="89"/>
                  </a:lnTo>
                  <a:lnTo>
                    <a:pt x="8" y="80"/>
                  </a:lnTo>
                  <a:lnTo>
                    <a:pt x="7" y="76"/>
                  </a:lnTo>
                  <a:lnTo>
                    <a:pt x="8" y="73"/>
                  </a:lnTo>
                  <a:lnTo>
                    <a:pt x="6" y="69"/>
                  </a:lnTo>
                  <a:lnTo>
                    <a:pt x="8" y="58"/>
                  </a:lnTo>
                  <a:lnTo>
                    <a:pt x="10" y="56"/>
                  </a:lnTo>
                  <a:lnTo>
                    <a:pt x="10" y="53"/>
                  </a:lnTo>
                  <a:lnTo>
                    <a:pt x="9" y="51"/>
                  </a:lnTo>
                  <a:lnTo>
                    <a:pt x="8" y="46"/>
                  </a:lnTo>
                  <a:lnTo>
                    <a:pt x="8" y="42"/>
                  </a:lnTo>
                  <a:lnTo>
                    <a:pt x="8" y="37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4" y="28"/>
                  </a:lnTo>
                  <a:lnTo>
                    <a:pt x="2" y="28"/>
                  </a:lnTo>
                  <a:lnTo>
                    <a:pt x="0" y="25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5" y="18"/>
                  </a:lnTo>
                  <a:lnTo>
                    <a:pt x="11" y="17"/>
                  </a:lnTo>
                  <a:lnTo>
                    <a:pt x="21" y="7"/>
                  </a:lnTo>
                  <a:lnTo>
                    <a:pt x="25" y="5"/>
                  </a:lnTo>
                  <a:lnTo>
                    <a:pt x="27" y="0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67" name="Freeform 17"/>
            <p:cNvSpPr>
              <a:spLocks/>
            </p:cNvSpPr>
            <p:nvPr/>
          </p:nvSpPr>
          <p:spPr bwMode="auto">
            <a:xfrm>
              <a:off x="2030" y="3069"/>
              <a:ext cx="44" cy="91"/>
            </a:xfrm>
            <a:custGeom>
              <a:avLst/>
              <a:gdLst>
                <a:gd name="T0" fmla="*/ 27 w 44"/>
                <a:gd name="T1" fmla="*/ 0 h 91"/>
                <a:gd name="T2" fmla="*/ 34 w 44"/>
                <a:gd name="T3" fmla="*/ 3 h 91"/>
                <a:gd name="T4" fmla="*/ 35 w 44"/>
                <a:gd name="T5" fmla="*/ 4 h 91"/>
                <a:gd name="T6" fmla="*/ 38 w 44"/>
                <a:gd name="T7" fmla="*/ 7 h 91"/>
                <a:gd name="T8" fmla="*/ 40 w 44"/>
                <a:gd name="T9" fmla="*/ 12 h 91"/>
                <a:gd name="T10" fmla="*/ 43 w 44"/>
                <a:gd name="T11" fmla="*/ 23 h 91"/>
                <a:gd name="T12" fmla="*/ 44 w 44"/>
                <a:gd name="T13" fmla="*/ 33 h 91"/>
                <a:gd name="T14" fmla="*/ 43 w 44"/>
                <a:gd name="T15" fmla="*/ 42 h 91"/>
                <a:gd name="T16" fmla="*/ 43 w 44"/>
                <a:gd name="T17" fmla="*/ 58 h 91"/>
                <a:gd name="T18" fmla="*/ 43 w 44"/>
                <a:gd name="T19" fmla="*/ 73 h 91"/>
                <a:gd name="T20" fmla="*/ 41 w 44"/>
                <a:gd name="T21" fmla="*/ 76 h 91"/>
                <a:gd name="T22" fmla="*/ 41 w 44"/>
                <a:gd name="T23" fmla="*/ 79 h 91"/>
                <a:gd name="T24" fmla="*/ 38 w 44"/>
                <a:gd name="T25" fmla="*/ 81 h 91"/>
                <a:gd name="T26" fmla="*/ 31 w 44"/>
                <a:gd name="T27" fmla="*/ 79 h 91"/>
                <a:gd name="T28" fmla="*/ 28 w 44"/>
                <a:gd name="T29" fmla="*/ 82 h 91"/>
                <a:gd name="T30" fmla="*/ 26 w 44"/>
                <a:gd name="T31" fmla="*/ 87 h 91"/>
                <a:gd name="T32" fmla="*/ 22 w 44"/>
                <a:gd name="T33" fmla="*/ 90 h 91"/>
                <a:gd name="T34" fmla="*/ 17 w 44"/>
                <a:gd name="T35" fmla="*/ 91 h 91"/>
                <a:gd name="T36" fmla="*/ 14 w 44"/>
                <a:gd name="T37" fmla="*/ 89 h 91"/>
                <a:gd name="T38" fmla="*/ 8 w 44"/>
                <a:gd name="T39" fmla="*/ 80 h 91"/>
                <a:gd name="T40" fmla="*/ 7 w 44"/>
                <a:gd name="T41" fmla="*/ 76 h 91"/>
                <a:gd name="T42" fmla="*/ 8 w 44"/>
                <a:gd name="T43" fmla="*/ 73 h 91"/>
                <a:gd name="T44" fmla="*/ 6 w 44"/>
                <a:gd name="T45" fmla="*/ 69 h 91"/>
                <a:gd name="T46" fmla="*/ 8 w 44"/>
                <a:gd name="T47" fmla="*/ 58 h 91"/>
                <a:gd name="T48" fmla="*/ 10 w 44"/>
                <a:gd name="T49" fmla="*/ 56 h 91"/>
                <a:gd name="T50" fmla="*/ 10 w 44"/>
                <a:gd name="T51" fmla="*/ 53 h 91"/>
                <a:gd name="T52" fmla="*/ 9 w 44"/>
                <a:gd name="T53" fmla="*/ 51 h 91"/>
                <a:gd name="T54" fmla="*/ 8 w 44"/>
                <a:gd name="T55" fmla="*/ 46 h 91"/>
                <a:gd name="T56" fmla="*/ 8 w 44"/>
                <a:gd name="T57" fmla="*/ 42 h 91"/>
                <a:gd name="T58" fmla="*/ 8 w 44"/>
                <a:gd name="T59" fmla="*/ 37 h 91"/>
                <a:gd name="T60" fmla="*/ 7 w 44"/>
                <a:gd name="T61" fmla="*/ 33 h 91"/>
                <a:gd name="T62" fmla="*/ 5 w 44"/>
                <a:gd name="T63" fmla="*/ 29 h 91"/>
                <a:gd name="T64" fmla="*/ 4 w 44"/>
                <a:gd name="T65" fmla="*/ 28 h 91"/>
                <a:gd name="T66" fmla="*/ 2 w 44"/>
                <a:gd name="T67" fmla="*/ 28 h 91"/>
                <a:gd name="T68" fmla="*/ 0 w 44"/>
                <a:gd name="T69" fmla="*/ 25 h 91"/>
                <a:gd name="T70" fmla="*/ 0 w 44"/>
                <a:gd name="T71" fmla="*/ 14 h 91"/>
                <a:gd name="T72" fmla="*/ 1 w 44"/>
                <a:gd name="T73" fmla="*/ 13 h 91"/>
                <a:gd name="T74" fmla="*/ 5 w 44"/>
                <a:gd name="T75" fmla="*/ 18 h 91"/>
                <a:gd name="T76" fmla="*/ 11 w 44"/>
                <a:gd name="T77" fmla="*/ 17 h 91"/>
                <a:gd name="T78" fmla="*/ 21 w 44"/>
                <a:gd name="T79" fmla="*/ 7 h 91"/>
                <a:gd name="T80" fmla="*/ 25 w 44"/>
                <a:gd name="T81" fmla="*/ 5 h 91"/>
                <a:gd name="T82" fmla="*/ 27 w 44"/>
                <a:gd name="T83" fmla="*/ 0 h 9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4"/>
                <a:gd name="T127" fmla="*/ 0 h 91"/>
                <a:gd name="T128" fmla="*/ 44 w 44"/>
                <a:gd name="T129" fmla="*/ 91 h 9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4" h="91">
                  <a:moveTo>
                    <a:pt x="27" y="0"/>
                  </a:moveTo>
                  <a:lnTo>
                    <a:pt x="34" y="3"/>
                  </a:lnTo>
                  <a:lnTo>
                    <a:pt x="35" y="4"/>
                  </a:lnTo>
                  <a:lnTo>
                    <a:pt x="38" y="7"/>
                  </a:lnTo>
                  <a:lnTo>
                    <a:pt x="40" y="12"/>
                  </a:lnTo>
                  <a:lnTo>
                    <a:pt x="43" y="23"/>
                  </a:lnTo>
                  <a:lnTo>
                    <a:pt x="44" y="33"/>
                  </a:lnTo>
                  <a:lnTo>
                    <a:pt x="43" y="42"/>
                  </a:lnTo>
                  <a:lnTo>
                    <a:pt x="43" y="58"/>
                  </a:lnTo>
                  <a:lnTo>
                    <a:pt x="43" y="73"/>
                  </a:lnTo>
                  <a:lnTo>
                    <a:pt x="41" y="76"/>
                  </a:lnTo>
                  <a:lnTo>
                    <a:pt x="41" y="79"/>
                  </a:lnTo>
                  <a:lnTo>
                    <a:pt x="38" y="81"/>
                  </a:lnTo>
                  <a:lnTo>
                    <a:pt x="31" y="79"/>
                  </a:lnTo>
                  <a:lnTo>
                    <a:pt x="28" y="82"/>
                  </a:lnTo>
                  <a:lnTo>
                    <a:pt x="26" y="87"/>
                  </a:lnTo>
                  <a:lnTo>
                    <a:pt x="22" y="90"/>
                  </a:lnTo>
                  <a:lnTo>
                    <a:pt x="17" y="91"/>
                  </a:lnTo>
                  <a:lnTo>
                    <a:pt x="14" y="89"/>
                  </a:lnTo>
                  <a:lnTo>
                    <a:pt x="8" y="80"/>
                  </a:lnTo>
                  <a:lnTo>
                    <a:pt x="7" y="76"/>
                  </a:lnTo>
                  <a:lnTo>
                    <a:pt x="8" y="73"/>
                  </a:lnTo>
                  <a:lnTo>
                    <a:pt x="6" y="69"/>
                  </a:lnTo>
                  <a:lnTo>
                    <a:pt x="8" y="58"/>
                  </a:lnTo>
                  <a:lnTo>
                    <a:pt x="10" y="56"/>
                  </a:lnTo>
                  <a:lnTo>
                    <a:pt x="10" y="53"/>
                  </a:lnTo>
                  <a:lnTo>
                    <a:pt x="9" y="51"/>
                  </a:lnTo>
                  <a:lnTo>
                    <a:pt x="8" y="46"/>
                  </a:lnTo>
                  <a:lnTo>
                    <a:pt x="8" y="42"/>
                  </a:lnTo>
                  <a:lnTo>
                    <a:pt x="8" y="37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4" y="28"/>
                  </a:lnTo>
                  <a:lnTo>
                    <a:pt x="2" y="28"/>
                  </a:lnTo>
                  <a:lnTo>
                    <a:pt x="0" y="25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5" y="18"/>
                  </a:lnTo>
                  <a:lnTo>
                    <a:pt x="11" y="17"/>
                  </a:lnTo>
                  <a:lnTo>
                    <a:pt x="21" y="7"/>
                  </a:lnTo>
                  <a:lnTo>
                    <a:pt x="25" y="5"/>
                  </a:lnTo>
                  <a:lnTo>
                    <a:pt x="27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00" name="Group 21"/>
          <p:cNvGrpSpPr>
            <a:grpSpLocks/>
          </p:cNvGrpSpPr>
          <p:nvPr/>
        </p:nvGrpSpPr>
        <p:grpSpPr bwMode="auto">
          <a:xfrm>
            <a:off x="4357688" y="4506913"/>
            <a:ext cx="538162" cy="563562"/>
            <a:chOff x="1987" y="2839"/>
            <a:chExt cx="339" cy="355"/>
          </a:xfrm>
        </p:grpSpPr>
        <p:sp>
          <p:nvSpPr>
            <p:cNvPr id="34464" name="Freeform 19"/>
            <p:cNvSpPr>
              <a:spLocks/>
            </p:cNvSpPr>
            <p:nvPr/>
          </p:nvSpPr>
          <p:spPr bwMode="auto">
            <a:xfrm>
              <a:off x="1987" y="2839"/>
              <a:ext cx="339" cy="355"/>
            </a:xfrm>
            <a:custGeom>
              <a:avLst/>
              <a:gdLst>
                <a:gd name="T0" fmla="*/ 103 w 339"/>
                <a:gd name="T1" fmla="*/ 20 h 355"/>
                <a:gd name="T2" fmla="*/ 98 w 339"/>
                <a:gd name="T3" fmla="*/ 30 h 355"/>
                <a:gd name="T4" fmla="*/ 78 w 339"/>
                <a:gd name="T5" fmla="*/ 27 h 355"/>
                <a:gd name="T6" fmla="*/ 66 w 339"/>
                <a:gd name="T7" fmla="*/ 46 h 355"/>
                <a:gd name="T8" fmla="*/ 52 w 339"/>
                <a:gd name="T9" fmla="*/ 37 h 355"/>
                <a:gd name="T10" fmla="*/ 39 w 339"/>
                <a:gd name="T11" fmla="*/ 39 h 355"/>
                <a:gd name="T12" fmla="*/ 12 w 339"/>
                <a:gd name="T13" fmla="*/ 49 h 355"/>
                <a:gd name="T14" fmla="*/ 3 w 339"/>
                <a:gd name="T15" fmla="*/ 56 h 355"/>
                <a:gd name="T16" fmla="*/ 1 w 339"/>
                <a:gd name="T17" fmla="*/ 81 h 355"/>
                <a:gd name="T18" fmla="*/ 6 w 339"/>
                <a:gd name="T19" fmla="*/ 92 h 355"/>
                <a:gd name="T20" fmla="*/ 7 w 339"/>
                <a:gd name="T21" fmla="*/ 113 h 355"/>
                <a:gd name="T22" fmla="*/ 25 w 339"/>
                <a:gd name="T23" fmla="*/ 127 h 355"/>
                <a:gd name="T24" fmla="*/ 34 w 339"/>
                <a:gd name="T25" fmla="*/ 132 h 355"/>
                <a:gd name="T26" fmla="*/ 50 w 339"/>
                <a:gd name="T27" fmla="*/ 116 h 355"/>
                <a:gd name="T28" fmla="*/ 70 w 339"/>
                <a:gd name="T29" fmla="*/ 110 h 355"/>
                <a:gd name="T30" fmla="*/ 103 w 339"/>
                <a:gd name="T31" fmla="*/ 135 h 355"/>
                <a:gd name="T32" fmla="*/ 122 w 339"/>
                <a:gd name="T33" fmla="*/ 174 h 355"/>
                <a:gd name="T34" fmla="*/ 136 w 339"/>
                <a:gd name="T35" fmla="*/ 186 h 355"/>
                <a:gd name="T36" fmla="*/ 163 w 339"/>
                <a:gd name="T37" fmla="*/ 214 h 355"/>
                <a:gd name="T38" fmla="*/ 200 w 339"/>
                <a:gd name="T39" fmla="*/ 231 h 355"/>
                <a:gd name="T40" fmla="*/ 221 w 339"/>
                <a:gd name="T41" fmla="*/ 250 h 355"/>
                <a:gd name="T42" fmla="*/ 234 w 339"/>
                <a:gd name="T43" fmla="*/ 255 h 355"/>
                <a:gd name="T44" fmla="*/ 240 w 339"/>
                <a:gd name="T45" fmla="*/ 271 h 355"/>
                <a:gd name="T46" fmla="*/ 254 w 339"/>
                <a:gd name="T47" fmla="*/ 275 h 355"/>
                <a:gd name="T48" fmla="*/ 262 w 339"/>
                <a:gd name="T49" fmla="*/ 291 h 355"/>
                <a:gd name="T50" fmla="*/ 267 w 339"/>
                <a:gd name="T51" fmla="*/ 325 h 355"/>
                <a:gd name="T52" fmla="*/ 259 w 339"/>
                <a:gd name="T53" fmla="*/ 345 h 355"/>
                <a:gd name="T54" fmla="*/ 261 w 339"/>
                <a:gd name="T55" fmla="*/ 355 h 355"/>
                <a:gd name="T56" fmla="*/ 275 w 339"/>
                <a:gd name="T57" fmla="*/ 345 h 355"/>
                <a:gd name="T58" fmla="*/ 284 w 339"/>
                <a:gd name="T59" fmla="*/ 335 h 355"/>
                <a:gd name="T60" fmla="*/ 296 w 339"/>
                <a:gd name="T61" fmla="*/ 317 h 355"/>
                <a:gd name="T62" fmla="*/ 299 w 339"/>
                <a:gd name="T63" fmla="*/ 305 h 355"/>
                <a:gd name="T64" fmla="*/ 289 w 339"/>
                <a:gd name="T65" fmla="*/ 291 h 355"/>
                <a:gd name="T66" fmla="*/ 290 w 339"/>
                <a:gd name="T67" fmla="*/ 266 h 355"/>
                <a:gd name="T68" fmla="*/ 318 w 339"/>
                <a:gd name="T69" fmla="*/ 267 h 355"/>
                <a:gd name="T70" fmla="*/ 335 w 339"/>
                <a:gd name="T71" fmla="*/ 284 h 355"/>
                <a:gd name="T72" fmla="*/ 334 w 339"/>
                <a:gd name="T73" fmla="*/ 266 h 355"/>
                <a:gd name="T74" fmla="*/ 301 w 339"/>
                <a:gd name="T75" fmla="*/ 239 h 355"/>
                <a:gd name="T76" fmla="*/ 268 w 339"/>
                <a:gd name="T77" fmla="*/ 224 h 355"/>
                <a:gd name="T78" fmla="*/ 268 w 339"/>
                <a:gd name="T79" fmla="*/ 216 h 355"/>
                <a:gd name="T80" fmla="*/ 263 w 339"/>
                <a:gd name="T81" fmla="*/ 205 h 355"/>
                <a:gd name="T82" fmla="*/ 245 w 339"/>
                <a:gd name="T83" fmla="*/ 206 h 355"/>
                <a:gd name="T84" fmla="*/ 230 w 339"/>
                <a:gd name="T85" fmla="*/ 199 h 355"/>
                <a:gd name="T86" fmla="*/ 213 w 339"/>
                <a:gd name="T87" fmla="*/ 180 h 355"/>
                <a:gd name="T88" fmla="*/ 201 w 339"/>
                <a:gd name="T89" fmla="*/ 148 h 355"/>
                <a:gd name="T90" fmla="*/ 191 w 339"/>
                <a:gd name="T91" fmla="*/ 137 h 355"/>
                <a:gd name="T92" fmla="*/ 165 w 339"/>
                <a:gd name="T93" fmla="*/ 119 h 355"/>
                <a:gd name="T94" fmla="*/ 162 w 339"/>
                <a:gd name="T95" fmla="*/ 92 h 355"/>
                <a:gd name="T96" fmla="*/ 160 w 339"/>
                <a:gd name="T97" fmla="*/ 81 h 355"/>
                <a:gd name="T98" fmla="*/ 168 w 339"/>
                <a:gd name="T99" fmla="*/ 65 h 355"/>
                <a:gd name="T100" fmla="*/ 193 w 339"/>
                <a:gd name="T101" fmla="*/ 57 h 355"/>
                <a:gd name="T102" fmla="*/ 200 w 339"/>
                <a:gd name="T103" fmla="*/ 62 h 355"/>
                <a:gd name="T104" fmla="*/ 207 w 339"/>
                <a:gd name="T105" fmla="*/ 62 h 355"/>
                <a:gd name="T106" fmla="*/ 203 w 339"/>
                <a:gd name="T107" fmla="*/ 54 h 355"/>
                <a:gd name="T108" fmla="*/ 195 w 339"/>
                <a:gd name="T109" fmla="*/ 43 h 355"/>
                <a:gd name="T110" fmla="*/ 193 w 339"/>
                <a:gd name="T111" fmla="*/ 35 h 355"/>
                <a:gd name="T112" fmla="*/ 195 w 339"/>
                <a:gd name="T113" fmla="*/ 24 h 355"/>
                <a:gd name="T114" fmla="*/ 165 w 339"/>
                <a:gd name="T115" fmla="*/ 15 h 355"/>
                <a:gd name="T116" fmla="*/ 156 w 339"/>
                <a:gd name="T117" fmla="*/ 1 h 355"/>
                <a:gd name="T118" fmla="*/ 144 w 339"/>
                <a:gd name="T119" fmla="*/ 3 h 355"/>
                <a:gd name="T120" fmla="*/ 113 w 339"/>
                <a:gd name="T121" fmla="*/ 11 h 35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39"/>
                <a:gd name="T184" fmla="*/ 0 h 355"/>
                <a:gd name="T185" fmla="*/ 339 w 339"/>
                <a:gd name="T186" fmla="*/ 355 h 35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39" h="355">
                  <a:moveTo>
                    <a:pt x="106" y="9"/>
                  </a:moveTo>
                  <a:lnTo>
                    <a:pt x="105" y="14"/>
                  </a:lnTo>
                  <a:lnTo>
                    <a:pt x="105" y="18"/>
                  </a:lnTo>
                  <a:lnTo>
                    <a:pt x="103" y="20"/>
                  </a:lnTo>
                  <a:lnTo>
                    <a:pt x="97" y="20"/>
                  </a:lnTo>
                  <a:lnTo>
                    <a:pt x="96" y="23"/>
                  </a:lnTo>
                  <a:lnTo>
                    <a:pt x="97" y="27"/>
                  </a:lnTo>
                  <a:lnTo>
                    <a:pt x="98" y="30"/>
                  </a:lnTo>
                  <a:lnTo>
                    <a:pt x="97" y="32"/>
                  </a:lnTo>
                  <a:lnTo>
                    <a:pt x="87" y="30"/>
                  </a:lnTo>
                  <a:lnTo>
                    <a:pt x="81" y="30"/>
                  </a:lnTo>
                  <a:lnTo>
                    <a:pt x="78" y="27"/>
                  </a:lnTo>
                  <a:lnTo>
                    <a:pt x="74" y="25"/>
                  </a:lnTo>
                  <a:lnTo>
                    <a:pt x="72" y="31"/>
                  </a:lnTo>
                  <a:lnTo>
                    <a:pt x="67" y="41"/>
                  </a:lnTo>
                  <a:lnTo>
                    <a:pt x="66" y="46"/>
                  </a:lnTo>
                  <a:lnTo>
                    <a:pt x="64" y="48"/>
                  </a:lnTo>
                  <a:lnTo>
                    <a:pt x="61" y="46"/>
                  </a:lnTo>
                  <a:lnTo>
                    <a:pt x="58" y="42"/>
                  </a:lnTo>
                  <a:lnTo>
                    <a:pt x="52" y="37"/>
                  </a:lnTo>
                  <a:lnTo>
                    <a:pt x="48" y="27"/>
                  </a:lnTo>
                  <a:lnTo>
                    <a:pt x="43" y="31"/>
                  </a:lnTo>
                  <a:lnTo>
                    <a:pt x="39" y="35"/>
                  </a:lnTo>
                  <a:lnTo>
                    <a:pt x="39" y="39"/>
                  </a:lnTo>
                  <a:lnTo>
                    <a:pt x="38" y="42"/>
                  </a:lnTo>
                  <a:lnTo>
                    <a:pt x="32" y="47"/>
                  </a:lnTo>
                  <a:lnTo>
                    <a:pt x="25" y="46"/>
                  </a:lnTo>
                  <a:lnTo>
                    <a:pt x="12" y="49"/>
                  </a:lnTo>
                  <a:lnTo>
                    <a:pt x="8" y="50"/>
                  </a:lnTo>
                  <a:lnTo>
                    <a:pt x="2" y="50"/>
                  </a:lnTo>
                  <a:lnTo>
                    <a:pt x="2" y="53"/>
                  </a:lnTo>
                  <a:lnTo>
                    <a:pt x="3" y="56"/>
                  </a:lnTo>
                  <a:lnTo>
                    <a:pt x="8" y="69"/>
                  </a:lnTo>
                  <a:lnTo>
                    <a:pt x="10" y="74"/>
                  </a:lnTo>
                  <a:lnTo>
                    <a:pt x="4" y="78"/>
                  </a:lnTo>
                  <a:lnTo>
                    <a:pt x="1" y="81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1" y="90"/>
                  </a:lnTo>
                  <a:lnTo>
                    <a:pt x="6" y="92"/>
                  </a:lnTo>
                  <a:lnTo>
                    <a:pt x="6" y="96"/>
                  </a:lnTo>
                  <a:lnTo>
                    <a:pt x="5" y="101"/>
                  </a:lnTo>
                  <a:lnTo>
                    <a:pt x="6" y="107"/>
                  </a:lnTo>
                  <a:lnTo>
                    <a:pt x="7" y="113"/>
                  </a:lnTo>
                  <a:lnTo>
                    <a:pt x="10" y="117"/>
                  </a:lnTo>
                  <a:lnTo>
                    <a:pt x="23" y="119"/>
                  </a:lnTo>
                  <a:lnTo>
                    <a:pt x="25" y="123"/>
                  </a:lnTo>
                  <a:lnTo>
                    <a:pt x="25" y="127"/>
                  </a:lnTo>
                  <a:lnTo>
                    <a:pt x="24" y="130"/>
                  </a:lnTo>
                  <a:lnTo>
                    <a:pt x="24" y="132"/>
                  </a:lnTo>
                  <a:lnTo>
                    <a:pt x="29" y="133"/>
                  </a:lnTo>
                  <a:lnTo>
                    <a:pt x="34" y="132"/>
                  </a:lnTo>
                  <a:lnTo>
                    <a:pt x="42" y="128"/>
                  </a:lnTo>
                  <a:lnTo>
                    <a:pt x="43" y="124"/>
                  </a:lnTo>
                  <a:lnTo>
                    <a:pt x="48" y="118"/>
                  </a:lnTo>
                  <a:lnTo>
                    <a:pt x="50" y="116"/>
                  </a:lnTo>
                  <a:lnTo>
                    <a:pt x="51" y="113"/>
                  </a:lnTo>
                  <a:lnTo>
                    <a:pt x="60" y="109"/>
                  </a:lnTo>
                  <a:lnTo>
                    <a:pt x="65" y="109"/>
                  </a:lnTo>
                  <a:lnTo>
                    <a:pt x="70" y="110"/>
                  </a:lnTo>
                  <a:lnTo>
                    <a:pt x="91" y="123"/>
                  </a:lnTo>
                  <a:lnTo>
                    <a:pt x="100" y="126"/>
                  </a:lnTo>
                  <a:lnTo>
                    <a:pt x="101" y="129"/>
                  </a:lnTo>
                  <a:lnTo>
                    <a:pt x="103" y="135"/>
                  </a:lnTo>
                  <a:lnTo>
                    <a:pt x="109" y="153"/>
                  </a:lnTo>
                  <a:lnTo>
                    <a:pt x="111" y="159"/>
                  </a:lnTo>
                  <a:lnTo>
                    <a:pt x="111" y="163"/>
                  </a:lnTo>
                  <a:lnTo>
                    <a:pt x="122" y="174"/>
                  </a:lnTo>
                  <a:lnTo>
                    <a:pt x="127" y="180"/>
                  </a:lnTo>
                  <a:lnTo>
                    <a:pt x="129" y="188"/>
                  </a:lnTo>
                  <a:lnTo>
                    <a:pt x="133" y="186"/>
                  </a:lnTo>
                  <a:lnTo>
                    <a:pt x="136" y="186"/>
                  </a:lnTo>
                  <a:lnTo>
                    <a:pt x="141" y="190"/>
                  </a:lnTo>
                  <a:lnTo>
                    <a:pt x="149" y="201"/>
                  </a:lnTo>
                  <a:lnTo>
                    <a:pt x="154" y="202"/>
                  </a:lnTo>
                  <a:lnTo>
                    <a:pt x="163" y="214"/>
                  </a:lnTo>
                  <a:lnTo>
                    <a:pt x="170" y="221"/>
                  </a:lnTo>
                  <a:lnTo>
                    <a:pt x="183" y="232"/>
                  </a:lnTo>
                  <a:lnTo>
                    <a:pt x="186" y="231"/>
                  </a:lnTo>
                  <a:lnTo>
                    <a:pt x="200" y="231"/>
                  </a:lnTo>
                  <a:lnTo>
                    <a:pt x="203" y="232"/>
                  </a:lnTo>
                  <a:lnTo>
                    <a:pt x="210" y="241"/>
                  </a:lnTo>
                  <a:lnTo>
                    <a:pt x="213" y="246"/>
                  </a:lnTo>
                  <a:lnTo>
                    <a:pt x="221" y="250"/>
                  </a:lnTo>
                  <a:lnTo>
                    <a:pt x="222" y="251"/>
                  </a:lnTo>
                  <a:lnTo>
                    <a:pt x="221" y="256"/>
                  </a:lnTo>
                  <a:lnTo>
                    <a:pt x="231" y="254"/>
                  </a:lnTo>
                  <a:lnTo>
                    <a:pt x="234" y="255"/>
                  </a:lnTo>
                  <a:lnTo>
                    <a:pt x="236" y="258"/>
                  </a:lnTo>
                  <a:lnTo>
                    <a:pt x="238" y="263"/>
                  </a:lnTo>
                  <a:lnTo>
                    <a:pt x="237" y="267"/>
                  </a:lnTo>
                  <a:lnTo>
                    <a:pt x="240" y="271"/>
                  </a:lnTo>
                  <a:lnTo>
                    <a:pt x="246" y="273"/>
                  </a:lnTo>
                  <a:lnTo>
                    <a:pt x="249" y="276"/>
                  </a:lnTo>
                  <a:lnTo>
                    <a:pt x="251" y="280"/>
                  </a:lnTo>
                  <a:lnTo>
                    <a:pt x="254" y="275"/>
                  </a:lnTo>
                  <a:lnTo>
                    <a:pt x="257" y="275"/>
                  </a:lnTo>
                  <a:lnTo>
                    <a:pt x="260" y="281"/>
                  </a:lnTo>
                  <a:lnTo>
                    <a:pt x="260" y="285"/>
                  </a:lnTo>
                  <a:lnTo>
                    <a:pt x="262" y="291"/>
                  </a:lnTo>
                  <a:lnTo>
                    <a:pt x="268" y="301"/>
                  </a:lnTo>
                  <a:lnTo>
                    <a:pt x="270" y="311"/>
                  </a:lnTo>
                  <a:lnTo>
                    <a:pt x="274" y="322"/>
                  </a:lnTo>
                  <a:lnTo>
                    <a:pt x="267" y="325"/>
                  </a:lnTo>
                  <a:lnTo>
                    <a:pt x="263" y="328"/>
                  </a:lnTo>
                  <a:lnTo>
                    <a:pt x="265" y="334"/>
                  </a:lnTo>
                  <a:lnTo>
                    <a:pt x="261" y="339"/>
                  </a:lnTo>
                  <a:lnTo>
                    <a:pt x="259" y="345"/>
                  </a:lnTo>
                  <a:lnTo>
                    <a:pt x="259" y="351"/>
                  </a:lnTo>
                  <a:lnTo>
                    <a:pt x="261" y="355"/>
                  </a:lnTo>
                  <a:lnTo>
                    <a:pt x="261" y="354"/>
                  </a:lnTo>
                  <a:lnTo>
                    <a:pt x="261" y="355"/>
                  </a:lnTo>
                  <a:lnTo>
                    <a:pt x="265" y="355"/>
                  </a:lnTo>
                  <a:lnTo>
                    <a:pt x="269" y="355"/>
                  </a:lnTo>
                  <a:lnTo>
                    <a:pt x="271" y="354"/>
                  </a:lnTo>
                  <a:lnTo>
                    <a:pt x="275" y="345"/>
                  </a:lnTo>
                  <a:lnTo>
                    <a:pt x="276" y="343"/>
                  </a:lnTo>
                  <a:lnTo>
                    <a:pt x="280" y="339"/>
                  </a:lnTo>
                  <a:lnTo>
                    <a:pt x="283" y="339"/>
                  </a:lnTo>
                  <a:lnTo>
                    <a:pt x="284" y="335"/>
                  </a:lnTo>
                  <a:lnTo>
                    <a:pt x="285" y="324"/>
                  </a:lnTo>
                  <a:lnTo>
                    <a:pt x="286" y="321"/>
                  </a:lnTo>
                  <a:lnTo>
                    <a:pt x="290" y="320"/>
                  </a:lnTo>
                  <a:lnTo>
                    <a:pt x="296" y="317"/>
                  </a:lnTo>
                  <a:lnTo>
                    <a:pt x="299" y="317"/>
                  </a:lnTo>
                  <a:lnTo>
                    <a:pt x="300" y="315"/>
                  </a:lnTo>
                  <a:lnTo>
                    <a:pt x="300" y="308"/>
                  </a:lnTo>
                  <a:lnTo>
                    <a:pt x="299" y="305"/>
                  </a:lnTo>
                  <a:lnTo>
                    <a:pt x="299" y="300"/>
                  </a:lnTo>
                  <a:lnTo>
                    <a:pt x="296" y="297"/>
                  </a:lnTo>
                  <a:lnTo>
                    <a:pt x="291" y="294"/>
                  </a:lnTo>
                  <a:lnTo>
                    <a:pt x="289" y="291"/>
                  </a:lnTo>
                  <a:lnTo>
                    <a:pt x="283" y="288"/>
                  </a:lnTo>
                  <a:lnTo>
                    <a:pt x="283" y="283"/>
                  </a:lnTo>
                  <a:lnTo>
                    <a:pt x="286" y="273"/>
                  </a:lnTo>
                  <a:lnTo>
                    <a:pt x="290" y="266"/>
                  </a:lnTo>
                  <a:lnTo>
                    <a:pt x="296" y="260"/>
                  </a:lnTo>
                  <a:lnTo>
                    <a:pt x="302" y="259"/>
                  </a:lnTo>
                  <a:lnTo>
                    <a:pt x="311" y="265"/>
                  </a:lnTo>
                  <a:lnTo>
                    <a:pt x="318" y="267"/>
                  </a:lnTo>
                  <a:lnTo>
                    <a:pt x="323" y="270"/>
                  </a:lnTo>
                  <a:lnTo>
                    <a:pt x="325" y="275"/>
                  </a:lnTo>
                  <a:lnTo>
                    <a:pt x="329" y="281"/>
                  </a:lnTo>
                  <a:lnTo>
                    <a:pt x="335" y="284"/>
                  </a:lnTo>
                  <a:lnTo>
                    <a:pt x="335" y="283"/>
                  </a:lnTo>
                  <a:lnTo>
                    <a:pt x="339" y="275"/>
                  </a:lnTo>
                  <a:lnTo>
                    <a:pt x="337" y="271"/>
                  </a:lnTo>
                  <a:lnTo>
                    <a:pt x="334" y="266"/>
                  </a:lnTo>
                  <a:lnTo>
                    <a:pt x="329" y="261"/>
                  </a:lnTo>
                  <a:lnTo>
                    <a:pt x="323" y="251"/>
                  </a:lnTo>
                  <a:lnTo>
                    <a:pt x="305" y="244"/>
                  </a:lnTo>
                  <a:lnTo>
                    <a:pt x="301" y="239"/>
                  </a:lnTo>
                  <a:lnTo>
                    <a:pt x="295" y="236"/>
                  </a:lnTo>
                  <a:lnTo>
                    <a:pt x="276" y="228"/>
                  </a:lnTo>
                  <a:lnTo>
                    <a:pt x="272" y="225"/>
                  </a:lnTo>
                  <a:lnTo>
                    <a:pt x="268" y="224"/>
                  </a:lnTo>
                  <a:lnTo>
                    <a:pt x="266" y="224"/>
                  </a:lnTo>
                  <a:lnTo>
                    <a:pt x="264" y="222"/>
                  </a:lnTo>
                  <a:lnTo>
                    <a:pt x="264" y="219"/>
                  </a:lnTo>
                  <a:lnTo>
                    <a:pt x="268" y="216"/>
                  </a:lnTo>
                  <a:lnTo>
                    <a:pt x="272" y="213"/>
                  </a:lnTo>
                  <a:lnTo>
                    <a:pt x="272" y="209"/>
                  </a:lnTo>
                  <a:lnTo>
                    <a:pt x="269" y="204"/>
                  </a:lnTo>
                  <a:lnTo>
                    <a:pt x="263" y="205"/>
                  </a:lnTo>
                  <a:lnTo>
                    <a:pt x="261" y="206"/>
                  </a:lnTo>
                  <a:lnTo>
                    <a:pt x="265" y="205"/>
                  </a:lnTo>
                  <a:lnTo>
                    <a:pt x="261" y="206"/>
                  </a:lnTo>
                  <a:lnTo>
                    <a:pt x="245" y="206"/>
                  </a:lnTo>
                  <a:lnTo>
                    <a:pt x="245" y="210"/>
                  </a:lnTo>
                  <a:lnTo>
                    <a:pt x="238" y="203"/>
                  </a:lnTo>
                  <a:lnTo>
                    <a:pt x="233" y="199"/>
                  </a:lnTo>
                  <a:lnTo>
                    <a:pt x="230" y="199"/>
                  </a:lnTo>
                  <a:lnTo>
                    <a:pt x="229" y="195"/>
                  </a:lnTo>
                  <a:lnTo>
                    <a:pt x="227" y="195"/>
                  </a:lnTo>
                  <a:lnTo>
                    <a:pt x="216" y="184"/>
                  </a:lnTo>
                  <a:lnTo>
                    <a:pt x="213" y="180"/>
                  </a:lnTo>
                  <a:lnTo>
                    <a:pt x="209" y="173"/>
                  </a:lnTo>
                  <a:lnTo>
                    <a:pt x="206" y="163"/>
                  </a:lnTo>
                  <a:lnTo>
                    <a:pt x="204" y="161"/>
                  </a:lnTo>
                  <a:lnTo>
                    <a:pt x="201" y="148"/>
                  </a:lnTo>
                  <a:lnTo>
                    <a:pt x="197" y="141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91" y="137"/>
                  </a:lnTo>
                  <a:lnTo>
                    <a:pt x="183" y="132"/>
                  </a:lnTo>
                  <a:lnTo>
                    <a:pt x="180" y="129"/>
                  </a:lnTo>
                  <a:lnTo>
                    <a:pt x="169" y="123"/>
                  </a:lnTo>
                  <a:lnTo>
                    <a:pt x="165" y="119"/>
                  </a:lnTo>
                  <a:lnTo>
                    <a:pt x="163" y="115"/>
                  </a:lnTo>
                  <a:lnTo>
                    <a:pt x="161" y="110"/>
                  </a:lnTo>
                  <a:lnTo>
                    <a:pt x="161" y="100"/>
                  </a:lnTo>
                  <a:lnTo>
                    <a:pt x="162" y="92"/>
                  </a:lnTo>
                  <a:lnTo>
                    <a:pt x="165" y="89"/>
                  </a:lnTo>
                  <a:lnTo>
                    <a:pt x="166" y="86"/>
                  </a:lnTo>
                  <a:lnTo>
                    <a:pt x="164" y="82"/>
                  </a:lnTo>
                  <a:lnTo>
                    <a:pt x="160" y="81"/>
                  </a:lnTo>
                  <a:lnTo>
                    <a:pt x="159" y="73"/>
                  </a:lnTo>
                  <a:lnTo>
                    <a:pt x="160" y="69"/>
                  </a:lnTo>
                  <a:lnTo>
                    <a:pt x="166" y="65"/>
                  </a:lnTo>
                  <a:lnTo>
                    <a:pt x="168" y="65"/>
                  </a:lnTo>
                  <a:lnTo>
                    <a:pt x="168" y="66"/>
                  </a:lnTo>
                  <a:lnTo>
                    <a:pt x="171" y="65"/>
                  </a:lnTo>
                  <a:lnTo>
                    <a:pt x="188" y="56"/>
                  </a:lnTo>
                  <a:lnTo>
                    <a:pt x="193" y="57"/>
                  </a:lnTo>
                  <a:lnTo>
                    <a:pt x="197" y="55"/>
                  </a:lnTo>
                  <a:lnTo>
                    <a:pt x="201" y="56"/>
                  </a:lnTo>
                  <a:lnTo>
                    <a:pt x="202" y="59"/>
                  </a:lnTo>
                  <a:lnTo>
                    <a:pt x="200" y="62"/>
                  </a:lnTo>
                  <a:lnTo>
                    <a:pt x="200" y="63"/>
                  </a:lnTo>
                  <a:lnTo>
                    <a:pt x="202" y="64"/>
                  </a:lnTo>
                  <a:lnTo>
                    <a:pt x="205" y="63"/>
                  </a:lnTo>
                  <a:lnTo>
                    <a:pt x="207" y="62"/>
                  </a:lnTo>
                  <a:lnTo>
                    <a:pt x="208" y="60"/>
                  </a:lnTo>
                  <a:lnTo>
                    <a:pt x="206" y="57"/>
                  </a:lnTo>
                  <a:lnTo>
                    <a:pt x="204" y="56"/>
                  </a:lnTo>
                  <a:lnTo>
                    <a:pt x="203" y="54"/>
                  </a:lnTo>
                  <a:lnTo>
                    <a:pt x="199" y="52"/>
                  </a:lnTo>
                  <a:lnTo>
                    <a:pt x="198" y="51"/>
                  </a:lnTo>
                  <a:lnTo>
                    <a:pt x="198" y="47"/>
                  </a:lnTo>
                  <a:lnTo>
                    <a:pt x="195" y="43"/>
                  </a:lnTo>
                  <a:lnTo>
                    <a:pt x="196" y="39"/>
                  </a:lnTo>
                  <a:lnTo>
                    <a:pt x="197" y="35"/>
                  </a:lnTo>
                  <a:lnTo>
                    <a:pt x="194" y="36"/>
                  </a:lnTo>
                  <a:lnTo>
                    <a:pt x="193" y="35"/>
                  </a:lnTo>
                  <a:lnTo>
                    <a:pt x="193" y="33"/>
                  </a:lnTo>
                  <a:lnTo>
                    <a:pt x="195" y="29"/>
                  </a:lnTo>
                  <a:lnTo>
                    <a:pt x="200" y="24"/>
                  </a:lnTo>
                  <a:lnTo>
                    <a:pt x="195" y="24"/>
                  </a:lnTo>
                  <a:lnTo>
                    <a:pt x="189" y="21"/>
                  </a:lnTo>
                  <a:lnTo>
                    <a:pt x="172" y="19"/>
                  </a:lnTo>
                  <a:lnTo>
                    <a:pt x="167" y="16"/>
                  </a:lnTo>
                  <a:lnTo>
                    <a:pt x="165" y="15"/>
                  </a:lnTo>
                  <a:lnTo>
                    <a:pt x="159" y="11"/>
                  </a:lnTo>
                  <a:lnTo>
                    <a:pt x="157" y="7"/>
                  </a:lnTo>
                  <a:lnTo>
                    <a:pt x="156" y="3"/>
                  </a:lnTo>
                  <a:lnTo>
                    <a:pt x="156" y="1"/>
                  </a:lnTo>
                  <a:lnTo>
                    <a:pt x="155" y="0"/>
                  </a:lnTo>
                  <a:lnTo>
                    <a:pt x="151" y="0"/>
                  </a:lnTo>
                  <a:lnTo>
                    <a:pt x="149" y="2"/>
                  </a:lnTo>
                  <a:lnTo>
                    <a:pt x="144" y="3"/>
                  </a:lnTo>
                  <a:lnTo>
                    <a:pt x="134" y="4"/>
                  </a:lnTo>
                  <a:lnTo>
                    <a:pt x="124" y="8"/>
                  </a:lnTo>
                  <a:lnTo>
                    <a:pt x="115" y="11"/>
                  </a:lnTo>
                  <a:lnTo>
                    <a:pt x="113" y="11"/>
                  </a:lnTo>
                  <a:lnTo>
                    <a:pt x="106" y="9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65" name="Freeform 20"/>
            <p:cNvSpPr>
              <a:spLocks/>
            </p:cNvSpPr>
            <p:nvPr/>
          </p:nvSpPr>
          <p:spPr bwMode="auto">
            <a:xfrm>
              <a:off x="1987" y="2839"/>
              <a:ext cx="339" cy="355"/>
            </a:xfrm>
            <a:custGeom>
              <a:avLst/>
              <a:gdLst>
                <a:gd name="T0" fmla="*/ 103 w 339"/>
                <a:gd name="T1" fmla="*/ 20 h 355"/>
                <a:gd name="T2" fmla="*/ 98 w 339"/>
                <a:gd name="T3" fmla="*/ 30 h 355"/>
                <a:gd name="T4" fmla="*/ 78 w 339"/>
                <a:gd name="T5" fmla="*/ 27 h 355"/>
                <a:gd name="T6" fmla="*/ 66 w 339"/>
                <a:gd name="T7" fmla="*/ 46 h 355"/>
                <a:gd name="T8" fmla="*/ 52 w 339"/>
                <a:gd name="T9" fmla="*/ 37 h 355"/>
                <a:gd name="T10" fmla="*/ 39 w 339"/>
                <a:gd name="T11" fmla="*/ 39 h 355"/>
                <a:gd name="T12" fmla="*/ 12 w 339"/>
                <a:gd name="T13" fmla="*/ 49 h 355"/>
                <a:gd name="T14" fmla="*/ 3 w 339"/>
                <a:gd name="T15" fmla="*/ 56 h 355"/>
                <a:gd name="T16" fmla="*/ 1 w 339"/>
                <a:gd name="T17" fmla="*/ 81 h 355"/>
                <a:gd name="T18" fmla="*/ 6 w 339"/>
                <a:gd name="T19" fmla="*/ 92 h 355"/>
                <a:gd name="T20" fmla="*/ 7 w 339"/>
                <a:gd name="T21" fmla="*/ 113 h 355"/>
                <a:gd name="T22" fmla="*/ 25 w 339"/>
                <a:gd name="T23" fmla="*/ 127 h 355"/>
                <a:gd name="T24" fmla="*/ 34 w 339"/>
                <a:gd name="T25" fmla="*/ 132 h 355"/>
                <a:gd name="T26" fmla="*/ 50 w 339"/>
                <a:gd name="T27" fmla="*/ 116 h 355"/>
                <a:gd name="T28" fmla="*/ 70 w 339"/>
                <a:gd name="T29" fmla="*/ 110 h 355"/>
                <a:gd name="T30" fmla="*/ 103 w 339"/>
                <a:gd name="T31" fmla="*/ 135 h 355"/>
                <a:gd name="T32" fmla="*/ 122 w 339"/>
                <a:gd name="T33" fmla="*/ 174 h 355"/>
                <a:gd name="T34" fmla="*/ 136 w 339"/>
                <a:gd name="T35" fmla="*/ 186 h 355"/>
                <a:gd name="T36" fmla="*/ 163 w 339"/>
                <a:gd name="T37" fmla="*/ 214 h 355"/>
                <a:gd name="T38" fmla="*/ 200 w 339"/>
                <a:gd name="T39" fmla="*/ 231 h 355"/>
                <a:gd name="T40" fmla="*/ 221 w 339"/>
                <a:gd name="T41" fmla="*/ 250 h 355"/>
                <a:gd name="T42" fmla="*/ 234 w 339"/>
                <a:gd name="T43" fmla="*/ 255 h 355"/>
                <a:gd name="T44" fmla="*/ 240 w 339"/>
                <a:gd name="T45" fmla="*/ 271 h 355"/>
                <a:gd name="T46" fmla="*/ 254 w 339"/>
                <a:gd name="T47" fmla="*/ 275 h 355"/>
                <a:gd name="T48" fmla="*/ 262 w 339"/>
                <a:gd name="T49" fmla="*/ 291 h 355"/>
                <a:gd name="T50" fmla="*/ 267 w 339"/>
                <a:gd name="T51" fmla="*/ 325 h 355"/>
                <a:gd name="T52" fmla="*/ 259 w 339"/>
                <a:gd name="T53" fmla="*/ 345 h 355"/>
                <a:gd name="T54" fmla="*/ 261 w 339"/>
                <a:gd name="T55" fmla="*/ 355 h 355"/>
                <a:gd name="T56" fmla="*/ 275 w 339"/>
                <a:gd name="T57" fmla="*/ 345 h 355"/>
                <a:gd name="T58" fmla="*/ 284 w 339"/>
                <a:gd name="T59" fmla="*/ 335 h 355"/>
                <a:gd name="T60" fmla="*/ 296 w 339"/>
                <a:gd name="T61" fmla="*/ 317 h 355"/>
                <a:gd name="T62" fmla="*/ 299 w 339"/>
                <a:gd name="T63" fmla="*/ 305 h 355"/>
                <a:gd name="T64" fmla="*/ 289 w 339"/>
                <a:gd name="T65" fmla="*/ 291 h 355"/>
                <a:gd name="T66" fmla="*/ 290 w 339"/>
                <a:gd name="T67" fmla="*/ 266 h 355"/>
                <a:gd name="T68" fmla="*/ 318 w 339"/>
                <a:gd name="T69" fmla="*/ 267 h 355"/>
                <a:gd name="T70" fmla="*/ 335 w 339"/>
                <a:gd name="T71" fmla="*/ 284 h 355"/>
                <a:gd name="T72" fmla="*/ 334 w 339"/>
                <a:gd name="T73" fmla="*/ 266 h 355"/>
                <a:gd name="T74" fmla="*/ 301 w 339"/>
                <a:gd name="T75" fmla="*/ 239 h 355"/>
                <a:gd name="T76" fmla="*/ 268 w 339"/>
                <a:gd name="T77" fmla="*/ 224 h 355"/>
                <a:gd name="T78" fmla="*/ 268 w 339"/>
                <a:gd name="T79" fmla="*/ 216 h 355"/>
                <a:gd name="T80" fmla="*/ 263 w 339"/>
                <a:gd name="T81" fmla="*/ 205 h 355"/>
                <a:gd name="T82" fmla="*/ 245 w 339"/>
                <a:gd name="T83" fmla="*/ 206 h 355"/>
                <a:gd name="T84" fmla="*/ 230 w 339"/>
                <a:gd name="T85" fmla="*/ 199 h 355"/>
                <a:gd name="T86" fmla="*/ 213 w 339"/>
                <a:gd name="T87" fmla="*/ 180 h 355"/>
                <a:gd name="T88" fmla="*/ 201 w 339"/>
                <a:gd name="T89" fmla="*/ 148 h 355"/>
                <a:gd name="T90" fmla="*/ 191 w 339"/>
                <a:gd name="T91" fmla="*/ 137 h 355"/>
                <a:gd name="T92" fmla="*/ 165 w 339"/>
                <a:gd name="T93" fmla="*/ 119 h 355"/>
                <a:gd name="T94" fmla="*/ 162 w 339"/>
                <a:gd name="T95" fmla="*/ 92 h 355"/>
                <a:gd name="T96" fmla="*/ 160 w 339"/>
                <a:gd name="T97" fmla="*/ 81 h 355"/>
                <a:gd name="T98" fmla="*/ 168 w 339"/>
                <a:gd name="T99" fmla="*/ 65 h 355"/>
                <a:gd name="T100" fmla="*/ 193 w 339"/>
                <a:gd name="T101" fmla="*/ 57 h 355"/>
                <a:gd name="T102" fmla="*/ 200 w 339"/>
                <a:gd name="T103" fmla="*/ 62 h 355"/>
                <a:gd name="T104" fmla="*/ 207 w 339"/>
                <a:gd name="T105" fmla="*/ 62 h 355"/>
                <a:gd name="T106" fmla="*/ 203 w 339"/>
                <a:gd name="T107" fmla="*/ 54 h 355"/>
                <a:gd name="T108" fmla="*/ 195 w 339"/>
                <a:gd name="T109" fmla="*/ 43 h 355"/>
                <a:gd name="T110" fmla="*/ 193 w 339"/>
                <a:gd name="T111" fmla="*/ 35 h 355"/>
                <a:gd name="T112" fmla="*/ 195 w 339"/>
                <a:gd name="T113" fmla="*/ 24 h 355"/>
                <a:gd name="T114" fmla="*/ 165 w 339"/>
                <a:gd name="T115" fmla="*/ 15 h 355"/>
                <a:gd name="T116" fmla="*/ 156 w 339"/>
                <a:gd name="T117" fmla="*/ 1 h 355"/>
                <a:gd name="T118" fmla="*/ 144 w 339"/>
                <a:gd name="T119" fmla="*/ 3 h 355"/>
                <a:gd name="T120" fmla="*/ 113 w 339"/>
                <a:gd name="T121" fmla="*/ 11 h 35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39"/>
                <a:gd name="T184" fmla="*/ 0 h 355"/>
                <a:gd name="T185" fmla="*/ 339 w 339"/>
                <a:gd name="T186" fmla="*/ 355 h 35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39" h="355">
                  <a:moveTo>
                    <a:pt x="106" y="9"/>
                  </a:moveTo>
                  <a:lnTo>
                    <a:pt x="105" y="14"/>
                  </a:lnTo>
                  <a:lnTo>
                    <a:pt x="105" y="18"/>
                  </a:lnTo>
                  <a:lnTo>
                    <a:pt x="103" y="20"/>
                  </a:lnTo>
                  <a:lnTo>
                    <a:pt x="97" y="20"/>
                  </a:lnTo>
                  <a:lnTo>
                    <a:pt x="96" y="23"/>
                  </a:lnTo>
                  <a:lnTo>
                    <a:pt x="97" y="27"/>
                  </a:lnTo>
                  <a:lnTo>
                    <a:pt x="98" y="30"/>
                  </a:lnTo>
                  <a:lnTo>
                    <a:pt x="97" y="32"/>
                  </a:lnTo>
                  <a:lnTo>
                    <a:pt x="87" y="30"/>
                  </a:lnTo>
                  <a:lnTo>
                    <a:pt x="81" y="30"/>
                  </a:lnTo>
                  <a:lnTo>
                    <a:pt x="78" y="27"/>
                  </a:lnTo>
                  <a:lnTo>
                    <a:pt x="74" y="25"/>
                  </a:lnTo>
                  <a:lnTo>
                    <a:pt x="72" y="31"/>
                  </a:lnTo>
                  <a:lnTo>
                    <a:pt x="67" y="41"/>
                  </a:lnTo>
                  <a:lnTo>
                    <a:pt x="66" y="46"/>
                  </a:lnTo>
                  <a:lnTo>
                    <a:pt x="64" y="48"/>
                  </a:lnTo>
                  <a:lnTo>
                    <a:pt x="61" y="46"/>
                  </a:lnTo>
                  <a:lnTo>
                    <a:pt x="58" y="42"/>
                  </a:lnTo>
                  <a:lnTo>
                    <a:pt x="52" y="37"/>
                  </a:lnTo>
                  <a:lnTo>
                    <a:pt x="48" y="27"/>
                  </a:lnTo>
                  <a:lnTo>
                    <a:pt x="43" y="31"/>
                  </a:lnTo>
                  <a:lnTo>
                    <a:pt x="39" y="35"/>
                  </a:lnTo>
                  <a:lnTo>
                    <a:pt x="39" y="39"/>
                  </a:lnTo>
                  <a:lnTo>
                    <a:pt x="38" y="42"/>
                  </a:lnTo>
                  <a:lnTo>
                    <a:pt x="32" y="47"/>
                  </a:lnTo>
                  <a:lnTo>
                    <a:pt x="25" y="46"/>
                  </a:lnTo>
                  <a:lnTo>
                    <a:pt x="12" y="49"/>
                  </a:lnTo>
                  <a:lnTo>
                    <a:pt x="8" y="50"/>
                  </a:lnTo>
                  <a:lnTo>
                    <a:pt x="2" y="50"/>
                  </a:lnTo>
                  <a:lnTo>
                    <a:pt x="2" y="53"/>
                  </a:lnTo>
                  <a:lnTo>
                    <a:pt x="3" y="56"/>
                  </a:lnTo>
                  <a:lnTo>
                    <a:pt x="8" y="69"/>
                  </a:lnTo>
                  <a:lnTo>
                    <a:pt x="10" y="74"/>
                  </a:lnTo>
                  <a:lnTo>
                    <a:pt x="4" y="78"/>
                  </a:lnTo>
                  <a:lnTo>
                    <a:pt x="1" y="81"/>
                  </a:lnTo>
                  <a:lnTo>
                    <a:pt x="0" y="86"/>
                  </a:lnTo>
                  <a:lnTo>
                    <a:pt x="0" y="88"/>
                  </a:lnTo>
                  <a:lnTo>
                    <a:pt x="1" y="90"/>
                  </a:lnTo>
                  <a:lnTo>
                    <a:pt x="6" y="92"/>
                  </a:lnTo>
                  <a:lnTo>
                    <a:pt x="6" y="96"/>
                  </a:lnTo>
                  <a:lnTo>
                    <a:pt x="5" y="101"/>
                  </a:lnTo>
                  <a:lnTo>
                    <a:pt x="6" y="107"/>
                  </a:lnTo>
                  <a:lnTo>
                    <a:pt x="7" y="113"/>
                  </a:lnTo>
                  <a:lnTo>
                    <a:pt x="10" y="117"/>
                  </a:lnTo>
                  <a:lnTo>
                    <a:pt x="23" y="119"/>
                  </a:lnTo>
                  <a:lnTo>
                    <a:pt x="25" y="123"/>
                  </a:lnTo>
                  <a:lnTo>
                    <a:pt x="25" y="127"/>
                  </a:lnTo>
                  <a:lnTo>
                    <a:pt x="24" y="130"/>
                  </a:lnTo>
                  <a:lnTo>
                    <a:pt x="24" y="132"/>
                  </a:lnTo>
                  <a:lnTo>
                    <a:pt x="29" y="133"/>
                  </a:lnTo>
                  <a:lnTo>
                    <a:pt x="34" y="132"/>
                  </a:lnTo>
                  <a:lnTo>
                    <a:pt x="42" y="128"/>
                  </a:lnTo>
                  <a:lnTo>
                    <a:pt x="43" y="124"/>
                  </a:lnTo>
                  <a:lnTo>
                    <a:pt x="48" y="118"/>
                  </a:lnTo>
                  <a:lnTo>
                    <a:pt x="50" y="116"/>
                  </a:lnTo>
                  <a:lnTo>
                    <a:pt x="51" y="113"/>
                  </a:lnTo>
                  <a:lnTo>
                    <a:pt x="60" y="109"/>
                  </a:lnTo>
                  <a:lnTo>
                    <a:pt x="65" y="109"/>
                  </a:lnTo>
                  <a:lnTo>
                    <a:pt x="70" y="110"/>
                  </a:lnTo>
                  <a:lnTo>
                    <a:pt x="91" y="123"/>
                  </a:lnTo>
                  <a:lnTo>
                    <a:pt x="100" y="126"/>
                  </a:lnTo>
                  <a:lnTo>
                    <a:pt x="101" y="129"/>
                  </a:lnTo>
                  <a:lnTo>
                    <a:pt x="103" y="135"/>
                  </a:lnTo>
                  <a:lnTo>
                    <a:pt x="109" y="153"/>
                  </a:lnTo>
                  <a:lnTo>
                    <a:pt x="111" y="159"/>
                  </a:lnTo>
                  <a:lnTo>
                    <a:pt x="111" y="163"/>
                  </a:lnTo>
                  <a:lnTo>
                    <a:pt x="122" y="174"/>
                  </a:lnTo>
                  <a:lnTo>
                    <a:pt x="127" y="180"/>
                  </a:lnTo>
                  <a:lnTo>
                    <a:pt x="129" y="188"/>
                  </a:lnTo>
                  <a:lnTo>
                    <a:pt x="133" y="186"/>
                  </a:lnTo>
                  <a:lnTo>
                    <a:pt x="136" y="186"/>
                  </a:lnTo>
                  <a:lnTo>
                    <a:pt x="141" y="190"/>
                  </a:lnTo>
                  <a:lnTo>
                    <a:pt x="149" y="201"/>
                  </a:lnTo>
                  <a:lnTo>
                    <a:pt x="154" y="202"/>
                  </a:lnTo>
                  <a:lnTo>
                    <a:pt x="163" y="214"/>
                  </a:lnTo>
                  <a:lnTo>
                    <a:pt x="170" y="221"/>
                  </a:lnTo>
                  <a:lnTo>
                    <a:pt x="183" y="232"/>
                  </a:lnTo>
                  <a:lnTo>
                    <a:pt x="186" y="231"/>
                  </a:lnTo>
                  <a:lnTo>
                    <a:pt x="200" y="231"/>
                  </a:lnTo>
                  <a:lnTo>
                    <a:pt x="203" y="232"/>
                  </a:lnTo>
                  <a:lnTo>
                    <a:pt x="210" y="241"/>
                  </a:lnTo>
                  <a:lnTo>
                    <a:pt x="213" y="246"/>
                  </a:lnTo>
                  <a:lnTo>
                    <a:pt x="221" y="250"/>
                  </a:lnTo>
                  <a:lnTo>
                    <a:pt x="222" y="251"/>
                  </a:lnTo>
                  <a:lnTo>
                    <a:pt x="221" y="256"/>
                  </a:lnTo>
                  <a:lnTo>
                    <a:pt x="231" y="254"/>
                  </a:lnTo>
                  <a:lnTo>
                    <a:pt x="234" y="255"/>
                  </a:lnTo>
                  <a:lnTo>
                    <a:pt x="236" y="258"/>
                  </a:lnTo>
                  <a:lnTo>
                    <a:pt x="238" y="263"/>
                  </a:lnTo>
                  <a:lnTo>
                    <a:pt x="237" y="267"/>
                  </a:lnTo>
                  <a:lnTo>
                    <a:pt x="240" y="271"/>
                  </a:lnTo>
                  <a:lnTo>
                    <a:pt x="246" y="273"/>
                  </a:lnTo>
                  <a:lnTo>
                    <a:pt x="249" y="276"/>
                  </a:lnTo>
                  <a:lnTo>
                    <a:pt x="251" y="280"/>
                  </a:lnTo>
                  <a:lnTo>
                    <a:pt x="254" y="275"/>
                  </a:lnTo>
                  <a:lnTo>
                    <a:pt x="257" y="275"/>
                  </a:lnTo>
                  <a:lnTo>
                    <a:pt x="260" y="281"/>
                  </a:lnTo>
                  <a:lnTo>
                    <a:pt x="260" y="285"/>
                  </a:lnTo>
                  <a:lnTo>
                    <a:pt x="262" y="291"/>
                  </a:lnTo>
                  <a:lnTo>
                    <a:pt x="268" y="301"/>
                  </a:lnTo>
                  <a:lnTo>
                    <a:pt x="270" y="311"/>
                  </a:lnTo>
                  <a:lnTo>
                    <a:pt x="274" y="322"/>
                  </a:lnTo>
                  <a:lnTo>
                    <a:pt x="267" y="325"/>
                  </a:lnTo>
                  <a:lnTo>
                    <a:pt x="263" y="328"/>
                  </a:lnTo>
                  <a:lnTo>
                    <a:pt x="265" y="334"/>
                  </a:lnTo>
                  <a:lnTo>
                    <a:pt x="261" y="339"/>
                  </a:lnTo>
                  <a:lnTo>
                    <a:pt x="259" y="345"/>
                  </a:lnTo>
                  <a:lnTo>
                    <a:pt x="259" y="351"/>
                  </a:lnTo>
                  <a:lnTo>
                    <a:pt x="261" y="355"/>
                  </a:lnTo>
                  <a:lnTo>
                    <a:pt x="261" y="354"/>
                  </a:lnTo>
                  <a:lnTo>
                    <a:pt x="261" y="355"/>
                  </a:lnTo>
                  <a:lnTo>
                    <a:pt x="265" y="355"/>
                  </a:lnTo>
                  <a:lnTo>
                    <a:pt x="269" y="355"/>
                  </a:lnTo>
                  <a:lnTo>
                    <a:pt x="271" y="354"/>
                  </a:lnTo>
                  <a:lnTo>
                    <a:pt x="275" y="345"/>
                  </a:lnTo>
                  <a:lnTo>
                    <a:pt x="276" y="343"/>
                  </a:lnTo>
                  <a:lnTo>
                    <a:pt x="280" y="339"/>
                  </a:lnTo>
                  <a:lnTo>
                    <a:pt x="283" y="339"/>
                  </a:lnTo>
                  <a:lnTo>
                    <a:pt x="284" y="335"/>
                  </a:lnTo>
                  <a:lnTo>
                    <a:pt x="285" y="324"/>
                  </a:lnTo>
                  <a:lnTo>
                    <a:pt x="286" y="321"/>
                  </a:lnTo>
                  <a:lnTo>
                    <a:pt x="290" y="320"/>
                  </a:lnTo>
                  <a:lnTo>
                    <a:pt x="296" y="317"/>
                  </a:lnTo>
                  <a:lnTo>
                    <a:pt x="299" y="317"/>
                  </a:lnTo>
                  <a:lnTo>
                    <a:pt x="300" y="315"/>
                  </a:lnTo>
                  <a:lnTo>
                    <a:pt x="300" y="308"/>
                  </a:lnTo>
                  <a:lnTo>
                    <a:pt x="299" y="305"/>
                  </a:lnTo>
                  <a:lnTo>
                    <a:pt x="299" y="300"/>
                  </a:lnTo>
                  <a:lnTo>
                    <a:pt x="296" y="297"/>
                  </a:lnTo>
                  <a:lnTo>
                    <a:pt x="291" y="294"/>
                  </a:lnTo>
                  <a:lnTo>
                    <a:pt x="289" y="291"/>
                  </a:lnTo>
                  <a:lnTo>
                    <a:pt x="283" y="288"/>
                  </a:lnTo>
                  <a:lnTo>
                    <a:pt x="283" y="283"/>
                  </a:lnTo>
                  <a:lnTo>
                    <a:pt x="286" y="273"/>
                  </a:lnTo>
                  <a:lnTo>
                    <a:pt x="290" y="266"/>
                  </a:lnTo>
                  <a:lnTo>
                    <a:pt x="296" y="260"/>
                  </a:lnTo>
                  <a:lnTo>
                    <a:pt x="302" y="259"/>
                  </a:lnTo>
                  <a:lnTo>
                    <a:pt x="311" y="265"/>
                  </a:lnTo>
                  <a:lnTo>
                    <a:pt x="318" y="267"/>
                  </a:lnTo>
                  <a:lnTo>
                    <a:pt x="323" y="270"/>
                  </a:lnTo>
                  <a:lnTo>
                    <a:pt x="325" y="275"/>
                  </a:lnTo>
                  <a:lnTo>
                    <a:pt x="329" y="281"/>
                  </a:lnTo>
                  <a:lnTo>
                    <a:pt x="335" y="284"/>
                  </a:lnTo>
                  <a:lnTo>
                    <a:pt x="335" y="283"/>
                  </a:lnTo>
                  <a:lnTo>
                    <a:pt x="339" y="275"/>
                  </a:lnTo>
                  <a:lnTo>
                    <a:pt x="337" y="271"/>
                  </a:lnTo>
                  <a:lnTo>
                    <a:pt x="334" y="266"/>
                  </a:lnTo>
                  <a:lnTo>
                    <a:pt x="329" y="261"/>
                  </a:lnTo>
                  <a:lnTo>
                    <a:pt x="323" y="251"/>
                  </a:lnTo>
                  <a:lnTo>
                    <a:pt x="305" y="244"/>
                  </a:lnTo>
                  <a:lnTo>
                    <a:pt x="301" y="239"/>
                  </a:lnTo>
                  <a:lnTo>
                    <a:pt x="295" y="236"/>
                  </a:lnTo>
                  <a:lnTo>
                    <a:pt x="276" y="228"/>
                  </a:lnTo>
                  <a:lnTo>
                    <a:pt x="272" y="225"/>
                  </a:lnTo>
                  <a:lnTo>
                    <a:pt x="268" y="224"/>
                  </a:lnTo>
                  <a:lnTo>
                    <a:pt x="266" y="224"/>
                  </a:lnTo>
                  <a:lnTo>
                    <a:pt x="264" y="222"/>
                  </a:lnTo>
                  <a:lnTo>
                    <a:pt x="264" y="219"/>
                  </a:lnTo>
                  <a:lnTo>
                    <a:pt x="268" y="216"/>
                  </a:lnTo>
                  <a:lnTo>
                    <a:pt x="272" y="213"/>
                  </a:lnTo>
                  <a:lnTo>
                    <a:pt x="272" y="209"/>
                  </a:lnTo>
                  <a:lnTo>
                    <a:pt x="269" y="204"/>
                  </a:lnTo>
                  <a:lnTo>
                    <a:pt x="263" y="205"/>
                  </a:lnTo>
                  <a:lnTo>
                    <a:pt x="261" y="206"/>
                  </a:lnTo>
                  <a:lnTo>
                    <a:pt x="265" y="205"/>
                  </a:lnTo>
                  <a:lnTo>
                    <a:pt x="261" y="206"/>
                  </a:lnTo>
                  <a:lnTo>
                    <a:pt x="245" y="206"/>
                  </a:lnTo>
                  <a:lnTo>
                    <a:pt x="245" y="210"/>
                  </a:lnTo>
                  <a:lnTo>
                    <a:pt x="238" y="203"/>
                  </a:lnTo>
                  <a:lnTo>
                    <a:pt x="233" y="199"/>
                  </a:lnTo>
                  <a:lnTo>
                    <a:pt x="230" y="199"/>
                  </a:lnTo>
                  <a:lnTo>
                    <a:pt x="229" y="195"/>
                  </a:lnTo>
                  <a:lnTo>
                    <a:pt x="227" y="195"/>
                  </a:lnTo>
                  <a:lnTo>
                    <a:pt x="216" y="184"/>
                  </a:lnTo>
                  <a:lnTo>
                    <a:pt x="213" y="180"/>
                  </a:lnTo>
                  <a:lnTo>
                    <a:pt x="209" y="173"/>
                  </a:lnTo>
                  <a:lnTo>
                    <a:pt x="206" y="163"/>
                  </a:lnTo>
                  <a:lnTo>
                    <a:pt x="204" y="161"/>
                  </a:lnTo>
                  <a:lnTo>
                    <a:pt x="201" y="148"/>
                  </a:lnTo>
                  <a:lnTo>
                    <a:pt x="197" y="141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91" y="137"/>
                  </a:lnTo>
                  <a:lnTo>
                    <a:pt x="183" y="132"/>
                  </a:lnTo>
                  <a:lnTo>
                    <a:pt x="180" y="129"/>
                  </a:lnTo>
                  <a:lnTo>
                    <a:pt x="169" y="123"/>
                  </a:lnTo>
                  <a:lnTo>
                    <a:pt x="165" y="119"/>
                  </a:lnTo>
                  <a:lnTo>
                    <a:pt x="163" y="115"/>
                  </a:lnTo>
                  <a:lnTo>
                    <a:pt x="161" y="110"/>
                  </a:lnTo>
                  <a:lnTo>
                    <a:pt x="161" y="100"/>
                  </a:lnTo>
                  <a:lnTo>
                    <a:pt x="162" y="92"/>
                  </a:lnTo>
                  <a:lnTo>
                    <a:pt x="165" y="89"/>
                  </a:lnTo>
                  <a:lnTo>
                    <a:pt x="166" y="86"/>
                  </a:lnTo>
                  <a:lnTo>
                    <a:pt x="164" y="82"/>
                  </a:lnTo>
                  <a:lnTo>
                    <a:pt x="160" y="81"/>
                  </a:lnTo>
                  <a:lnTo>
                    <a:pt x="159" y="73"/>
                  </a:lnTo>
                  <a:lnTo>
                    <a:pt x="160" y="69"/>
                  </a:lnTo>
                  <a:lnTo>
                    <a:pt x="166" y="65"/>
                  </a:lnTo>
                  <a:lnTo>
                    <a:pt x="168" y="65"/>
                  </a:lnTo>
                  <a:lnTo>
                    <a:pt x="168" y="66"/>
                  </a:lnTo>
                  <a:lnTo>
                    <a:pt x="171" y="65"/>
                  </a:lnTo>
                  <a:lnTo>
                    <a:pt x="188" y="56"/>
                  </a:lnTo>
                  <a:lnTo>
                    <a:pt x="193" y="57"/>
                  </a:lnTo>
                  <a:lnTo>
                    <a:pt x="197" y="55"/>
                  </a:lnTo>
                  <a:lnTo>
                    <a:pt x="201" y="56"/>
                  </a:lnTo>
                  <a:lnTo>
                    <a:pt x="202" y="59"/>
                  </a:lnTo>
                  <a:lnTo>
                    <a:pt x="200" y="62"/>
                  </a:lnTo>
                  <a:lnTo>
                    <a:pt x="200" y="63"/>
                  </a:lnTo>
                  <a:lnTo>
                    <a:pt x="202" y="64"/>
                  </a:lnTo>
                  <a:lnTo>
                    <a:pt x="205" y="63"/>
                  </a:lnTo>
                  <a:lnTo>
                    <a:pt x="207" y="62"/>
                  </a:lnTo>
                  <a:lnTo>
                    <a:pt x="208" y="60"/>
                  </a:lnTo>
                  <a:lnTo>
                    <a:pt x="206" y="57"/>
                  </a:lnTo>
                  <a:lnTo>
                    <a:pt x="204" y="56"/>
                  </a:lnTo>
                  <a:lnTo>
                    <a:pt x="203" y="54"/>
                  </a:lnTo>
                  <a:lnTo>
                    <a:pt x="199" y="52"/>
                  </a:lnTo>
                  <a:lnTo>
                    <a:pt x="198" y="51"/>
                  </a:lnTo>
                  <a:lnTo>
                    <a:pt x="198" y="47"/>
                  </a:lnTo>
                  <a:lnTo>
                    <a:pt x="195" y="43"/>
                  </a:lnTo>
                  <a:lnTo>
                    <a:pt x="196" y="39"/>
                  </a:lnTo>
                  <a:lnTo>
                    <a:pt x="197" y="35"/>
                  </a:lnTo>
                  <a:lnTo>
                    <a:pt x="194" y="36"/>
                  </a:lnTo>
                  <a:lnTo>
                    <a:pt x="193" y="35"/>
                  </a:lnTo>
                  <a:lnTo>
                    <a:pt x="193" y="33"/>
                  </a:lnTo>
                  <a:lnTo>
                    <a:pt x="195" y="29"/>
                  </a:lnTo>
                  <a:lnTo>
                    <a:pt x="200" y="24"/>
                  </a:lnTo>
                  <a:lnTo>
                    <a:pt x="195" y="24"/>
                  </a:lnTo>
                  <a:lnTo>
                    <a:pt x="189" y="21"/>
                  </a:lnTo>
                  <a:lnTo>
                    <a:pt x="172" y="19"/>
                  </a:lnTo>
                  <a:lnTo>
                    <a:pt x="167" y="16"/>
                  </a:lnTo>
                  <a:lnTo>
                    <a:pt x="165" y="15"/>
                  </a:lnTo>
                  <a:lnTo>
                    <a:pt x="159" y="11"/>
                  </a:lnTo>
                  <a:lnTo>
                    <a:pt x="157" y="7"/>
                  </a:lnTo>
                  <a:lnTo>
                    <a:pt x="156" y="3"/>
                  </a:lnTo>
                  <a:lnTo>
                    <a:pt x="156" y="1"/>
                  </a:lnTo>
                  <a:lnTo>
                    <a:pt x="155" y="0"/>
                  </a:lnTo>
                  <a:lnTo>
                    <a:pt x="151" y="0"/>
                  </a:lnTo>
                  <a:lnTo>
                    <a:pt x="149" y="2"/>
                  </a:lnTo>
                  <a:lnTo>
                    <a:pt x="144" y="3"/>
                  </a:lnTo>
                  <a:lnTo>
                    <a:pt x="134" y="4"/>
                  </a:lnTo>
                  <a:lnTo>
                    <a:pt x="124" y="8"/>
                  </a:lnTo>
                  <a:lnTo>
                    <a:pt x="115" y="11"/>
                  </a:lnTo>
                  <a:lnTo>
                    <a:pt x="113" y="11"/>
                  </a:lnTo>
                  <a:lnTo>
                    <a:pt x="106" y="9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01" name="Group 24"/>
          <p:cNvGrpSpPr>
            <a:grpSpLocks/>
          </p:cNvGrpSpPr>
          <p:nvPr/>
        </p:nvGrpSpPr>
        <p:grpSpPr bwMode="auto">
          <a:xfrm>
            <a:off x="4311650" y="4295775"/>
            <a:ext cx="28575" cy="44450"/>
            <a:chOff x="1958" y="2706"/>
            <a:chExt cx="18" cy="28"/>
          </a:xfrm>
        </p:grpSpPr>
        <p:sp>
          <p:nvSpPr>
            <p:cNvPr id="34462" name="Freeform 22"/>
            <p:cNvSpPr>
              <a:spLocks/>
            </p:cNvSpPr>
            <p:nvPr/>
          </p:nvSpPr>
          <p:spPr bwMode="auto">
            <a:xfrm>
              <a:off x="1958" y="2706"/>
              <a:ext cx="18" cy="28"/>
            </a:xfrm>
            <a:custGeom>
              <a:avLst/>
              <a:gdLst>
                <a:gd name="T0" fmla="*/ 10 w 18"/>
                <a:gd name="T1" fmla="*/ 28 h 28"/>
                <a:gd name="T2" fmla="*/ 16 w 18"/>
                <a:gd name="T3" fmla="*/ 28 h 28"/>
                <a:gd name="T4" fmla="*/ 18 w 18"/>
                <a:gd name="T5" fmla="*/ 24 h 28"/>
                <a:gd name="T6" fmla="*/ 18 w 18"/>
                <a:gd name="T7" fmla="*/ 18 h 28"/>
                <a:gd name="T8" fmla="*/ 16 w 18"/>
                <a:gd name="T9" fmla="*/ 14 h 28"/>
                <a:gd name="T10" fmla="*/ 14 w 18"/>
                <a:gd name="T11" fmla="*/ 10 h 28"/>
                <a:gd name="T12" fmla="*/ 14 w 18"/>
                <a:gd name="T13" fmla="*/ 6 h 28"/>
                <a:gd name="T14" fmla="*/ 15 w 18"/>
                <a:gd name="T15" fmla="*/ 2 h 28"/>
                <a:gd name="T16" fmla="*/ 11 w 18"/>
                <a:gd name="T17" fmla="*/ 0 h 28"/>
                <a:gd name="T18" fmla="*/ 8 w 18"/>
                <a:gd name="T19" fmla="*/ 0 h 28"/>
                <a:gd name="T20" fmla="*/ 3 w 18"/>
                <a:gd name="T21" fmla="*/ 4 h 28"/>
                <a:gd name="T22" fmla="*/ 0 w 18"/>
                <a:gd name="T23" fmla="*/ 11 h 28"/>
                <a:gd name="T24" fmla="*/ 2 w 18"/>
                <a:gd name="T25" fmla="*/ 17 h 28"/>
                <a:gd name="T26" fmla="*/ 2 w 18"/>
                <a:gd name="T27" fmla="*/ 26 h 28"/>
                <a:gd name="T28" fmla="*/ 10 w 18"/>
                <a:gd name="T29" fmla="*/ 28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"/>
                <a:gd name="T46" fmla="*/ 0 h 28"/>
                <a:gd name="T47" fmla="*/ 18 w 18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" h="28">
                  <a:moveTo>
                    <a:pt x="10" y="28"/>
                  </a:moveTo>
                  <a:lnTo>
                    <a:pt x="16" y="28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16" y="14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5" y="2"/>
                  </a:lnTo>
                  <a:lnTo>
                    <a:pt x="11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11"/>
                  </a:lnTo>
                  <a:lnTo>
                    <a:pt x="2" y="17"/>
                  </a:lnTo>
                  <a:lnTo>
                    <a:pt x="2" y="26"/>
                  </a:lnTo>
                  <a:lnTo>
                    <a:pt x="10" y="28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63" name="Freeform 23"/>
            <p:cNvSpPr>
              <a:spLocks/>
            </p:cNvSpPr>
            <p:nvPr/>
          </p:nvSpPr>
          <p:spPr bwMode="auto">
            <a:xfrm>
              <a:off x="1958" y="2706"/>
              <a:ext cx="18" cy="28"/>
            </a:xfrm>
            <a:custGeom>
              <a:avLst/>
              <a:gdLst>
                <a:gd name="T0" fmla="*/ 10 w 18"/>
                <a:gd name="T1" fmla="*/ 28 h 28"/>
                <a:gd name="T2" fmla="*/ 16 w 18"/>
                <a:gd name="T3" fmla="*/ 28 h 28"/>
                <a:gd name="T4" fmla="*/ 18 w 18"/>
                <a:gd name="T5" fmla="*/ 24 h 28"/>
                <a:gd name="T6" fmla="*/ 18 w 18"/>
                <a:gd name="T7" fmla="*/ 18 h 28"/>
                <a:gd name="T8" fmla="*/ 16 w 18"/>
                <a:gd name="T9" fmla="*/ 14 h 28"/>
                <a:gd name="T10" fmla="*/ 14 w 18"/>
                <a:gd name="T11" fmla="*/ 10 h 28"/>
                <a:gd name="T12" fmla="*/ 14 w 18"/>
                <a:gd name="T13" fmla="*/ 6 h 28"/>
                <a:gd name="T14" fmla="*/ 15 w 18"/>
                <a:gd name="T15" fmla="*/ 2 h 28"/>
                <a:gd name="T16" fmla="*/ 11 w 18"/>
                <a:gd name="T17" fmla="*/ 0 h 28"/>
                <a:gd name="T18" fmla="*/ 8 w 18"/>
                <a:gd name="T19" fmla="*/ 0 h 28"/>
                <a:gd name="T20" fmla="*/ 3 w 18"/>
                <a:gd name="T21" fmla="*/ 4 h 28"/>
                <a:gd name="T22" fmla="*/ 0 w 18"/>
                <a:gd name="T23" fmla="*/ 11 h 28"/>
                <a:gd name="T24" fmla="*/ 2 w 18"/>
                <a:gd name="T25" fmla="*/ 17 h 28"/>
                <a:gd name="T26" fmla="*/ 2 w 18"/>
                <a:gd name="T27" fmla="*/ 26 h 28"/>
                <a:gd name="T28" fmla="*/ 10 w 18"/>
                <a:gd name="T29" fmla="*/ 28 h 2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8"/>
                <a:gd name="T46" fmla="*/ 0 h 28"/>
                <a:gd name="T47" fmla="*/ 18 w 18"/>
                <a:gd name="T48" fmla="*/ 28 h 2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8" h="28">
                  <a:moveTo>
                    <a:pt x="10" y="28"/>
                  </a:moveTo>
                  <a:lnTo>
                    <a:pt x="16" y="28"/>
                  </a:lnTo>
                  <a:lnTo>
                    <a:pt x="18" y="24"/>
                  </a:lnTo>
                  <a:lnTo>
                    <a:pt x="18" y="18"/>
                  </a:lnTo>
                  <a:lnTo>
                    <a:pt x="16" y="14"/>
                  </a:lnTo>
                  <a:lnTo>
                    <a:pt x="14" y="10"/>
                  </a:lnTo>
                  <a:lnTo>
                    <a:pt x="14" y="6"/>
                  </a:lnTo>
                  <a:lnTo>
                    <a:pt x="15" y="2"/>
                  </a:lnTo>
                  <a:lnTo>
                    <a:pt x="11" y="0"/>
                  </a:lnTo>
                  <a:lnTo>
                    <a:pt x="8" y="0"/>
                  </a:lnTo>
                  <a:lnTo>
                    <a:pt x="3" y="4"/>
                  </a:lnTo>
                  <a:lnTo>
                    <a:pt x="0" y="11"/>
                  </a:lnTo>
                  <a:lnTo>
                    <a:pt x="2" y="17"/>
                  </a:lnTo>
                  <a:lnTo>
                    <a:pt x="2" y="26"/>
                  </a:lnTo>
                  <a:lnTo>
                    <a:pt x="10" y="28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02" name="Group 27"/>
          <p:cNvGrpSpPr>
            <a:grpSpLocks/>
          </p:cNvGrpSpPr>
          <p:nvPr/>
        </p:nvGrpSpPr>
        <p:grpSpPr bwMode="auto">
          <a:xfrm>
            <a:off x="3981450" y="3451225"/>
            <a:ext cx="23813" cy="69850"/>
            <a:chOff x="1750" y="2174"/>
            <a:chExt cx="15" cy="44"/>
          </a:xfrm>
        </p:grpSpPr>
        <p:sp>
          <p:nvSpPr>
            <p:cNvPr id="34460" name="Freeform 25"/>
            <p:cNvSpPr>
              <a:spLocks/>
            </p:cNvSpPr>
            <p:nvPr/>
          </p:nvSpPr>
          <p:spPr bwMode="auto">
            <a:xfrm>
              <a:off x="1750" y="2174"/>
              <a:ext cx="15" cy="44"/>
            </a:xfrm>
            <a:custGeom>
              <a:avLst/>
              <a:gdLst>
                <a:gd name="T0" fmla="*/ 9 w 15"/>
                <a:gd name="T1" fmla="*/ 1 h 44"/>
                <a:gd name="T2" fmla="*/ 8 w 15"/>
                <a:gd name="T3" fmla="*/ 0 h 44"/>
                <a:gd name="T4" fmla="*/ 7 w 15"/>
                <a:gd name="T5" fmla="*/ 4 h 44"/>
                <a:gd name="T6" fmla="*/ 3 w 15"/>
                <a:gd name="T7" fmla="*/ 6 h 44"/>
                <a:gd name="T8" fmla="*/ 2 w 15"/>
                <a:gd name="T9" fmla="*/ 8 h 44"/>
                <a:gd name="T10" fmla="*/ 3 w 15"/>
                <a:gd name="T11" fmla="*/ 10 h 44"/>
                <a:gd name="T12" fmla="*/ 4 w 15"/>
                <a:gd name="T13" fmla="*/ 15 h 44"/>
                <a:gd name="T14" fmla="*/ 6 w 15"/>
                <a:gd name="T15" fmla="*/ 18 h 44"/>
                <a:gd name="T16" fmla="*/ 0 w 15"/>
                <a:gd name="T17" fmla="*/ 24 h 44"/>
                <a:gd name="T18" fmla="*/ 1 w 15"/>
                <a:gd name="T19" fmla="*/ 27 h 44"/>
                <a:gd name="T20" fmla="*/ 4 w 15"/>
                <a:gd name="T21" fmla="*/ 28 h 44"/>
                <a:gd name="T22" fmla="*/ 7 w 15"/>
                <a:gd name="T23" fmla="*/ 25 h 44"/>
                <a:gd name="T24" fmla="*/ 9 w 15"/>
                <a:gd name="T25" fmla="*/ 28 h 44"/>
                <a:gd name="T26" fmla="*/ 9 w 15"/>
                <a:gd name="T27" fmla="*/ 33 h 44"/>
                <a:gd name="T28" fmla="*/ 7 w 15"/>
                <a:gd name="T29" fmla="*/ 44 h 44"/>
                <a:gd name="T30" fmla="*/ 13 w 15"/>
                <a:gd name="T31" fmla="*/ 37 h 44"/>
                <a:gd name="T32" fmla="*/ 13 w 15"/>
                <a:gd name="T33" fmla="*/ 32 h 44"/>
                <a:gd name="T34" fmla="*/ 14 w 15"/>
                <a:gd name="T35" fmla="*/ 28 h 44"/>
                <a:gd name="T36" fmla="*/ 13 w 15"/>
                <a:gd name="T37" fmla="*/ 22 h 44"/>
                <a:gd name="T38" fmla="*/ 14 w 15"/>
                <a:gd name="T39" fmla="*/ 21 h 44"/>
                <a:gd name="T40" fmla="*/ 14 w 15"/>
                <a:gd name="T41" fmla="*/ 16 h 44"/>
                <a:gd name="T42" fmla="*/ 15 w 15"/>
                <a:gd name="T43" fmla="*/ 14 h 44"/>
                <a:gd name="T44" fmla="*/ 9 w 15"/>
                <a:gd name="T45" fmla="*/ 10 h 44"/>
                <a:gd name="T46" fmla="*/ 9 w 15"/>
                <a:gd name="T47" fmla="*/ 1 h 4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5"/>
                <a:gd name="T73" fmla="*/ 0 h 44"/>
                <a:gd name="T74" fmla="*/ 15 w 15"/>
                <a:gd name="T75" fmla="*/ 44 h 4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5" h="44">
                  <a:moveTo>
                    <a:pt x="9" y="1"/>
                  </a:moveTo>
                  <a:lnTo>
                    <a:pt x="8" y="0"/>
                  </a:lnTo>
                  <a:lnTo>
                    <a:pt x="7" y="4"/>
                  </a:lnTo>
                  <a:lnTo>
                    <a:pt x="3" y="6"/>
                  </a:lnTo>
                  <a:lnTo>
                    <a:pt x="2" y="8"/>
                  </a:lnTo>
                  <a:lnTo>
                    <a:pt x="3" y="10"/>
                  </a:lnTo>
                  <a:lnTo>
                    <a:pt x="4" y="15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4" y="28"/>
                  </a:lnTo>
                  <a:lnTo>
                    <a:pt x="7" y="25"/>
                  </a:lnTo>
                  <a:lnTo>
                    <a:pt x="9" y="28"/>
                  </a:lnTo>
                  <a:lnTo>
                    <a:pt x="9" y="33"/>
                  </a:lnTo>
                  <a:lnTo>
                    <a:pt x="7" y="44"/>
                  </a:lnTo>
                  <a:lnTo>
                    <a:pt x="13" y="37"/>
                  </a:lnTo>
                  <a:lnTo>
                    <a:pt x="13" y="32"/>
                  </a:lnTo>
                  <a:lnTo>
                    <a:pt x="14" y="28"/>
                  </a:lnTo>
                  <a:lnTo>
                    <a:pt x="13" y="22"/>
                  </a:lnTo>
                  <a:lnTo>
                    <a:pt x="14" y="21"/>
                  </a:lnTo>
                  <a:lnTo>
                    <a:pt x="14" y="16"/>
                  </a:lnTo>
                  <a:lnTo>
                    <a:pt x="15" y="14"/>
                  </a:lnTo>
                  <a:lnTo>
                    <a:pt x="9" y="10"/>
                  </a:lnTo>
                  <a:lnTo>
                    <a:pt x="9" y="1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61" name="Freeform 26"/>
            <p:cNvSpPr>
              <a:spLocks/>
            </p:cNvSpPr>
            <p:nvPr/>
          </p:nvSpPr>
          <p:spPr bwMode="auto">
            <a:xfrm>
              <a:off x="1750" y="2174"/>
              <a:ext cx="15" cy="44"/>
            </a:xfrm>
            <a:custGeom>
              <a:avLst/>
              <a:gdLst>
                <a:gd name="T0" fmla="*/ 9 w 15"/>
                <a:gd name="T1" fmla="*/ 1 h 44"/>
                <a:gd name="T2" fmla="*/ 8 w 15"/>
                <a:gd name="T3" fmla="*/ 0 h 44"/>
                <a:gd name="T4" fmla="*/ 7 w 15"/>
                <a:gd name="T5" fmla="*/ 4 h 44"/>
                <a:gd name="T6" fmla="*/ 3 w 15"/>
                <a:gd name="T7" fmla="*/ 6 h 44"/>
                <a:gd name="T8" fmla="*/ 2 w 15"/>
                <a:gd name="T9" fmla="*/ 8 h 44"/>
                <a:gd name="T10" fmla="*/ 3 w 15"/>
                <a:gd name="T11" fmla="*/ 10 h 44"/>
                <a:gd name="T12" fmla="*/ 4 w 15"/>
                <a:gd name="T13" fmla="*/ 15 h 44"/>
                <a:gd name="T14" fmla="*/ 6 w 15"/>
                <a:gd name="T15" fmla="*/ 18 h 44"/>
                <a:gd name="T16" fmla="*/ 0 w 15"/>
                <a:gd name="T17" fmla="*/ 24 h 44"/>
                <a:gd name="T18" fmla="*/ 1 w 15"/>
                <a:gd name="T19" fmla="*/ 27 h 44"/>
                <a:gd name="T20" fmla="*/ 4 w 15"/>
                <a:gd name="T21" fmla="*/ 28 h 44"/>
                <a:gd name="T22" fmla="*/ 7 w 15"/>
                <a:gd name="T23" fmla="*/ 25 h 44"/>
                <a:gd name="T24" fmla="*/ 9 w 15"/>
                <a:gd name="T25" fmla="*/ 28 h 44"/>
                <a:gd name="T26" fmla="*/ 9 w 15"/>
                <a:gd name="T27" fmla="*/ 33 h 44"/>
                <a:gd name="T28" fmla="*/ 7 w 15"/>
                <a:gd name="T29" fmla="*/ 44 h 44"/>
                <a:gd name="T30" fmla="*/ 13 w 15"/>
                <a:gd name="T31" fmla="*/ 37 h 44"/>
                <a:gd name="T32" fmla="*/ 13 w 15"/>
                <a:gd name="T33" fmla="*/ 32 h 44"/>
                <a:gd name="T34" fmla="*/ 14 w 15"/>
                <a:gd name="T35" fmla="*/ 28 h 44"/>
                <a:gd name="T36" fmla="*/ 13 w 15"/>
                <a:gd name="T37" fmla="*/ 22 h 44"/>
                <a:gd name="T38" fmla="*/ 14 w 15"/>
                <a:gd name="T39" fmla="*/ 21 h 44"/>
                <a:gd name="T40" fmla="*/ 14 w 15"/>
                <a:gd name="T41" fmla="*/ 16 h 44"/>
                <a:gd name="T42" fmla="*/ 15 w 15"/>
                <a:gd name="T43" fmla="*/ 14 h 44"/>
                <a:gd name="T44" fmla="*/ 9 w 15"/>
                <a:gd name="T45" fmla="*/ 10 h 44"/>
                <a:gd name="T46" fmla="*/ 9 w 15"/>
                <a:gd name="T47" fmla="*/ 1 h 4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5"/>
                <a:gd name="T73" fmla="*/ 0 h 44"/>
                <a:gd name="T74" fmla="*/ 15 w 15"/>
                <a:gd name="T75" fmla="*/ 44 h 4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5" h="44">
                  <a:moveTo>
                    <a:pt x="9" y="1"/>
                  </a:moveTo>
                  <a:lnTo>
                    <a:pt x="8" y="0"/>
                  </a:lnTo>
                  <a:lnTo>
                    <a:pt x="7" y="4"/>
                  </a:lnTo>
                  <a:lnTo>
                    <a:pt x="3" y="6"/>
                  </a:lnTo>
                  <a:lnTo>
                    <a:pt x="2" y="8"/>
                  </a:lnTo>
                  <a:lnTo>
                    <a:pt x="3" y="10"/>
                  </a:lnTo>
                  <a:lnTo>
                    <a:pt x="4" y="15"/>
                  </a:lnTo>
                  <a:lnTo>
                    <a:pt x="6" y="18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4" y="28"/>
                  </a:lnTo>
                  <a:lnTo>
                    <a:pt x="7" y="25"/>
                  </a:lnTo>
                  <a:lnTo>
                    <a:pt x="9" y="28"/>
                  </a:lnTo>
                  <a:lnTo>
                    <a:pt x="9" y="33"/>
                  </a:lnTo>
                  <a:lnTo>
                    <a:pt x="7" y="44"/>
                  </a:lnTo>
                  <a:lnTo>
                    <a:pt x="13" y="37"/>
                  </a:lnTo>
                  <a:lnTo>
                    <a:pt x="13" y="32"/>
                  </a:lnTo>
                  <a:lnTo>
                    <a:pt x="14" y="28"/>
                  </a:lnTo>
                  <a:lnTo>
                    <a:pt x="13" y="22"/>
                  </a:lnTo>
                  <a:lnTo>
                    <a:pt x="14" y="21"/>
                  </a:lnTo>
                  <a:lnTo>
                    <a:pt x="14" y="16"/>
                  </a:lnTo>
                  <a:lnTo>
                    <a:pt x="15" y="14"/>
                  </a:lnTo>
                  <a:lnTo>
                    <a:pt x="9" y="10"/>
                  </a:lnTo>
                  <a:lnTo>
                    <a:pt x="9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03" name="Group 30"/>
          <p:cNvGrpSpPr>
            <a:grpSpLocks/>
          </p:cNvGrpSpPr>
          <p:nvPr/>
        </p:nvGrpSpPr>
        <p:grpSpPr bwMode="auto">
          <a:xfrm>
            <a:off x="3856038" y="4059238"/>
            <a:ext cx="12700" cy="14287"/>
            <a:chOff x="1671" y="2557"/>
            <a:chExt cx="8" cy="9"/>
          </a:xfrm>
        </p:grpSpPr>
        <p:sp>
          <p:nvSpPr>
            <p:cNvPr id="34458" name="Freeform 28"/>
            <p:cNvSpPr>
              <a:spLocks/>
            </p:cNvSpPr>
            <p:nvPr/>
          </p:nvSpPr>
          <p:spPr bwMode="auto">
            <a:xfrm>
              <a:off x="1671" y="2557"/>
              <a:ext cx="8" cy="9"/>
            </a:xfrm>
            <a:custGeom>
              <a:avLst/>
              <a:gdLst>
                <a:gd name="T0" fmla="*/ 6 w 8"/>
                <a:gd name="T1" fmla="*/ 9 h 9"/>
                <a:gd name="T2" fmla="*/ 8 w 8"/>
                <a:gd name="T3" fmla="*/ 6 h 9"/>
                <a:gd name="T4" fmla="*/ 2 w 8"/>
                <a:gd name="T5" fmla="*/ 1 h 9"/>
                <a:gd name="T6" fmla="*/ 0 w 8"/>
                <a:gd name="T7" fmla="*/ 0 h 9"/>
                <a:gd name="T8" fmla="*/ 6 w 8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9"/>
                <a:gd name="T17" fmla="*/ 8 w 8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9">
                  <a:moveTo>
                    <a:pt x="6" y="9"/>
                  </a:moveTo>
                  <a:lnTo>
                    <a:pt x="8" y="6"/>
                  </a:lnTo>
                  <a:lnTo>
                    <a:pt x="2" y="1"/>
                  </a:lnTo>
                  <a:lnTo>
                    <a:pt x="0" y="0"/>
                  </a:lnTo>
                  <a:lnTo>
                    <a:pt x="6" y="9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59" name="Freeform 29"/>
            <p:cNvSpPr>
              <a:spLocks/>
            </p:cNvSpPr>
            <p:nvPr/>
          </p:nvSpPr>
          <p:spPr bwMode="auto">
            <a:xfrm>
              <a:off x="1671" y="2557"/>
              <a:ext cx="8" cy="9"/>
            </a:xfrm>
            <a:custGeom>
              <a:avLst/>
              <a:gdLst>
                <a:gd name="T0" fmla="*/ 6 w 8"/>
                <a:gd name="T1" fmla="*/ 9 h 9"/>
                <a:gd name="T2" fmla="*/ 8 w 8"/>
                <a:gd name="T3" fmla="*/ 6 h 9"/>
                <a:gd name="T4" fmla="*/ 2 w 8"/>
                <a:gd name="T5" fmla="*/ 1 h 9"/>
                <a:gd name="T6" fmla="*/ 0 w 8"/>
                <a:gd name="T7" fmla="*/ 0 h 9"/>
                <a:gd name="T8" fmla="*/ 6 w 8"/>
                <a:gd name="T9" fmla="*/ 9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9"/>
                <a:gd name="T17" fmla="*/ 8 w 8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9">
                  <a:moveTo>
                    <a:pt x="6" y="9"/>
                  </a:moveTo>
                  <a:lnTo>
                    <a:pt x="8" y="6"/>
                  </a:lnTo>
                  <a:lnTo>
                    <a:pt x="2" y="1"/>
                  </a:lnTo>
                  <a:lnTo>
                    <a:pt x="0" y="0"/>
                  </a:lnTo>
                  <a:lnTo>
                    <a:pt x="6" y="9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04" name="Group 33"/>
          <p:cNvGrpSpPr>
            <a:grpSpLocks/>
          </p:cNvGrpSpPr>
          <p:nvPr/>
        </p:nvGrpSpPr>
        <p:grpSpPr bwMode="auto">
          <a:xfrm>
            <a:off x="3778250" y="3633788"/>
            <a:ext cx="357188" cy="676275"/>
            <a:chOff x="1622" y="2289"/>
            <a:chExt cx="225" cy="426"/>
          </a:xfrm>
        </p:grpSpPr>
        <p:sp>
          <p:nvSpPr>
            <p:cNvPr id="34456" name="Freeform 31"/>
            <p:cNvSpPr>
              <a:spLocks/>
            </p:cNvSpPr>
            <p:nvPr/>
          </p:nvSpPr>
          <p:spPr bwMode="auto">
            <a:xfrm>
              <a:off x="1622" y="2289"/>
              <a:ext cx="225" cy="426"/>
            </a:xfrm>
            <a:custGeom>
              <a:avLst/>
              <a:gdLst>
                <a:gd name="T0" fmla="*/ 119 w 225"/>
                <a:gd name="T1" fmla="*/ 398 h 426"/>
                <a:gd name="T2" fmla="*/ 137 w 225"/>
                <a:gd name="T3" fmla="*/ 386 h 426"/>
                <a:gd name="T4" fmla="*/ 172 w 225"/>
                <a:gd name="T5" fmla="*/ 389 h 426"/>
                <a:gd name="T6" fmla="*/ 215 w 225"/>
                <a:gd name="T7" fmla="*/ 365 h 426"/>
                <a:gd name="T8" fmla="*/ 199 w 225"/>
                <a:gd name="T9" fmla="*/ 352 h 426"/>
                <a:gd name="T10" fmla="*/ 207 w 225"/>
                <a:gd name="T11" fmla="*/ 345 h 426"/>
                <a:gd name="T12" fmla="*/ 222 w 225"/>
                <a:gd name="T13" fmla="*/ 329 h 426"/>
                <a:gd name="T14" fmla="*/ 209 w 225"/>
                <a:gd name="T15" fmla="*/ 290 h 426"/>
                <a:gd name="T16" fmla="*/ 176 w 225"/>
                <a:gd name="T17" fmla="*/ 295 h 426"/>
                <a:gd name="T18" fmla="*/ 178 w 225"/>
                <a:gd name="T19" fmla="*/ 265 h 426"/>
                <a:gd name="T20" fmla="*/ 180 w 225"/>
                <a:gd name="T21" fmla="*/ 258 h 426"/>
                <a:gd name="T22" fmla="*/ 165 w 225"/>
                <a:gd name="T23" fmla="*/ 227 h 426"/>
                <a:gd name="T24" fmla="*/ 140 w 225"/>
                <a:gd name="T25" fmla="*/ 202 h 426"/>
                <a:gd name="T26" fmla="*/ 119 w 225"/>
                <a:gd name="T27" fmla="*/ 153 h 426"/>
                <a:gd name="T28" fmla="*/ 81 w 225"/>
                <a:gd name="T29" fmla="*/ 139 h 426"/>
                <a:gd name="T30" fmla="*/ 94 w 225"/>
                <a:gd name="T31" fmla="*/ 120 h 426"/>
                <a:gd name="T32" fmla="*/ 103 w 225"/>
                <a:gd name="T33" fmla="*/ 105 h 426"/>
                <a:gd name="T34" fmla="*/ 122 w 225"/>
                <a:gd name="T35" fmla="*/ 57 h 426"/>
                <a:gd name="T36" fmla="*/ 80 w 225"/>
                <a:gd name="T37" fmla="*/ 50 h 426"/>
                <a:gd name="T38" fmla="*/ 52 w 225"/>
                <a:gd name="T39" fmla="*/ 54 h 426"/>
                <a:gd name="T40" fmla="*/ 57 w 225"/>
                <a:gd name="T41" fmla="*/ 40 h 426"/>
                <a:gd name="T42" fmla="*/ 79 w 225"/>
                <a:gd name="T43" fmla="*/ 0 h 426"/>
                <a:gd name="T44" fmla="*/ 39 w 225"/>
                <a:gd name="T45" fmla="*/ 3 h 426"/>
                <a:gd name="T46" fmla="*/ 19 w 225"/>
                <a:gd name="T47" fmla="*/ 31 h 426"/>
                <a:gd name="T48" fmla="*/ 13 w 225"/>
                <a:gd name="T49" fmla="*/ 60 h 426"/>
                <a:gd name="T50" fmla="*/ 17 w 225"/>
                <a:gd name="T51" fmla="*/ 70 h 426"/>
                <a:gd name="T52" fmla="*/ 13 w 225"/>
                <a:gd name="T53" fmla="*/ 83 h 426"/>
                <a:gd name="T54" fmla="*/ 3 w 225"/>
                <a:gd name="T55" fmla="*/ 102 h 426"/>
                <a:gd name="T56" fmla="*/ 18 w 225"/>
                <a:gd name="T57" fmla="*/ 112 h 426"/>
                <a:gd name="T58" fmla="*/ 16 w 225"/>
                <a:gd name="T59" fmla="*/ 133 h 426"/>
                <a:gd name="T60" fmla="*/ 18 w 225"/>
                <a:gd name="T61" fmla="*/ 150 h 426"/>
                <a:gd name="T62" fmla="*/ 15 w 225"/>
                <a:gd name="T63" fmla="*/ 172 h 426"/>
                <a:gd name="T64" fmla="*/ 28 w 225"/>
                <a:gd name="T65" fmla="*/ 129 h 426"/>
                <a:gd name="T66" fmla="*/ 28 w 225"/>
                <a:gd name="T67" fmla="*/ 143 h 426"/>
                <a:gd name="T68" fmla="*/ 41 w 225"/>
                <a:gd name="T69" fmla="*/ 142 h 426"/>
                <a:gd name="T70" fmla="*/ 40 w 225"/>
                <a:gd name="T71" fmla="*/ 161 h 426"/>
                <a:gd name="T72" fmla="*/ 31 w 225"/>
                <a:gd name="T73" fmla="*/ 194 h 426"/>
                <a:gd name="T74" fmla="*/ 34 w 225"/>
                <a:gd name="T75" fmla="*/ 201 h 426"/>
                <a:gd name="T76" fmla="*/ 50 w 225"/>
                <a:gd name="T77" fmla="*/ 199 h 426"/>
                <a:gd name="T78" fmla="*/ 85 w 225"/>
                <a:gd name="T79" fmla="*/ 195 h 426"/>
                <a:gd name="T80" fmla="*/ 76 w 225"/>
                <a:gd name="T81" fmla="*/ 225 h 426"/>
                <a:gd name="T82" fmla="*/ 94 w 225"/>
                <a:gd name="T83" fmla="*/ 228 h 426"/>
                <a:gd name="T84" fmla="*/ 94 w 225"/>
                <a:gd name="T85" fmla="*/ 252 h 426"/>
                <a:gd name="T86" fmla="*/ 88 w 225"/>
                <a:gd name="T87" fmla="*/ 273 h 426"/>
                <a:gd name="T88" fmla="*/ 51 w 225"/>
                <a:gd name="T89" fmla="*/ 292 h 426"/>
                <a:gd name="T90" fmla="*/ 57 w 225"/>
                <a:gd name="T91" fmla="*/ 322 h 426"/>
                <a:gd name="T92" fmla="*/ 31 w 225"/>
                <a:gd name="T93" fmla="*/ 352 h 426"/>
                <a:gd name="T94" fmla="*/ 51 w 225"/>
                <a:gd name="T95" fmla="*/ 352 h 426"/>
                <a:gd name="T96" fmla="*/ 74 w 225"/>
                <a:gd name="T97" fmla="*/ 362 h 426"/>
                <a:gd name="T98" fmla="*/ 102 w 225"/>
                <a:gd name="T99" fmla="*/ 347 h 426"/>
                <a:gd name="T100" fmla="*/ 81 w 225"/>
                <a:gd name="T101" fmla="*/ 372 h 426"/>
                <a:gd name="T102" fmla="*/ 24 w 225"/>
                <a:gd name="T103" fmla="*/ 413 h 426"/>
                <a:gd name="T104" fmla="*/ 24 w 225"/>
                <a:gd name="T105" fmla="*/ 424 h 426"/>
                <a:gd name="T106" fmla="*/ 41 w 225"/>
                <a:gd name="T107" fmla="*/ 410 h 426"/>
                <a:gd name="T108" fmla="*/ 78 w 225"/>
                <a:gd name="T109" fmla="*/ 397 h 42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25"/>
                <a:gd name="T166" fmla="*/ 0 h 426"/>
                <a:gd name="T167" fmla="*/ 225 w 225"/>
                <a:gd name="T168" fmla="*/ 426 h 42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25" h="426">
                  <a:moveTo>
                    <a:pt x="104" y="402"/>
                  </a:moveTo>
                  <a:lnTo>
                    <a:pt x="105" y="402"/>
                  </a:lnTo>
                  <a:lnTo>
                    <a:pt x="106" y="399"/>
                  </a:lnTo>
                  <a:lnTo>
                    <a:pt x="111" y="398"/>
                  </a:lnTo>
                  <a:lnTo>
                    <a:pt x="116" y="399"/>
                  </a:lnTo>
                  <a:lnTo>
                    <a:pt x="119" y="398"/>
                  </a:lnTo>
                  <a:lnTo>
                    <a:pt x="118" y="395"/>
                  </a:lnTo>
                  <a:lnTo>
                    <a:pt x="131" y="394"/>
                  </a:lnTo>
                  <a:lnTo>
                    <a:pt x="132" y="393"/>
                  </a:lnTo>
                  <a:lnTo>
                    <a:pt x="136" y="391"/>
                  </a:lnTo>
                  <a:lnTo>
                    <a:pt x="137" y="388"/>
                  </a:lnTo>
                  <a:lnTo>
                    <a:pt x="137" y="386"/>
                  </a:lnTo>
                  <a:lnTo>
                    <a:pt x="140" y="388"/>
                  </a:lnTo>
                  <a:lnTo>
                    <a:pt x="143" y="389"/>
                  </a:lnTo>
                  <a:lnTo>
                    <a:pt x="148" y="388"/>
                  </a:lnTo>
                  <a:lnTo>
                    <a:pt x="149" y="390"/>
                  </a:lnTo>
                  <a:lnTo>
                    <a:pt x="152" y="392"/>
                  </a:lnTo>
                  <a:lnTo>
                    <a:pt x="172" y="389"/>
                  </a:lnTo>
                  <a:lnTo>
                    <a:pt x="178" y="391"/>
                  </a:lnTo>
                  <a:lnTo>
                    <a:pt x="203" y="383"/>
                  </a:lnTo>
                  <a:lnTo>
                    <a:pt x="204" y="381"/>
                  </a:lnTo>
                  <a:lnTo>
                    <a:pt x="215" y="373"/>
                  </a:lnTo>
                  <a:lnTo>
                    <a:pt x="217" y="368"/>
                  </a:lnTo>
                  <a:lnTo>
                    <a:pt x="215" y="365"/>
                  </a:lnTo>
                  <a:lnTo>
                    <a:pt x="202" y="366"/>
                  </a:lnTo>
                  <a:lnTo>
                    <a:pt x="196" y="365"/>
                  </a:lnTo>
                  <a:lnTo>
                    <a:pt x="196" y="360"/>
                  </a:lnTo>
                  <a:lnTo>
                    <a:pt x="193" y="357"/>
                  </a:lnTo>
                  <a:lnTo>
                    <a:pt x="198" y="355"/>
                  </a:lnTo>
                  <a:lnTo>
                    <a:pt x="199" y="352"/>
                  </a:lnTo>
                  <a:lnTo>
                    <a:pt x="202" y="349"/>
                  </a:lnTo>
                  <a:lnTo>
                    <a:pt x="201" y="348"/>
                  </a:lnTo>
                  <a:lnTo>
                    <a:pt x="198" y="347"/>
                  </a:lnTo>
                  <a:lnTo>
                    <a:pt x="201" y="345"/>
                  </a:lnTo>
                  <a:lnTo>
                    <a:pt x="204" y="343"/>
                  </a:lnTo>
                  <a:lnTo>
                    <a:pt x="207" y="345"/>
                  </a:lnTo>
                  <a:lnTo>
                    <a:pt x="211" y="343"/>
                  </a:lnTo>
                  <a:lnTo>
                    <a:pt x="212" y="340"/>
                  </a:lnTo>
                  <a:lnTo>
                    <a:pt x="211" y="336"/>
                  </a:lnTo>
                  <a:lnTo>
                    <a:pt x="213" y="336"/>
                  </a:lnTo>
                  <a:lnTo>
                    <a:pt x="217" y="334"/>
                  </a:lnTo>
                  <a:lnTo>
                    <a:pt x="222" y="329"/>
                  </a:lnTo>
                  <a:lnTo>
                    <a:pt x="224" y="318"/>
                  </a:lnTo>
                  <a:lnTo>
                    <a:pt x="225" y="310"/>
                  </a:lnTo>
                  <a:lnTo>
                    <a:pt x="223" y="301"/>
                  </a:lnTo>
                  <a:lnTo>
                    <a:pt x="219" y="295"/>
                  </a:lnTo>
                  <a:lnTo>
                    <a:pt x="213" y="292"/>
                  </a:lnTo>
                  <a:lnTo>
                    <a:pt x="209" y="290"/>
                  </a:lnTo>
                  <a:lnTo>
                    <a:pt x="203" y="289"/>
                  </a:lnTo>
                  <a:lnTo>
                    <a:pt x="191" y="292"/>
                  </a:lnTo>
                  <a:lnTo>
                    <a:pt x="186" y="299"/>
                  </a:lnTo>
                  <a:lnTo>
                    <a:pt x="183" y="297"/>
                  </a:lnTo>
                  <a:lnTo>
                    <a:pt x="179" y="296"/>
                  </a:lnTo>
                  <a:lnTo>
                    <a:pt x="176" y="295"/>
                  </a:lnTo>
                  <a:lnTo>
                    <a:pt x="178" y="290"/>
                  </a:lnTo>
                  <a:lnTo>
                    <a:pt x="184" y="283"/>
                  </a:lnTo>
                  <a:lnTo>
                    <a:pt x="186" y="280"/>
                  </a:lnTo>
                  <a:lnTo>
                    <a:pt x="186" y="275"/>
                  </a:lnTo>
                  <a:lnTo>
                    <a:pt x="181" y="268"/>
                  </a:lnTo>
                  <a:lnTo>
                    <a:pt x="178" y="265"/>
                  </a:lnTo>
                  <a:lnTo>
                    <a:pt x="176" y="262"/>
                  </a:lnTo>
                  <a:lnTo>
                    <a:pt x="173" y="261"/>
                  </a:lnTo>
                  <a:lnTo>
                    <a:pt x="166" y="253"/>
                  </a:lnTo>
                  <a:lnTo>
                    <a:pt x="168" y="252"/>
                  </a:lnTo>
                  <a:lnTo>
                    <a:pt x="174" y="258"/>
                  </a:lnTo>
                  <a:lnTo>
                    <a:pt x="180" y="258"/>
                  </a:lnTo>
                  <a:lnTo>
                    <a:pt x="181" y="258"/>
                  </a:lnTo>
                  <a:lnTo>
                    <a:pt x="179" y="250"/>
                  </a:lnTo>
                  <a:lnTo>
                    <a:pt x="176" y="247"/>
                  </a:lnTo>
                  <a:lnTo>
                    <a:pt x="171" y="240"/>
                  </a:lnTo>
                  <a:lnTo>
                    <a:pt x="169" y="233"/>
                  </a:lnTo>
                  <a:lnTo>
                    <a:pt x="165" y="227"/>
                  </a:lnTo>
                  <a:lnTo>
                    <a:pt x="163" y="221"/>
                  </a:lnTo>
                  <a:lnTo>
                    <a:pt x="158" y="214"/>
                  </a:lnTo>
                  <a:lnTo>
                    <a:pt x="152" y="212"/>
                  </a:lnTo>
                  <a:lnTo>
                    <a:pt x="144" y="210"/>
                  </a:lnTo>
                  <a:lnTo>
                    <a:pt x="143" y="208"/>
                  </a:lnTo>
                  <a:lnTo>
                    <a:pt x="140" y="202"/>
                  </a:lnTo>
                  <a:lnTo>
                    <a:pt x="137" y="196"/>
                  </a:lnTo>
                  <a:lnTo>
                    <a:pt x="133" y="189"/>
                  </a:lnTo>
                  <a:lnTo>
                    <a:pt x="132" y="183"/>
                  </a:lnTo>
                  <a:lnTo>
                    <a:pt x="130" y="163"/>
                  </a:lnTo>
                  <a:lnTo>
                    <a:pt x="125" y="160"/>
                  </a:lnTo>
                  <a:lnTo>
                    <a:pt x="119" y="153"/>
                  </a:lnTo>
                  <a:lnTo>
                    <a:pt x="116" y="147"/>
                  </a:lnTo>
                  <a:lnTo>
                    <a:pt x="101" y="139"/>
                  </a:lnTo>
                  <a:lnTo>
                    <a:pt x="98" y="138"/>
                  </a:lnTo>
                  <a:lnTo>
                    <a:pt x="89" y="142"/>
                  </a:lnTo>
                  <a:lnTo>
                    <a:pt x="81" y="140"/>
                  </a:lnTo>
                  <a:lnTo>
                    <a:pt x="81" y="139"/>
                  </a:lnTo>
                  <a:lnTo>
                    <a:pt x="82" y="135"/>
                  </a:lnTo>
                  <a:lnTo>
                    <a:pt x="86" y="132"/>
                  </a:lnTo>
                  <a:lnTo>
                    <a:pt x="90" y="130"/>
                  </a:lnTo>
                  <a:lnTo>
                    <a:pt x="96" y="130"/>
                  </a:lnTo>
                  <a:lnTo>
                    <a:pt x="100" y="128"/>
                  </a:lnTo>
                  <a:lnTo>
                    <a:pt x="94" y="120"/>
                  </a:lnTo>
                  <a:lnTo>
                    <a:pt x="92" y="119"/>
                  </a:lnTo>
                  <a:lnTo>
                    <a:pt x="91" y="116"/>
                  </a:lnTo>
                  <a:lnTo>
                    <a:pt x="96" y="116"/>
                  </a:lnTo>
                  <a:lnTo>
                    <a:pt x="99" y="114"/>
                  </a:lnTo>
                  <a:lnTo>
                    <a:pt x="102" y="110"/>
                  </a:lnTo>
                  <a:lnTo>
                    <a:pt x="103" y="105"/>
                  </a:lnTo>
                  <a:lnTo>
                    <a:pt x="110" y="95"/>
                  </a:lnTo>
                  <a:lnTo>
                    <a:pt x="111" y="90"/>
                  </a:lnTo>
                  <a:lnTo>
                    <a:pt x="113" y="84"/>
                  </a:lnTo>
                  <a:lnTo>
                    <a:pt x="115" y="76"/>
                  </a:lnTo>
                  <a:lnTo>
                    <a:pt x="122" y="67"/>
                  </a:lnTo>
                  <a:lnTo>
                    <a:pt x="122" y="57"/>
                  </a:lnTo>
                  <a:lnTo>
                    <a:pt x="120" y="53"/>
                  </a:lnTo>
                  <a:lnTo>
                    <a:pt x="112" y="52"/>
                  </a:lnTo>
                  <a:lnTo>
                    <a:pt x="105" y="53"/>
                  </a:lnTo>
                  <a:lnTo>
                    <a:pt x="93" y="51"/>
                  </a:lnTo>
                  <a:lnTo>
                    <a:pt x="87" y="52"/>
                  </a:lnTo>
                  <a:lnTo>
                    <a:pt x="80" y="50"/>
                  </a:lnTo>
                  <a:lnTo>
                    <a:pt x="62" y="57"/>
                  </a:lnTo>
                  <a:lnTo>
                    <a:pt x="58" y="60"/>
                  </a:lnTo>
                  <a:lnTo>
                    <a:pt x="55" y="59"/>
                  </a:lnTo>
                  <a:lnTo>
                    <a:pt x="57" y="55"/>
                  </a:lnTo>
                  <a:lnTo>
                    <a:pt x="57" y="53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60" y="50"/>
                  </a:lnTo>
                  <a:lnTo>
                    <a:pt x="65" y="45"/>
                  </a:lnTo>
                  <a:lnTo>
                    <a:pt x="56" y="44"/>
                  </a:lnTo>
                  <a:lnTo>
                    <a:pt x="57" y="40"/>
                  </a:lnTo>
                  <a:lnTo>
                    <a:pt x="62" y="34"/>
                  </a:lnTo>
                  <a:lnTo>
                    <a:pt x="73" y="28"/>
                  </a:lnTo>
                  <a:lnTo>
                    <a:pt x="77" y="20"/>
                  </a:lnTo>
                  <a:lnTo>
                    <a:pt x="84" y="15"/>
                  </a:lnTo>
                  <a:lnTo>
                    <a:pt x="86" y="2"/>
                  </a:lnTo>
                  <a:lnTo>
                    <a:pt x="79" y="0"/>
                  </a:lnTo>
                  <a:lnTo>
                    <a:pt x="72" y="2"/>
                  </a:lnTo>
                  <a:lnTo>
                    <a:pt x="65" y="4"/>
                  </a:lnTo>
                  <a:lnTo>
                    <a:pt x="58" y="4"/>
                  </a:lnTo>
                  <a:lnTo>
                    <a:pt x="50" y="6"/>
                  </a:lnTo>
                  <a:lnTo>
                    <a:pt x="49" y="5"/>
                  </a:lnTo>
                  <a:lnTo>
                    <a:pt x="39" y="3"/>
                  </a:lnTo>
                  <a:lnTo>
                    <a:pt x="34" y="4"/>
                  </a:lnTo>
                  <a:lnTo>
                    <a:pt x="28" y="13"/>
                  </a:lnTo>
                  <a:lnTo>
                    <a:pt x="28" y="22"/>
                  </a:lnTo>
                  <a:lnTo>
                    <a:pt x="22" y="22"/>
                  </a:lnTo>
                  <a:lnTo>
                    <a:pt x="22" y="30"/>
                  </a:lnTo>
                  <a:lnTo>
                    <a:pt x="19" y="31"/>
                  </a:lnTo>
                  <a:lnTo>
                    <a:pt x="20" y="34"/>
                  </a:lnTo>
                  <a:lnTo>
                    <a:pt x="24" y="38"/>
                  </a:lnTo>
                  <a:lnTo>
                    <a:pt x="10" y="46"/>
                  </a:lnTo>
                  <a:lnTo>
                    <a:pt x="11" y="57"/>
                  </a:lnTo>
                  <a:lnTo>
                    <a:pt x="14" y="59"/>
                  </a:lnTo>
                  <a:lnTo>
                    <a:pt x="13" y="60"/>
                  </a:lnTo>
                  <a:lnTo>
                    <a:pt x="9" y="59"/>
                  </a:lnTo>
                  <a:lnTo>
                    <a:pt x="8" y="60"/>
                  </a:lnTo>
                  <a:lnTo>
                    <a:pt x="8" y="68"/>
                  </a:lnTo>
                  <a:lnTo>
                    <a:pt x="12" y="68"/>
                  </a:lnTo>
                  <a:lnTo>
                    <a:pt x="18" y="67"/>
                  </a:lnTo>
                  <a:lnTo>
                    <a:pt x="17" y="70"/>
                  </a:lnTo>
                  <a:lnTo>
                    <a:pt x="14" y="71"/>
                  </a:lnTo>
                  <a:lnTo>
                    <a:pt x="18" y="72"/>
                  </a:lnTo>
                  <a:lnTo>
                    <a:pt x="14" y="77"/>
                  </a:lnTo>
                  <a:lnTo>
                    <a:pt x="14" y="79"/>
                  </a:lnTo>
                  <a:lnTo>
                    <a:pt x="14" y="82"/>
                  </a:lnTo>
                  <a:lnTo>
                    <a:pt x="13" y="83"/>
                  </a:lnTo>
                  <a:lnTo>
                    <a:pt x="11" y="85"/>
                  </a:lnTo>
                  <a:lnTo>
                    <a:pt x="11" y="87"/>
                  </a:lnTo>
                  <a:lnTo>
                    <a:pt x="9" y="89"/>
                  </a:lnTo>
                  <a:lnTo>
                    <a:pt x="8" y="93"/>
                  </a:lnTo>
                  <a:lnTo>
                    <a:pt x="8" y="100"/>
                  </a:lnTo>
                  <a:lnTo>
                    <a:pt x="3" y="102"/>
                  </a:lnTo>
                  <a:lnTo>
                    <a:pt x="0" y="103"/>
                  </a:lnTo>
                  <a:lnTo>
                    <a:pt x="0" y="105"/>
                  </a:lnTo>
                  <a:lnTo>
                    <a:pt x="5" y="106"/>
                  </a:lnTo>
                  <a:lnTo>
                    <a:pt x="6" y="110"/>
                  </a:lnTo>
                  <a:lnTo>
                    <a:pt x="12" y="116"/>
                  </a:lnTo>
                  <a:lnTo>
                    <a:pt x="18" y="112"/>
                  </a:lnTo>
                  <a:lnTo>
                    <a:pt x="22" y="107"/>
                  </a:lnTo>
                  <a:lnTo>
                    <a:pt x="23" y="107"/>
                  </a:lnTo>
                  <a:lnTo>
                    <a:pt x="24" y="108"/>
                  </a:lnTo>
                  <a:lnTo>
                    <a:pt x="24" y="111"/>
                  </a:lnTo>
                  <a:lnTo>
                    <a:pt x="17" y="127"/>
                  </a:lnTo>
                  <a:lnTo>
                    <a:pt x="16" y="133"/>
                  </a:lnTo>
                  <a:lnTo>
                    <a:pt x="16" y="135"/>
                  </a:lnTo>
                  <a:lnTo>
                    <a:pt x="14" y="138"/>
                  </a:lnTo>
                  <a:lnTo>
                    <a:pt x="14" y="144"/>
                  </a:lnTo>
                  <a:lnTo>
                    <a:pt x="14" y="148"/>
                  </a:lnTo>
                  <a:lnTo>
                    <a:pt x="16" y="147"/>
                  </a:lnTo>
                  <a:lnTo>
                    <a:pt x="18" y="150"/>
                  </a:lnTo>
                  <a:lnTo>
                    <a:pt x="18" y="153"/>
                  </a:lnTo>
                  <a:lnTo>
                    <a:pt x="13" y="161"/>
                  </a:lnTo>
                  <a:lnTo>
                    <a:pt x="10" y="173"/>
                  </a:lnTo>
                  <a:lnTo>
                    <a:pt x="10" y="175"/>
                  </a:lnTo>
                  <a:lnTo>
                    <a:pt x="13" y="175"/>
                  </a:lnTo>
                  <a:lnTo>
                    <a:pt x="15" y="172"/>
                  </a:lnTo>
                  <a:lnTo>
                    <a:pt x="16" y="166"/>
                  </a:lnTo>
                  <a:lnTo>
                    <a:pt x="22" y="152"/>
                  </a:lnTo>
                  <a:lnTo>
                    <a:pt x="22" y="145"/>
                  </a:lnTo>
                  <a:lnTo>
                    <a:pt x="20" y="141"/>
                  </a:lnTo>
                  <a:lnTo>
                    <a:pt x="20" y="139"/>
                  </a:lnTo>
                  <a:lnTo>
                    <a:pt x="28" y="129"/>
                  </a:lnTo>
                  <a:lnTo>
                    <a:pt x="28" y="133"/>
                  </a:lnTo>
                  <a:lnTo>
                    <a:pt x="24" y="141"/>
                  </a:lnTo>
                  <a:lnTo>
                    <a:pt x="24" y="147"/>
                  </a:lnTo>
                  <a:lnTo>
                    <a:pt x="25" y="146"/>
                  </a:lnTo>
                  <a:lnTo>
                    <a:pt x="27" y="145"/>
                  </a:lnTo>
                  <a:lnTo>
                    <a:pt x="28" y="143"/>
                  </a:lnTo>
                  <a:lnTo>
                    <a:pt x="29" y="142"/>
                  </a:lnTo>
                  <a:lnTo>
                    <a:pt x="32" y="144"/>
                  </a:lnTo>
                  <a:lnTo>
                    <a:pt x="33" y="144"/>
                  </a:lnTo>
                  <a:lnTo>
                    <a:pt x="33" y="137"/>
                  </a:lnTo>
                  <a:lnTo>
                    <a:pt x="38" y="139"/>
                  </a:lnTo>
                  <a:lnTo>
                    <a:pt x="41" y="142"/>
                  </a:lnTo>
                  <a:lnTo>
                    <a:pt x="38" y="143"/>
                  </a:lnTo>
                  <a:lnTo>
                    <a:pt x="37" y="146"/>
                  </a:lnTo>
                  <a:lnTo>
                    <a:pt x="36" y="148"/>
                  </a:lnTo>
                  <a:lnTo>
                    <a:pt x="35" y="156"/>
                  </a:lnTo>
                  <a:lnTo>
                    <a:pt x="37" y="159"/>
                  </a:lnTo>
                  <a:lnTo>
                    <a:pt x="40" y="161"/>
                  </a:lnTo>
                  <a:lnTo>
                    <a:pt x="41" y="166"/>
                  </a:lnTo>
                  <a:lnTo>
                    <a:pt x="38" y="171"/>
                  </a:lnTo>
                  <a:lnTo>
                    <a:pt x="36" y="178"/>
                  </a:lnTo>
                  <a:lnTo>
                    <a:pt x="32" y="185"/>
                  </a:lnTo>
                  <a:lnTo>
                    <a:pt x="31" y="190"/>
                  </a:lnTo>
                  <a:lnTo>
                    <a:pt x="31" y="194"/>
                  </a:lnTo>
                  <a:lnTo>
                    <a:pt x="28" y="192"/>
                  </a:lnTo>
                  <a:lnTo>
                    <a:pt x="27" y="194"/>
                  </a:lnTo>
                  <a:lnTo>
                    <a:pt x="31" y="206"/>
                  </a:lnTo>
                  <a:lnTo>
                    <a:pt x="33" y="208"/>
                  </a:lnTo>
                  <a:lnTo>
                    <a:pt x="34" y="208"/>
                  </a:lnTo>
                  <a:lnTo>
                    <a:pt x="34" y="201"/>
                  </a:lnTo>
                  <a:lnTo>
                    <a:pt x="34" y="199"/>
                  </a:lnTo>
                  <a:lnTo>
                    <a:pt x="36" y="198"/>
                  </a:lnTo>
                  <a:lnTo>
                    <a:pt x="45" y="205"/>
                  </a:lnTo>
                  <a:lnTo>
                    <a:pt x="48" y="206"/>
                  </a:lnTo>
                  <a:lnTo>
                    <a:pt x="50" y="203"/>
                  </a:lnTo>
                  <a:lnTo>
                    <a:pt x="50" y="199"/>
                  </a:lnTo>
                  <a:lnTo>
                    <a:pt x="62" y="200"/>
                  </a:lnTo>
                  <a:lnTo>
                    <a:pt x="71" y="196"/>
                  </a:lnTo>
                  <a:lnTo>
                    <a:pt x="72" y="194"/>
                  </a:lnTo>
                  <a:lnTo>
                    <a:pt x="75" y="192"/>
                  </a:lnTo>
                  <a:lnTo>
                    <a:pt x="86" y="193"/>
                  </a:lnTo>
                  <a:lnTo>
                    <a:pt x="85" y="195"/>
                  </a:lnTo>
                  <a:lnTo>
                    <a:pt x="83" y="195"/>
                  </a:lnTo>
                  <a:lnTo>
                    <a:pt x="78" y="199"/>
                  </a:lnTo>
                  <a:lnTo>
                    <a:pt x="72" y="212"/>
                  </a:lnTo>
                  <a:lnTo>
                    <a:pt x="71" y="217"/>
                  </a:lnTo>
                  <a:lnTo>
                    <a:pt x="72" y="220"/>
                  </a:lnTo>
                  <a:lnTo>
                    <a:pt x="76" y="225"/>
                  </a:lnTo>
                  <a:lnTo>
                    <a:pt x="78" y="229"/>
                  </a:lnTo>
                  <a:lnTo>
                    <a:pt x="78" y="230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90" y="233"/>
                  </a:lnTo>
                  <a:lnTo>
                    <a:pt x="94" y="228"/>
                  </a:lnTo>
                  <a:lnTo>
                    <a:pt x="97" y="229"/>
                  </a:lnTo>
                  <a:lnTo>
                    <a:pt x="94" y="232"/>
                  </a:lnTo>
                  <a:lnTo>
                    <a:pt x="94" y="241"/>
                  </a:lnTo>
                  <a:lnTo>
                    <a:pt x="91" y="244"/>
                  </a:lnTo>
                  <a:lnTo>
                    <a:pt x="89" y="250"/>
                  </a:lnTo>
                  <a:lnTo>
                    <a:pt x="94" y="252"/>
                  </a:lnTo>
                  <a:lnTo>
                    <a:pt x="91" y="256"/>
                  </a:lnTo>
                  <a:lnTo>
                    <a:pt x="88" y="264"/>
                  </a:lnTo>
                  <a:lnTo>
                    <a:pt x="90" y="267"/>
                  </a:lnTo>
                  <a:lnTo>
                    <a:pt x="93" y="268"/>
                  </a:lnTo>
                  <a:lnTo>
                    <a:pt x="91" y="269"/>
                  </a:lnTo>
                  <a:lnTo>
                    <a:pt x="88" y="273"/>
                  </a:lnTo>
                  <a:lnTo>
                    <a:pt x="67" y="273"/>
                  </a:lnTo>
                  <a:lnTo>
                    <a:pt x="60" y="277"/>
                  </a:lnTo>
                  <a:lnTo>
                    <a:pt x="53" y="283"/>
                  </a:lnTo>
                  <a:lnTo>
                    <a:pt x="41" y="295"/>
                  </a:lnTo>
                  <a:lnTo>
                    <a:pt x="44" y="297"/>
                  </a:lnTo>
                  <a:lnTo>
                    <a:pt x="51" y="292"/>
                  </a:lnTo>
                  <a:lnTo>
                    <a:pt x="57" y="291"/>
                  </a:lnTo>
                  <a:lnTo>
                    <a:pt x="58" y="295"/>
                  </a:lnTo>
                  <a:lnTo>
                    <a:pt x="58" y="306"/>
                  </a:lnTo>
                  <a:lnTo>
                    <a:pt x="59" y="308"/>
                  </a:lnTo>
                  <a:lnTo>
                    <a:pt x="62" y="310"/>
                  </a:lnTo>
                  <a:lnTo>
                    <a:pt x="57" y="322"/>
                  </a:lnTo>
                  <a:lnTo>
                    <a:pt x="41" y="332"/>
                  </a:lnTo>
                  <a:lnTo>
                    <a:pt x="25" y="341"/>
                  </a:lnTo>
                  <a:lnTo>
                    <a:pt x="26" y="343"/>
                  </a:lnTo>
                  <a:lnTo>
                    <a:pt x="27" y="346"/>
                  </a:lnTo>
                  <a:lnTo>
                    <a:pt x="30" y="351"/>
                  </a:lnTo>
                  <a:lnTo>
                    <a:pt x="31" y="352"/>
                  </a:lnTo>
                  <a:lnTo>
                    <a:pt x="34" y="353"/>
                  </a:lnTo>
                  <a:lnTo>
                    <a:pt x="38" y="351"/>
                  </a:lnTo>
                  <a:lnTo>
                    <a:pt x="43" y="347"/>
                  </a:lnTo>
                  <a:lnTo>
                    <a:pt x="48" y="345"/>
                  </a:lnTo>
                  <a:lnTo>
                    <a:pt x="49" y="346"/>
                  </a:lnTo>
                  <a:lnTo>
                    <a:pt x="51" y="352"/>
                  </a:lnTo>
                  <a:lnTo>
                    <a:pt x="53" y="354"/>
                  </a:lnTo>
                  <a:lnTo>
                    <a:pt x="59" y="355"/>
                  </a:lnTo>
                  <a:lnTo>
                    <a:pt x="63" y="351"/>
                  </a:lnTo>
                  <a:lnTo>
                    <a:pt x="64" y="351"/>
                  </a:lnTo>
                  <a:lnTo>
                    <a:pt x="66" y="352"/>
                  </a:lnTo>
                  <a:lnTo>
                    <a:pt x="74" y="362"/>
                  </a:lnTo>
                  <a:lnTo>
                    <a:pt x="77" y="363"/>
                  </a:lnTo>
                  <a:lnTo>
                    <a:pt x="81" y="363"/>
                  </a:lnTo>
                  <a:lnTo>
                    <a:pt x="85" y="361"/>
                  </a:lnTo>
                  <a:lnTo>
                    <a:pt x="87" y="357"/>
                  </a:lnTo>
                  <a:lnTo>
                    <a:pt x="94" y="353"/>
                  </a:lnTo>
                  <a:lnTo>
                    <a:pt x="102" y="347"/>
                  </a:lnTo>
                  <a:lnTo>
                    <a:pt x="102" y="350"/>
                  </a:lnTo>
                  <a:lnTo>
                    <a:pt x="100" y="355"/>
                  </a:lnTo>
                  <a:lnTo>
                    <a:pt x="91" y="365"/>
                  </a:lnTo>
                  <a:lnTo>
                    <a:pt x="90" y="368"/>
                  </a:lnTo>
                  <a:lnTo>
                    <a:pt x="88" y="370"/>
                  </a:lnTo>
                  <a:lnTo>
                    <a:pt x="81" y="372"/>
                  </a:lnTo>
                  <a:lnTo>
                    <a:pt x="65" y="372"/>
                  </a:lnTo>
                  <a:lnTo>
                    <a:pt x="57" y="373"/>
                  </a:lnTo>
                  <a:lnTo>
                    <a:pt x="55" y="379"/>
                  </a:lnTo>
                  <a:lnTo>
                    <a:pt x="49" y="382"/>
                  </a:lnTo>
                  <a:lnTo>
                    <a:pt x="46" y="390"/>
                  </a:lnTo>
                  <a:lnTo>
                    <a:pt x="24" y="413"/>
                  </a:lnTo>
                  <a:lnTo>
                    <a:pt x="16" y="419"/>
                  </a:lnTo>
                  <a:lnTo>
                    <a:pt x="14" y="423"/>
                  </a:lnTo>
                  <a:lnTo>
                    <a:pt x="14" y="425"/>
                  </a:lnTo>
                  <a:lnTo>
                    <a:pt x="16" y="422"/>
                  </a:lnTo>
                  <a:lnTo>
                    <a:pt x="18" y="421"/>
                  </a:lnTo>
                  <a:lnTo>
                    <a:pt x="24" y="424"/>
                  </a:lnTo>
                  <a:lnTo>
                    <a:pt x="26" y="423"/>
                  </a:lnTo>
                  <a:lnTo>
                    <a:pt x="28" y="426"/>
                  </a:lnTo>
                  <a:lnTo>
                    <a:pt x="30" y="423"/>
                  </a:lnTo>
                  <a:lnTo>
                    <a:pt x="32" y="419"/>
                  </a:lnTo>
                  <a:lnTo>
                    <a:pt x="37" y="416"/>
                  </a:lnTo>
                  <a:lnTo>
                    <a:pt x="41" y="410"/>
                  </a:lnTo>
                  <a:lnTo>
                    <a:pt x="56" y="410"/>
                  </a:lnTo>
                  <a:lnTo>
                    <a:pt x="66" y="414"/>
                  </a:lnTo>
                  <a:lnTo>
                    <a:pt x="70" y="414"/>
                  </a:lnTo>
                  <a:lnTo>
                    <a:pt x="74" y="409"/>
                  </a:lnTo>
                  <a:lnTo>
                    <a:pt x="76" y="398"/>
                  </a:lnTo>
                  <a:lnTo>
                    <a:pt x="78" y="397"/>
                  </a:lnTo>
                  <a:lnTo>
                    <a:pt x="82" y="397"/>
                  </a:lnTo>
                  <a:lnTo>
                    <a:pt x="87" y="395"/>
                  </a:lnTo>
                  <a:lnTo>
                    <a:pt x="96" y="392"/>
                  </a:lnTo>
                  <a:lnTo>
                    <a:pt x="104" y="402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57" name="Freeform 32"/>
            <p:cNvSpPr>
              <a:spLocks/>
            </p:cNvSpPr>
            <p:nvPr/>
          </p:nvSpPr>
          <p:spPr bwMode="auto">
            <a:xfrm>
              <a:off x="1622" y="2289"/>
              <a:ext cx="225" cy="426"/>
            </a:xfrm>
            <a:custGeom>
              <a:avLst/>
              <a:gdLst>
                <a:gd name="T0" fmla="*/ 119 w 225"/>
                <a:gd name="T1" fmla="*/ 398 h 426"/>
                <a:gd name="T2" fmla="*/ 137 w 225"/>
                <a:gd name="T3" fmla="*/ 386 h 426"/>
                <a:gd name="T4" fmla="*/ 172 w 225"/>
                <a:gd name="T5" fmla="*/ 389 h 426"/>
                <a:gd name="T6" fmla="*/ 215 w 225"/>
                <a:gd name="T7" fmla="*/ 365 h 426"/>
                <a:gd name="T8" fmla="*/ 199 w 225"/>
                <a:gd name="T9" fmla="*/ 352 h 426"/>
                <a:gd name="T10" fmla="*/ 207 w 225"/>
                <a:gd name="T11" fmla="*/ 345 h 426"/>
                <a:gd name="T12" fmla="*/ 222 w 225"/>
                <a:gd name="T13" fmla="*/ 329 h 426"/>
                <a:gd name="T14" fmla="*/ 209 w 225"/>
                <a:gd name="T15" fmla="*/ 290 h 426"/>
                <a:gd name="T16" fmla="*/ 176 w 225"/>
                <a:gd name="T17" fmla="*/ 295 h 426"/>
                <a:gd name="T18" fmla="*/ 178 w 225"/>
                <a:gd name="T19" fmla="*/ 265 h 426"/>
                <a:gd name="T20" fmla="*/ 180 w 225"/>
                <a:gd name="T21" fmla="*/ 258 h 426"/>
                <a:gd name="T22" fmla="*/ 165 w 225"/>
                <a:gd name="T23" fmla="*/ 227 h 426"/>
                <a:gd name="T24" fmla="*/ 140 w 225"/>
                <a:gd name="T25" fmla="*/ 202 h 426"/>
                <a:gd name="T26" fmla="*/ 119 w 225"/>
                <a:gd name="T27" fmla="*/ 153 h 426"/>
                <a:gd name="T28" fmla="*/ 81 w 225"/>
                <a:gd name="T29" fmla="*/ 139 h 426"/>
                <a:gd name="T30" fmla="*/ 94 w 225"/>
                <a:gd name="T31" fmla="*/ 120 h 426"/>
                <a:gd name="T32" fmla="*/ 103 w 225"/>
                <a:gd name="T33" fmla="*/ 105 h 426"/>
                <a:gd name="T34" fmla="*/ 122 w 225"/>
                <a:gd name="T35" fmla="*/ 57 h 426"/>
                <a:gd name="T36" fmla="*/ 80 w 225"/>
                <a:gd name="T37" fmla="*/ 50 h 426"/>
                <a:gd name="T38" fmla="*/ 52 w 225"/>
                <a:gd name="T39" fmla="*/ 54 h 426"/>
                <a:gd name="T40" fmla="*/ 57 w 225"/>
                <a:gd name="T41" fmla="*/ 40 h 426"/>
                <a:gd name="T42" fmla="*/ 79 w 225"/>
                <a:gd name="T43" fmla="*/ 0 h 426"/>
                <a:gd name="T44" fmla="*/ 39 w 225"/>
                <a:gd name="T45" fmla="*/ 3 h 426"/>
                <a:gd name="T46" fmla="*/ 19 w 225"/>
                <a:gd name="T47" fmla="*/ 31 h 426"/>
                <a:gd name="T48" fmla="*/ 13 w 225"/>
                <a:gd name="T49" fmla="*/ 60 h 426"/>
                <a:gd name="T50" fmla="*/ 17 w 225"/>
                <a:gd name="T51" fmla="*/ 70 h 426"/>
                <a:gd name="T52" fmla="*/ 13 w 225"/>
                <a:gd name="T53" fmla="*/ 83 h 426"/>
                <a:gd name="T54" fmla="*/ 3 w 225"/>
                <a:gd name="T55" fmla="*/ 102 h 426"/>
                <a:gd name="T56" fmla="*/ 18 w 225"/>
                <a:gd name="T57" fmla="*/ 112 h 426"/>
                <a:gd name="T58" fmla="*/ 16 w 225"/>
                <a:gd name="T59" fmla="*/ 133 h 426"/>
                <a:gd name="T60" fmla="*/ 18 w 225"/>
                <a:gd name="T61" fmla="*/ 150 h 426"/>
                <a:gd name="T62" fmla="*/ 15 w 225"/>
                <a:gd name="T63" fmla="*/ 172 h 426"/>
                <a:gd name="T64" fmla="*/ 28 w 225"/>
                <a:gd name="T65" fmla="*/ 129 h 426"/>
                <a:gd name="T66" fmla="*/ 28 w 225"/>
                <a:gd name="T67" fmla="*/ 143 h 426"/>
                <a:gd name="T68" fmla="*/ 41 w 225"/>
                <a:gd name="T69" fmla="*/ 142 h 426"/>
                <a:gd name="T70" fmla="*/ 40 w 225"/>
                <a:gd name="T71" fmla="*/ 161 h 426"/>
                <a:gd name="T72" fmla="*/ 31 w 225"/>
                <a:gd name="T73" fmla="*/ 194 h 426"/>
                <a:gd name="T74" fmla="*/ 34 w 225"/>
                <a:gd name="T75" fmla="*/ 201 h 426"/>
                <a:gd name="T76" fmla="*/ 50 w 225"/>
                <a:gd name="T77" fmla="*/ 199 h 426"/>
                <a:gd name="T78" fmla="*/ 85 w 225"/>
                <a:gd name="T79" fmla="*/ 195 h 426"/>
                <a:gd name="T80" fmla="*/ 76 w 225"/>
                <a:gd name="T81" fmla="*/ 225 h 426"/>
                <a:gd name="T82" fmla="*/ 94 w 225"/>
                <a:gd name="T83" fmla="*/ 228 h 426"/>
                <a:gd name="T84" fmla="*/ 94 w 225"/>
                <a:gd name="T85" fmla="*/ 252 h 426"/>
                <a:gd name="T86" fmla="*/ 88 w 225"/>
                <a:gd name="T87" fmla="*/ 273 h 426"/>
                <a:gd name="T88" fmla="*/ 51 w 225"/>
                <a:gd name="T89" fmla="*/ 292 h 426"/>
                <a:gd name="T90" fmla="*/ 57 w 225"/>
                <a:gd name="T91" fmla="*/ 322 h 426"/>
                <a:gd name="T92" fmla="*/ 31 w 225"/>
                <a:gd name="T93" fmla="*/ 352 h 426"/>
                <a:gd name="T94" fmla="*/ 51 w 225"/>
                <a:gd name="T95" fmla="*/ 352 h 426"/>
                <a:gd name="T96" fmla="*/ 74 w 225"/>
                <a:gd name="T97" fmla="*/ 362 h 426"/>
                <a:gd name="T98" fmla="*/ 102 w 225"/>
                <a:gd name="T99" fmla="*/ 347 h 426"/>
                <a:gd name="T100" fmla="*/ 81 w 225"/>
                <a:gd name="T101" fmla="*/ 372 h 426"/>
                <a:gd name="T102" fmla="*/ 24 w 225"/>
                <a:gd name="T103" fmla="*/ 413 h 426"/>
                <a:gd name="T104" fmla="*/ 24 w 225"/>
                <a:gd name="T105" fmla="*/ 424 h 426"/>
                <a:gd name="T106" fmla="*/ 41 w 225"/>
                <a:gd name="T107" fmla="*/ 410 h 426"/>
                <a:gd name="T108" fmla="*/ 78 w 225"/>
                <a:gd name="T109" fmla="*/ 397 h 42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25"/>
                <a:gd name="T166" fmla="*/ 0 h 426"/>
                <a:gd name="T167" fmla="*/ 225 w 225"/>
                <a:gd name="T168" fmla="*/ 426 h 42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25" h="426">
                  <a:moveTo>
                    <a:pt x="104" y="402"/>
                  </a:moveTo>
                  <a:lnTo>
                    <a:pt x="105" y="402"/>
                  </a:lnTo>
                  <a:lnTo>
                    <a:pt x="106" y="399"/>
                  </a:lnTo>
                  <a:lnTo>
                    <a:pt x="111" y="398"/>
                  </a:lnTo>
                  <a:lnTo>
                    <a:pt x="116" y="399"/>
                  </a:lnTo>
                  <a:lnTo>
                    <a:pt x="119" y="398"/>
                  </a:lnTo>
                  <a:lnTo>
                    <a:pt x="118" y="395"/>
                  </a:lnTo>
                  <a:lnTo>
                    <a:pt x="131" y="394"/>
                  </a:lnTo>
                  <a:lnTo>
                    <a:pt x="132" y="393"/>
                  </a:lnTo>
                  <a:lnTo>
                    <a:pt x="136" y="391"/>
                  </a:lnTo>
                  <a:lnTo>
                    <a:pt x="137" y="388"/>
                  </a:lnTo>
                  <a:lnTo>
                    <a:pt x="137" y="386"/>
                  </a:lnTo>
                  <a:lnTo>
                    <a:pt x="140" y="388"/>
                  </a:lnTo>
                  <a:lnTo>
                    <a:pt x="143" y="389"/>
                  </a:lnTo>
                  <a:lnTo>
                    <a:pt x="148" y="388"/>
                  </a:lnTo>
                  <a:lnTo>
                    <a:pt x="149" y="390"/>
                  </a:lnTo>
                  <a:lnTo>
                    <a:pt x="152" y="392"/>
                  </a:lnTo>
                  <a:lnTo>
                    <a:pt x="172" y="389"/>
                  </a:lnTo>
                  <a:lnTo>
                    <a:pt x="178" y="391"/>
                  </a:lnTo>
                  <a:lnTo>
                    <a:pt x="203" y="383"/>
                  </a:lnTo>
                  <a:lnTo>
                    <a:pt x="204" y="381"/>
                  </a:lnTo>
                  <a:lnTo>
                    <a:pt x="215" y="373"/>
                  </a:lnTo>
                  <a:lnTo>
                    <a:pt x="217" y="368"/>
                  </a:lnTo>
                  <a:lnTo>
                    <a:pt x="215" y="365"/>
                  </a:lnTo>
                  <a:lnTo>
                    <a:pt x="202" y="366"/>
                  </a:lnTo>
                  <a:lnTo>
                    <a:pt x="196" y="365"/>
                  </a:lnTo>
                  <a:lnTo>
                    <a:pt x="196" y="360"/>
                  </a:lnTo>
                  <a:lnTo>
                    <a:pt x="193" y="357"/>
                  </a:lnTo>
                  <a:lnTo>
                    <a:pt x="198" y="355"/>
                  </a:lnTo>
                  <a:lnTo>
                    <a:pt x="199" y="352"/>
                  </a:lnTo>
                  <a:lnTo>
                    <a:pt x="202" y="349"/>
                  </a:lnTo>
                  <a:lnTo>
                    <a:pt x="201" y="348"/>
                  </a:lnTo>
                  <a:lnTo>
                    <a:pt x="198" y="347"/>
                  </a:lnTo>
                  <a:lnTo>
                    <a:pt x="201" y="345"/>
                  </a:lnTo>
                  <a:lnTo>
                    <a:pt x="204" y="343"/>
                  </a:lnTo>
                  <a:lnTo>
                    <a:pt x="207" y="345"/>
                  </a:lnTo>
                  <a:lnTo>
                    <a:pt x="211" y="343"/>
                  </a:lnTo>
                  <a:lnTo>
                    <a:pt x="212" y="340"/>
                  </a:lnTo>
                  <a:lnTo>
                    <a:pt x="211" y="336"/>
                  </a:lnTo>
                  <a:lnTo>
                    <a:pt x="213" y="336"/>
                  </a:lnTo>
                  <a:lnTo>
                    <a:pt x="217" y="334"/>
                  </a:lnTo>
                  <a:lnTo>
                    <a:pt x="222" y="329"/>
                  </a:lnTo>
                  <a:lnTo>
                    <a:pt x="224" y="318"/>
                  </a:lnTo>
                  <a:lnTo>
                    <a:pt x="225" y="310"/>
                  </a:lnTo>
                  <a:lnTo>
                    <a:pt x="223" y="301"/>
                  </a:lnTo>
                  <a:lnTo>
                    <a:pt x="219" y="295"/>
                  </a:lnTo>
                  <a:lnTo>
                    <a:pt x="213" y="292"/>
                  </a:lnTo>
                  <a:lnTo>
                    <a:pt x="209" y="290"/>
                  </a:lnTo>
                  <a:lnTo>
                    <a:pt x="203" y="289"/>
                  </a:lnTo>
                  <a:lnTo>
                    <a:pt x="191" y="292"/>
                  </a:lnTo>
                  <a:lnTo>
                    <a:pt x="186" y="299"/>
                  </a:lnTo>
                  <a:lnTo>
                    <a:pt x="183" y="297"/>
                  </a:lnTo>
                  <a:lnTo>
                    <a:pt x="179" y="296"/>
                  </a:lnTo>
                  <a:lnTo>
                    <a:pt x="176" y="295"/>
                  </a:lnTo>
                  <a:lnTo>
                    <a:pt x="178" y="290"/>
                  </a:lnTo>
                  <a:lnTo>
                    <a:pt x="184" y="283"/>
                  </a:lnTo>
                  <a:lnTo>
                    <a:pt x="186" y="280"/>
                  </a:lnTo>
                  <a:lnTo>
                    <a:pt x="186" y="275"/>
                  </a:lnTo>
                  <a:lnTo>
                    <a:pt x="181" y="268"/>
                  </a:lnTo>
                  <a:lnTo>
                    <a:pt x="178" y="265"/>
                  </a:lnTo>
                  <a:lnTo>
                    <a:pt x="176" y="262"/>
                  </a:lnTo>
                  <a:lnTo>
                    <a:pt x="173" y="261"/>
                  </a:lnTo>
                  <a:lnTo>
                    <a:pt x="166" y="253"/>
                  </a:lnTo>
                  <a:lnTo>
                    <a:pt x="168" y="252"/>
                  </a:lnTo>
                  <a:lnTo>
                    <a:pt x="174" y="258"/>
                  </a:lnTo>
                  <a:lnTo>
                    <a:pt x="180" y="258"/>
                  </a:lnTo>
                  <a:lnTo>
                    <a:pt x="181" y="258"/>
                  </a:lnTo>
                  <a:lnTo>
                    <a:pt x="179" y="250"/>
                  </a:lnTo>
                  <a:lnTo>
                    <a:pt x="176" y="247"/>
                  </a:lnTo>
                  <a:lnTo>
                    <a:pt x="171" y="240"/>
                  </a:lnTo>
                  <a:lnTo>
                    <a:pt x="169" y="233"/>
                  </a:lnTo>
                  <a:lnTo>
                    <a:pt x="165" y="227"/>
                  </a:lnTo>
                  <a:lnTo>
                    <a:pt x="163" y="221"/>
                  </a:lnTo>
                  <a:lnTo>
                    <a:pt x="158" y="214"/>
                  </a:lnTo>
                  <a:lnTo>
                    <a:pt x="152" y="212"/>
                  </a:lnTo>
                  <a:lnTo>
                    <a:pt x="144" y="210"/>
                  </a:lnTo>
                  <a:lnTo>
                    <a:pt x="143" y="208"/>
                  </a:lnTo>
                  <a:lnTo>
                    <a:pt x="140" y="202"/>
                  </a:lnTo>
                  <a:lnTo>
                    <a:pt x="137" y="196"/>
                  </a:lnTo>
                  <a:lnTo>
                    <a:pt x="133" y="189"/>
                  </a:lnTo>
                  <a:lnTo>
                    <a:pt x="132" y="183"/>
                  </a:lnTo>
                  <a:lnTo>
                    <a:pt x="130" y="163"/>
                  </a:lnTo>
                  <a:lnTo>
                    <a:pt x="125" y="160"/>
                  </a:lnTo>
                  <a:lnTo>
                    <a:pt x="119" y="153"/>
                  </a:lnTo>
                  <a:lnTo>
                    <a:pt x="116" y="147"/>
                  </a:lnTo>
                  <a:lnTo>
                    <a:pt x="101" y="139"/>
                  </a:lnTo>
                  <a:lnTo>
                    <a:pt x="98" y="138"/>
                  </a:lnTo>
                  <a:lnTo>
                    <a:pt x="89" y="142"/>
                  </a:lnTo>
                  <a:lnTo>
                    <a:pt x="81" y="140"/>
                  </a:lnTo>
                  <a:lnTo>
                    <a:pt x="81" y="139"/>
                  </a:lnTo>
                  <a:lnTo>
                    <a:pt x="82" y="135"/>
                  </a:lnTo>
                  <a:lnTo>
                    <a:pt x="86" y="132"/>
                  </a:lnTo>
                  <a:lnTo>
                    <a:pt x="90" y="130"/>
                  </a:lnTo>
                  <a:lnTo>
                    <a:pt x="96" y="130"/>
                  </a:lnTo>
                  <a:lnTo>
                    <a:pt x="100" y="128"/>
                  </a:lnTo>
                  <a:lnTo>
                    <a:pt x="94" y="120"/>
                  </a:lnTo>
                  <a:lnTo>
                    <a:pt x="92" y="119"/>
                  </a:lnTo>
                  <a:lnTo>
                    <a:pt x="91" y="116"/>
                  </a:lnTo>
                  <a:lnTo>
                    <a:pt x="96" y="116"/>
                  </a:lnTo>
                  <a:lnTo>
                    <a:pt x="99" y="114"/>
                  </a:lnTo>
                  <a:lnTo>
                    <a:pt x="102" y="110"/>
                  </a:lnTo>
                  <a:lnTo>
                    <a:pt x="103" y="105"/>
                  </a:lnTo>
                  <a:lnTo>
                    <a:pt x="110" y="95"/>
                  </a:lnTo>
                  <a:lnTo>
                    <a:pt x="111" y="90"/>
                  </a:lnTo>
                  <a:lnTo>
                    <a:pt x="113" y="84"/>
                  </a:lnTo>
                  <a:lnTo>
                    <a:pt x="115" y="76"/>
                  </a:lnTo>
                  <a:lnTo>
                    <a:pt x="122" y="67"/>
                  </a:lnTo>
                  <a:lnTo>
                    <a:pt x="122" y="57"/>
                  </a:lnTo>
                  <a:lnTo>
                    <a:pt x="120" y="53"/>
                  </a:lnTo>
                  <a:lnTo>
                    <a:pt x="112" y="52"/>
                  </a:lnTo>
                  <a:lnTo>
                    <a:pt x="105" y="53"/>
                  </a:lnTo>
                  <a:lnTo>
                    <a:pt x="93" y="51"/>
                  </a:lnTo>
                  <a:lnTo>
                    <a:pt x="87" y="52"/>
                  </a:lnTo>
                  <a:lnTo>
                    <a:pt x="80" y="50"/>
                  </a:lnTo>
                  <a:lnTo>
                    <a:pt x="62" y="57"/>
                  </a:lnTo>
                  <a:lnTo>
                    <a:pt x="58" y="60"/>
                  </a:lnTo>
                  <a:lnTo>
                    <a:pt x="55" y="59"/>
                  </a:lnTo>
                  <a:lnTo>
                    <a:pt x="57" y="55"/>
                  </a:lnTo>
                  <a:lnTo>
                    <a:pt x="57" y="53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60" y="50"/>
                  </a:lnTo>
                  <a:lnTo>
                    <a:pt x="65" y="45"/>
                  </a:lnTo>
                  <a:lnTo>
                    <a:pt x="56" y="44"/>
                  </a:lnTo>
                  <a:lnTo>
                    <a:pt x="57" y="40"/>
                  </a:lnTo>
                  <a:lnTo>
                    <a:pt x="62" y="34"/>
                  </a:lnTo>
                  <a:lnTo>
                    <a:pt x="73" y="28"/>
                  </a:lnTo>
                  <a:lnTo>
                    <a:pt x="77" y="20"/>
                  </a:lnTo>
                  <a:lnTo>
                    <a:pt x="84" y="15"/>
                  </a:lnTo>
                  <a:lnTo>
                    <a:pt x="86" y="2"/>
                  </a:lnTo>
                  <a:lnTo>
                    <a:pt x="79" y="0"/>
                  </a:lnTo>
                  <a:lnTo>
                    <a:pt x="72" y="2"/>
                  </a:lnTo>
                  <a:lnTo>
                    <a:pt x="65" y="4"/>
                  </a:lnTo>
                  <a:lnTo>
                    <a:pt x="58" y="4"/>
                  </a:lnTo>
                  <a:lnTo>
                    <a:pt x="50" y="6"/>
                  </a:lnTo>
                  <a:lnTo>
                    <a:pt x="49" y="5"/>
                  </a:lnTo>
                  <a:lnTo>
                    <a:pt x="39" y="3"/>
                  </a:lnTo>
                  <a:lnTo>
                    <a:pt x="34" y="4"/>
                  </a:lnTo>
                  <a:lnTo>
                    <a:pt x="28" y="13"/>
                  </a:lnTo>
                  <a:lnTo>
                    <a:pt x="28" y="22"/>
                  </a:lnTo>
                  <a:lnTo>
                    <a:pt x="22" y="22"/>
                  </a:lnTo>
                  <a:lnTo>
                    <a:pt x="22" y="30"/>
                  </a:lnTo>
                  <a:lnTo>
                    <a:pt x="19" y="31"/>
                  </a:lnTo>
                  <a:lnTo>
                    <a:pt x="20" y="34"/>
                  </a:lnTo>
                  <a:lnTo>
                    <a:pt x="24" y="38"/>
                  </a:lnTo>
                  <a:lnTo>
                    <a:pt x="10" y="46"/>
                  </a:lnTo>
                  <a:lnTo>
                    <a:pt x="11" y="57"/>
                  </a:lnTo>
                  <a:lnTo>
                    <a:pt x="14" y="59"/>
                  </a:lnTo>
                  <a:lnTo>
                    <a:pt x="13" y="60"/>
                  </a:lnTo>
                  <a:lnTo>
                    <a:pt x="9" y="59"/>
                  </a:lnTo>
                  <a:lnTo>
                    <a:pt x="8" y="60"/>
                  </a:lnTo>
                  <a:lnTo>
                    <a:pt x="8" y="68"/>
                  </a:lnTo>
                  <a:lnTo>
                    <a:pt x="12" y="68"/>
                  </a:lnTo>
                  <a:lnTo>
                    <a:pt x="18" y="67"/>
                  </a:lnTo>
                  <a:lnTo>
                    <a:pt x="17" y="70"/>
                  </a:lnTo>
                  <a:lnTo>
                    <a:pt x="14" y="71"/>
                  </a:lnTo>
                  <a:lnTo>
                    <a:pt x="18" y="72"/>
                  </a:lnTo>
                  <a:lnTo>
                    <a:pt x="14" y="77"/>
                  </a:lnTo>
                  <a:lnTo>
                    <a:pt x="14" y="79"/>
                  </a:lnTo>
                  <a:lnTo>
                    <a:pt x="14" y="82"/>
                  </a:lnTo>
                  <a:lnTo>
                    <a:pt x="13" y="83"/>
                  </a:lnTo>
                  <a:lnTo>
                    <a:pt x="11" y="85"/>
                  </a:lnTo>
                  <a:lnTo>
                    <a:pt x="11" y="87"/>
                  </a:lnTo>
                  <a:lnTo>
                    <a:pt x="9" y="89"/>
                  </a:lnTo>
                  <a:lnTo>
                    <a:pt x="8" y="93"/>
                  </a:lnTo>
                  <a:lnTo>
                    <a:pt x="8" y="100"/>
                  </a:lnTo>
                  <a:lnTo>
                    <a:pt x="3" y="102"/>
                  </a:lnTo>
                  <a:lnTo>
                    <a:pt x="0" y="103"/>
                  </a:lnTo>
                  <a:lnTo>
                    <a:pt x="0" y="105"/>
                  </a:lnTo>
                  <a:lnTo>
                    <a:pt x="5" y="106"/>
                  </a:lnTo>
                  <a:lnTo>
                    <a:pt x="6" y="110"/>
                  </a:lnTo>
                  <a:lnTo>
                    <a:pt x="12" y="116"/>
                  </a:lnTo>
                  <a:lnTo>
                    <a:pt x="18" y="112"/>
                  </a:lnTo>
                  <a:lnTo>
                    <a:pt x="22" y="107"/>
                  </a:lnTo>
                  <a:lnTo>
                    <a:pt x="23" y="107"/>
                  </a:lnTo>
                  <a:lnTo>
                    <a:pt x="24" y="108"/>
                  </a:lnTo>
                  <a:lnTo>
                    <a:pt x="24" y="111"/>
                  </a:lnTo>
                  <a:lnTo>
                    <a:pt x="17" y="127"/>
                  </a:lnTo>
                  <a:lnTo>
                    <a:pt x="16" y="133"/>
                  </a:lnTo>
                  <a:lnTo>
                    <a:pt x="16" y="135"/>
                  </a:lnTo>
                  <a:lnTo>
                    <a:pt x="14" y="138"/>
                  </a:lnTo>
                  <a:lnTo>
                    <a:pt x="14" y="144"/>
                  </a:lnTo>
                  <a:lnTo>
                    <a:pt x="14" y="148"/>
                  </a:lnTo>
                  <a:lnTo>
                    <a:pt x="16" y="147"/>
                  </a:lnTo>
                  <a:lnTo>
                    <a:pt x="18" y="150"/>
                  </a:lnTo>
                  <a:lnTo>
                    <a:pt x="18" y="153"/>
                  </a:lnTo>
                  <a:lnTo>
                    <a:pt x="13" y="161"/>
                  </a:lnTo>
                  <a:lnTo>
                    <a:pt x="10" y="173"/>
                  </a:lnTo>
                  <a:lnTo>
                    <a:pt x="10" y="175"/>
                  </a:lnTo>
                  <a:lnTo>
                    <a:pt x="13" y="175"/>
                  </a:lnTo>
                  <a:lnTo>
                    <a:pt x="15" y="172"/>
                  </a:lnTo>
                  <a:lnTo>
                    <a:pt x="16" y="166"/>
                  </a:lnTo>
                  <a:lnTo>
                    <a:pt x="22" y="152"/>
                  </a:lnTo>
                  <a:lnTo>
                    <a:pt x="22" y="145"/>
                  </a:lnTo>
                  <a:lnTo>
                    <a:pt x="20" y="141"/>
                  </a:lnTo>
                  <a:lnTo>
                    <a:pt x="20" y="139"/>
                  </a:lnTo>
                  <a:lnTo>
                    <a:pt x="28" y="129"/>
                  </a:lnTo>
                  <a:lnTo>
                    <a:pt x="28" y="133"/>
                  </a:lnTo>
                  <a:lnTo>
                    <a:pt x="24" y="141"/>
                  </a:lnTo>
                  <a:lnTo>
                    <a:pt x="24" y="147"/>
                  </a:lnTo>
                  <a:lnTo>
                    <a:pt x="25" y="146"/>
                  </a:lnTo>
                  <a:lnTo>
                    <a:pt x="27" y="145"/>
                  </a:lnTo>
                  <a:lnTo>
                    <a:pt x="28" y="143"/>
                  </a:lnTo>
                  <a:lnTo>
                    <a:pt x="29" y="142"/>
                  </a:lnTo>
                  <a:lnTo>
                    <a:pt x="32" y="144"/>
                  </a:lnTo>
                  <a:lnTo>
                    <a:pt x="33" y="144"/>
                  </a:lnTo>
                  <a:lnTo>
                    <a:pt x="33" y="137"/>
                  </a:lnTo>
                  <a:lnTo>
                    <a:pt x="38" y="139"/>
                  </a:lnTo>
                  <a:lnTo>
                    <a:pt x="41" y="142"/>
                  </a:lnTo>
                  <a:lnTo>
                    <a:pt x="38" y="143"/>
                  </a:lnTo>
                  <a:lnTo>
                    <a:pt x="37" y="146"/>
                  </a:lnTo>
                  <a:lnTo>
                    <a:pt x="36" y="148"/>
                  </a:lnTo>
                  <a:lnTo>
                    <a:pt x="35" y="156"/>
                  </a:lnTo>
                  <a:lnTo>
                    <a:pt x="37" y="159"/>
                  </a:lnTo>
                  <a:lnTo>
                    <a:pt x="40" y="161"/>
                  </a:lnTo>
                  <a:lnTo>
                    <a:pt x="41" y="166"/>
                  </a:lnTo>
                  <a:lnTo>
                    <a:pt x="38" y="171"/>
                  </a:lnTo>
                  <a:lnTo>
                    <a:pt x="36" y="178"/>
                  </a:lnTo>
                  <a:lnTo>
                    <a:pt x="32" y="185"/>
                  </a:lnTo>
                  <a:lnTo>
                    <a:pt x="31" y="190"/>
                  </a:lnTo>
                  <a:lnTo>
                    <a:pt x="31" y="194"/>
                  </a:lnTo>
                  <a:lnTo>
                    <a:pt x="28" y="192"/>
                  </a:lnTo>
                  <a:lnTo>
                    <a:pt x="27" y="194"/>
                  </a:lnTo>
                  <a:lnTo>
                    <a:pt x="31" y="206"/>
                  </a:lnTo>
                  <a:lnTo>
                    <a:pt x="33" y="208"/>
                  </a:lnTo>
                  <a:lnTo>
                    <a:pt x="34" y="208"/>
                  </a:lnTo>
                  <a:lnTo>
                    <a:pt x="34" y="201"/>
                  </a:lnTo>
                  <a:lnTo>
                    <a:pt x="34" y="199"/>
                  </a:lnTo>
                  <a:lnTo>
                    <a:pt x="36" y="198"/>
                  </a:lnTo>
                  <a:lnTo>
                    <a:pt x="45" y="205"/>
                  </a:lnTo>
                  <a:lnTo>
                    <a:pt x="48" y="206"/>
                  </a:lnTo>
                  <a:lnTo>
                    <a:pt x="50" y="203"/>
                  </a:lnTo>
                  <a:lnTo>
                    <a:pt x="50" y="199"/>
                  </a:lnTo>
                  <a:lnTo>
                    <a:pt x="62" y="200"/>
                  </a:lnTo>
                  <a:lnTo>
                    <a:pt x="71" y="196"/>
                  </a:lnTo>
                  <a:lnTo>
                    <a:pt x="72" y="194"/>
                  </a:lnTo>
                  <a:lnTo>
                    <a:pt x="75" y="192"/>
                  </a:lnTo>
                  <a:lnTo>
                    <a:pt x="86" y="193"/>
                  </a:lnTo>
                  <a:lnTo>
                    <a:pt x="85" y="195"/>
                  </a:lnTo>
                  <a:lnTo>
                    <a:pt x="83" y="195"/>
                  </a:lnTo>
                  <a:lnTo>
                    <a:pt x="78" y="199"/>
                  </a:lnTo>
                  <a:lnTo>
                    <a:pt x="72" y="212"/>
                  </a:lnTo>
                  <a:lnTo>
                    <a:pt x="71" y="217"/>
                  </a:lnTo>
                  <a:lnTo>
                    <a:pt x="72" y="220"/>
                  </a:lnTo>
                  <a:lnTo>
                    <a:pt x="76" y="225"/>
                  </a:lnTo>
                  <a:lnTo>
                    <a:pt x="78" y="229"/>
                  </a:lnTo>
                  <a:lnTo>
                    <a:pt x="78" y="230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90" y="233"/>
                  </a:lnTo>
                  <a:lnTo>
                    <a:pt x="94" y="228"/>
                  </a:lnTo>
                  <a:lnTo>
                    <a:pt x="97" y="229"/>
                  </a:lnTo>
                  <a:lnTo>
                    <a:pt x="94" y="232"/>
                  </a:lnTo>
                  <a:lnTo>
                    <a:pt x="94" y="241"/>
                  </a:lnTo>
                  <a:lnTo>
                    <a:pt x="91" y="244"/>
                  </a:lnTo>
                  <a:lnTo>
                    <a:pt x="89" y="250"/>
                  </a:lnTo>
                  <a:lnTo>
                    <a:pt x="94" y="252"/>
                  </a:lnTo>
                  <a:lnTo>
                    <a:pt x="91" y="256"/>
                  </a:lnTo>
                  <a:lnTo>
                    <a:pt x="88" y="264"/>
                  </a:lnTo>
                  <a:lnTo>
                    <a:pt x="90" y="267"/>
                  </a:lnTo>
                  <a:lnTo>
                    <a:pt x="93" y="268"/>
                  </a:lnTo>
                  <a:lnTo>
                    <a:pt x="91" y="269"/>
                  </a:lnTo>
                  <a:lnTo>
                    <a:pt x="88" y="273"/>
                  </a:lnTo>
                  <a:lnTo>
                    <a:pt x="67" y="273"/>
                  </a:lnTo>
                  <a:lnTo>
                    <a:pt x="60" y="277"/>
                  </a:lnTo>
                  <a:lnTo>
                    <a:pt x="53" y="283"/>
                  </a:lnTo>
                  <a:lnTo>
                    <a:pt x="41" y="295"/>
                  </a:lnTo>
                  <a:lnTo>
                    <a:pt x="44" y="297"/>
                  </a:lnTo>
                  <a:lnTo>
                    <a:pt x="51" y="292"/>
                  </a:lnTo>
                  <a:lnTo>
                    <a:pt x="57" y="291"/>
                  </a:lnTo>
                  <a:lnTo>
                    <a:pt x="58" y="295"/>
                  </a:lnTo>
                  <a:lnTo>
                    <a:pt x="58" y="306"/>
                  </a:lnTo>
                  <a:lnTo>
                    <a:pt x="59" y="308"/>
                  </a:lnTo>
                  <a:lnTo>
                    <a:pt x="62" y="310"/>
                  </a:lnTo>
                  <a:lnTo>
                    <a:pt x="57" y="322"/>
                  </a:lnTo>
                  <a:lnTo>
                    <a:pt x="41" y="332"/>
                  </a:lnTo>
                  <a:lnTo>
                    <a:pt x="25" y="341"/>
                  </a:lnTo>
                  <a:lnTo>
                    <a:pt x="26" y="343"/>
                  </a:lnTo>
                  <a:lnTo>
                    <a:pt x="27" y="346"/>
                  </a:lnTo>
                  <a:lnTo>
                    <a:pt x="30" y="351"/>
                  </a:lnTo>
                  <a:lnTo>
                    <a:pt x="31" y="352"/>
                  </a:lnTo>
                  <a:lnTo>
                    <a:pt x="34" y="353"/>
                  </a:lnTo>
                  <a:lnTo>
                    <a:pt x="38" y="351"/>
                  </a:lnTo>
                  <a:lnTo>
                    <a:pt x="43" y="347"/>
                  </a:lnTo>
                  <a:lnTo>
                    <a:pt x="48" y="345"/>
                  </a:lnTo>
                  <a:lnTo>
                    <a:pt x="49" y="346"/>
                  </a:lnTo>
                  <a:lnTo>
                    <a:pt x="51" y="352"/>
                  </a:lnTo>
                  <a:lnTo>
                    <a:pt x="53" y="354"/>
                  </a:lnTo>
                  <a:lnTo>
                    <a:pt x="59" y="355"/>
                  </a:lnTo>
                  <a:lnTo>
                    <a:pt x="63" y="351"/>
                  </a:lnTo>
                  <a:lnTo>
                    <a:pt x="64" y="351"/>
                  </a:lnTo>
                  <a:lnTo>
                    <a:pt x="66" y="352"/>
                  </a:lnTo>
                  <a:lnTo>
                    <a:pt x="74" y="362"/>
                  </a:lnTo>
                  <a:lnTo>
                    <a:pt x="77" y="363"/>
                  </a:lnTo>
                  <a:lnTo>
                    <a:pt x="81" y="363"/>
                  </a:lnTo>
                  <a:lnTo>
                    <a:pt x="85" y="361"/>
                  </a:lnTo>
                  <a:lnTo>
                    <a:pt x="87" y="357"/>
                  </a:lnTo>
                  <a:lnTo>
                    <a:pt x="94" y="353"/>
                  </a:lnTo>
                  <a:lnTo>
                    <a:pt x="102" y="347"/>
                  </a:lnTo>
                  <a:lnTo>
                    <a:pt x="102" y="350"/>
                  </a:lnTo>
                  <a:lnTo>
                    <a:pt x="100" y="355"/>
                  </a:lnTo>
                  <a:lnTo>
                    <a:pt x="91" y="365"/>
                  </a:lnTo>
                  <a:lnTo>
                    <a:pt x="90" y="368"/>
                  </a:lnTo>
                  <a:lnTo>
                    <a:pt x="88" y="370"/>
                  </a:lnTo>
                  <a:lnTo>
                    <a:pt x="81" y="372"/>
                  </a:lnTo>
                  <a:lnTo>
                    <a:pt x="65" y="372"/>
                  </a:lnTo>
                  <a:lnTo>
                    <a:pt x="57" y="373"/>
                  </a:lnTo>
                  <a:lnTo>
                    <a:pt x="55" y="379"/>
                  </a:lnTo>
                  <a:lnTo>
                    <a:pt x="49" y="382"/>
                  </a:lnTo>
                  <a:lnTo>
                    <a:pt x="46" y="390"/>
                  </a:lnTo>
                  <a:lnTo>
                    <a:pt x="24" y="413"/>
                  </a:lnTo>
                  <a:lnTo>
                    <a:pt x="16" y="419"/>
                  </a:lnTo>
                  <a:lnTo>
                    <a:pt x="14" y="423"/>
                  </a:lnTo>
                  <a:lnTo>
                    <a:pt x="14" y="425"/>
                  </a:lnTo>
                  <a:lnTo>
                    <a:pt x="16" y="422"/>
                  </a:lnTo>
                  <a:lnTo>
                    <a:pt x="18" y="421"/>
                  </a:lnTo>
                  <a:lnTo>
                    <a:pt x="24" y="424"/>
                  </a:lnTo>
                  <a:lnTo>
                    <a:pt x="26" y="423"/>
                  </a:lnTo>
                  <a:lnTo>
                    <a:pt x="28" y="426"/>
                  </a:lnTo>
                  <a:lnTo>
                    <a:pt x="30" y="423"/>
                  </a:lnTo>
                  <a:lnTo>
                    <a:pt x="32" y="419"/>
                  </a:lnTo>
                  <a:lnTo>
                    <a:pt x="37" y="416"/>
                  </a:lnTo>
                  <a:lnTo>
                    <a:pt x="41" y="410"/>
                  </a:lnTo>
                  <a:lnTo>
                    <a:pt x="56" y="410"/>
                  </a:lnTo>
                  <a:lnTo>
                    <a:pt x="66" y="414"/>
                  </a:lnTo>
                  <a:lnTo>
                    <a:pt x="70" y="414"/>
                  </a:lnTo>
                  <a:lnTo>
                    <a:pt x="74" y="409"/>
                  </a:lnTo>
                  <a:lnTo>
                    <a:pt x="76" y="398"/>
                  </a:lnTo>
                  <a:lnTo>
                    <a:pt x="78" y="397"/>
                  </a:lnTo>
                  <a:lnTo>
                    <a:pt x="82" y="397"/>
                  </a:lnTo>
                  <a:lnTo>
                    <a:pt x="87" y="395"/>
                  </a:lnTo>
                  <a:lnTo>
                    <a:pt x="96" y="392"/>
                  </a:lnTo>
                  <a:lnTo>
                    <a:pt x="104" y="402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05" name="Group 36"/>
          <p:cNvGrpSpPr>
            <a:grpSpLocks/>
          </p:cNvGrpSpPr>
          <p:nvPr/>
        </p:nvGrpSpPr>
        <p:grpSpPr bwMode="auto">
          <a:xfrm>
            <a:off x="3733800" y="3649663"/>
            <a:ext cx="41275" cy="60325"/>
            <a:chOff x="1594" y="2299"/>
            <a:chExt cx="26" cy="38"/>
          </a:xfrm>
        </p:grpSpPr>
        <p:sp>
          <p:nvSpPr>
            <p:cNvPr id="34454" name="Freeform 34"/>
            <p:cNvSpPr>
              <a:spLocks/>
            </p:cNvSpPr>
            <p:nvPr/>
          </p:nvSpPr>
          <p:spPr bwMode="auto">
            <a:xfrm>
              <a:off x="1594" y="2299"/>
              <a:ext cx="26" cy="38"/>
            </a:xfrm>
            <a:custGeom>
              <a:avLst/>
              <a:gdLst>
                <a:gd name="T0" fmla="*/ 24 w 26"/>
                <a:gd name="T1" fmla="*/ 0 h 38"/>
                <a:gd name="T2" fmla="*/ 21 w 26"/>
                <a:gd name="T3" fmla="*/ 0 h 38"/>
                <a:gd name="T4" fmla="*/ 15 w 26"/>
                <a:gd name="T5" fmla="*/ 3 h 38"/>
                <a:gd name="T6" fmla="*/ 8 w 26"/>
                <a:gd name="T7" fmla="*/ 9 h 38"/>
                <a:gd name="T8" fmla="*/ 8 w 26"/>
                <a:gd name="T9" fmla="*/ 12 h 38"/>
                <a:gd name="T10" fmla="*/ 9 w 26"/>
                <a:gd name="T11" fmla="*/ 15 h 38"/>
                <a:gd name="T12" fmla="*/ 6 w 26"/>
                <a:gd name="T13" fmla="*/ 15 h 38"/>
                <a:gd name="T14" fmla="*/ 2 w 26"/>
                <a:gd name="T15" fmla="*/ 13 h 38"/>
                <a:gd name="T16" fmla="*/ 0 w 26"/>
                <a:gd name="T17" fmla="*/ 18 h 38"/>
                <a:gd name="T18" fmla="*/ 0 w 26"/>
                <a:gd name="T19" fmla="*/ 25 h 38"/>
                <a:gd name="T20" fmla="*/ 3 w 26"/>
                <a:gd name="T21" fmla="*/ 30 h 38"/>
                <a:gd name="T22" fmla="*/ 1 w 26"/>
                <a:gd name="T23" fmla="*/ 33 h 38"/>
                <a:gd name="T24" fmla="*/ 1 w 26"/>
                <a:gd name="T25" fmla="*/ 34 h 38"/>
                <a:gd name="T26" fmla="*/ 2 w 26"/>
                <a:gd name="T27" fmla="*/ 38 h 38"/>
                <a:gd name="T28" fmla="*/ 7 w 26"/>
                <a:gd name="T29" fmla="*/ 35 h 38"/>
                <a:gd name="T30" fmla="*/ 8 w 26"/>
                <a:gd name="T31" fmla="*/ 32 h 38"/>
                <a:gd name="T32" fmla="*/ 10 w 26"/>
                <a:gd name="T33" fmla="*/ 31 h 38"/>
                <a:gd name="T34" fmla="*/ 12 w 26"/>
                <a:gd name="T35" fmla="*/ 28 h 38"/>
                <a:gd name="T36" fmla="*/ 15 w 26"/>
                <a:gd name="T37" fmla="*/ 28 h 38"/>
                <a:gd name="T38" fmla="*/ 19 w 26"/>
                <a:gd name="T39" fmla="*/ 25 h 38"/>
                <a:gd name="T40" fmla="*/ 20 w 26"/>
                <a:gd name="T41" fmla="*/ 21 h 38"/>
                <a:gd name="T42" fmla="*/ 18 w 26"/>
                <a:gd name="T43" fmla="*/ 20 h 38"/>
                <a:gd name="T44" fmla="*/ 18 w 26"/>
                <a:gd name="T45" fmla="*/ 17 h 38"/>
                <a:gd name="T46" fmla="*/ 20 w 26"/>
                <a:gd name="T47" fmla="*/ 15 h 38"/>
                <a:gd name="T48" fmla="*/ 23 w 26"/>
                <a:gd name="T49" fmla="*/ 14 h 38"/>
                <a:gd name="T50" fmla="*/ 26 w 26"/>
                <a:gd name="T51" fmla="*/ 12 h 38"/>
                <a:gd name="T52" fmla="*/ 24 w 26"/>
                <a:gd name="T53" fmla="*/ 12 h 38"/>
                <a:gd name="T54" fmla="*/ 23 w 26"/>
                <a:gd name="T55" fmla="*/ 10 h 38"/>
                <a:gd name="T56" fmla="*/ 24 w 26"/>
                <a:gd name="T57" fmla="*/ 0 h 3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6"/>
                <a:gd name="T88" fmla="*/ 0 h 38"/>
                <a:gd name="T89" fmla="*/ 26 w 26"/>
                <a:gd name="T90" fmla="*/ 38 h 3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6" h="38">
                  <a:moveTo>
                    <a:pt x="24" y="0"/>
                  </a:moveTo>
                  <a:lnTo>
                    <a:pt x="21" y="0"/>
                  </a:lnTo>
                  <a:lnTo>
                    <a:pt x="15" y="3"/>
                  </a:lnTo>
                  <a:lnTo>
                    <a:pt x="8" y="9"/>
                  </a:lnTo>
                  <a:lnTo>
                    <a:pt x="8" y="12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2" y="13"/>
                  </a:lnTo>
                  <a:lnTo>
                    <a:pt x="0" y="18"/>
                  </a:lnTo>
                  <a:lnTo>
                    <a:pt x="0" y="25"/>
                  </a:lnTo>
                  <a:lnTo>
                    <a:pt x="3" y="30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2" y="38"/>
                  </a:lnTo>
                  <a:lnTo>
                    <a:pt x="7" y="35"/>
                  </a:lnTo>
                  <a:lnTo>
                    <a:pt x="8" y="32"/>
                  </a:lnTo>
                  <a:lnTo>
                    <a:pt x="10" y="31"/>
                  </a:lnTo>
                  <a:lnTo>
                    <a:pt x="12" y="28"/>
                  </a:lnTo>
                  <a:lnTo>
                    <a:pt x="15" y="28"/>
                  </a:lnTo>
                  <a:lnTo>
                    <a:pt x="19" y="25"/>
                  </a:lnTo>
                  <a:lnTo>
                    <a:pt x="20" y="21"/>
                  </a:lnTo>
                  <a:lnTo>
                    <a:pt x="18" y="20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3" y="14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3" y="1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55" name="Freeform 35"/>
            <p:cNvSpPr>
              <a:spLocks/>
            </p:cNvSpPr>
            <p:nvPr/>
          </p:nvSpPr>
          <p:spPr bwMode="auto">
            <a:xfrm>
              <a:off x="1594" y="2299"/>
              <a:ext cx="26" cy="38"/>
            </a:xfrm>
            <a:custGeom>
              <a:avLst/>
              <a:gdLst>
                <a:gd name="T0" fmla="*/ 24 w 26"/>
                <a:gd name="T1" fmla="*/ 0 h 38"/>
                <a:gd name="T2" fmla="*/ 21 w 26"/>
                <a:gd name="T3" fmla="*/ 0 h 38"/>
                <a:gd name="T4" fmla="*/ 15 w 26"/>
                <a:gd name="T5" fmla="*/ 3 h 38"/>
                <a:gd name="T6" fmla="*/ 8 w 26"/>
                <a:gd name="T7" fmla="*/ 9 h 38"/>
                <a:gd name="T8" fmla="*/ 8 w 26"/>
                <a:gd name="T9" fmla="*/ 12 h 38"/>
                <a:gd name="T10" fmla="*/ 9 w 26"/>
                <a:gd name="T11" fmla="*/ 15 h 38"/>
                <a:gd name="T12" fmla="*/ 6 w 26"/>
                <a:gd name="T13" fmla="*/ 15 h 38"/>
                <a:gd name="T14" fmla="*/ 2 w 26"/>
                <a:gd name="T15" fmla="*/ 13 h 38"/>
                <a:gd name="T16" fmla="*/ 0 w 26"/>
                <a:gd name="T17" fmla="*/ 18 h 38"/>
                <a:gd name="T18" fmla="*/ 0 w 26"/>
                <a:gd name="T19" fmla="*/ 25 h 38"/>
                <a:gd name="T20" fmla="*/ 3 w 26"/>
                <a:gd name="T21" fmla="*/ 30 h 38"/>
                <a:gd name="T22" fmla="*/ 1 w 26"/>
                <a:gd name="T23" fmla="*/ 33 h 38"/>
                <a:gd name="T24" fmla="*/ 1 w 26"/>
                <a:gd name="T25" fmla="*/ 34 h 38"/>
                <a:gd name="T26" fmla="*/ 2 w 26"/>
                <a:gd name="T27" fmla="*/ 38 h 38"/>
                <a:gd name="T28" fmla="*/ 7 w 26"/>
                <a:gd name="T29" fmla="*/ 35 h 38"/>
                <a:gd name="T30" fmla="*/ 8 w 26"/>
                <a:gd name="T31" fmla="*/ 32 h 38"/>
                <a:gd name="T32" fmla="*/ 10 w 26"/>
                <a:gd name="T33" fmla="*/ 31 h 38"/>
                <a:gd name="T34" fmla="*/ 12 w 26"/>
                <a:gd name="T35" fmla="*/ 28 h 38"/>
                <a:gd name="T36" fmla="*/ 15 w 26"/>
                <a:gd name="T37" fmla="*/ 28 h 38"/>
                <a:gd name="T38" fmla="*/ 19 w 26"/>
                <a:gd name="T39" fmla="*/ 25 h 38"/>
                <a:gd name="T40" fmla="*/ 20 w 26"/>
                <a:gd name="T41" fmla="*/ 21 h 38"/>
                <a:gd name="T42" fmla="*/ 18 w 26"/>
                <a:gd name="T43" fmla="*/ 20 h 38"/>
                <a:gd name="T44" fmla="*/ 18 w 26"/>
                <a:gd name="T45" fmla="*/ 17 h 38"/>
                <a:gd name="T46" fmla="*/ 20 w 26"/>
                <a:gd name="T47" fmla="*/ 15 h 38"/>
                <a:gd name="T48" fmla="*/ 23 w 26"/>
                <a:gd name="T49" fmla="*/ 14 h 38"/>
                <a:gd name="T50" fmla="*/ 26 w 26"/>
                <a:gd name="T51" fmla="*/ 12 h 38"/>
                <a:gd name="T52" fmla="*/ 24 w 26"/>
                <a:gd name="T53" fmla="*/ 12 h 38"/>
                <a:gd name="T54" fmla="*/ 23 w 26"/>
                <a:gd name="T55" fmla="*/ 10 h 38"/>
                <a:gd name="T56" fmla="*/ 24 w 26"/>
                <a:gd name="T57" fmla="*/ 0 h 3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6"/>
                <a:gd name="T88" fmla="*/ 0 h 38"/>
                <a:gd name="T89" fmla="*/ 26 w 26"/>
                <a:gd name="T90" fmla="*/ 38 h 3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6" h="38">
                  <a:moveTo>
                    <a:pt x="24" y="0"/>
                  </a:moveTo>
                  <a:lnTo>
                    <a:pt x="21" y="0"/>
                  </a:lnTo>
                  <a:lnTo>
                    <a:pt x="15" y="3"/>
                  </a:lnTo>
                  <a:lnTo>
                    <a:pt x="8" y="9"/>
                  </a:lnTo>
                  <a:lnTo>
                    <a:pt x="8" y="12"/>
                  </a:lnTo>
                  <a:lnTo>
                    <a:pt x="9" y="15"/>
                  </a:lnTo>
                  <a:lnTo>
                    <a:pt x="6" y="15"/>
                  </a:lnTo>
                  <a:lnTo>
                    <a:pt x="2" y="13"/>
                  </a:lnTo>
                  <a:lnTo>
                    <a:pt x="0" y="18"/>
                  </a:lnTo>
                  <a:lnTo>
                    <a:pt x="0" y="25"/>
                  </a:lnTo>
                  <a:lnTo>
                    <a:pt x="3" y="30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2" y="38"/>
                  </a:lnTo>
                  <a:lnTo>
                    <a:pt x="7" y="35"/>
                  </a:lnTo>
                  <a:lnTo>
                    <a:pt x="8" y="32"/>
                  </a:lnTo>
                  <a:lnTo>
                    <a:pt x="10" y="31"/>
                  </a:lnTo>
                  <a:lnTo>
                    <a:pt x="12" y="28"/>
                  </a:lnTo>
                  <a:lnTo>
                    <a:pt x="15" y="28"/>
                  </a:lnTo>
                  <a:lnTo>
                    <a:pt x="19" y="25"/>
                  </a:lnTo>
                  <a:lnTo>
                    <a:pt x="20" y="21"/>
                  </a:lnTo>
                  <a:lnTo>
                    <a:pt x="18" y="20"/>
                  </a:lnTo>
                  <a:lnTo>
                    <a:pt x="18" y="17"/>
                  </a:lnTo>
                  <a:lnTo>
                    <a:pt x="20" y="15"/>
                  </a:lnTo>
                  <a:lnTo>
                    <a:pt x="23" y="14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3" y="10"/>
                  </a:lnTo>
                  <a:lnTo>
                    <a:pt x="24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06" name="Group 39"/>
          <p:cNvGrpSpPr>
            <a:grpSpLocks/>
          </p:cNvGrpSpPr>
          <p:nvPr/>
        </p:nvGrpSpPr>
        <p:grpSpPr bwMode="auto">
          <a:xfrm>
            <a:off x="3713163" y="3717925"/>
            <a:ext cx="20637" cy="9525"/>
            <a:chOff x="1581" y="2342"/>
            <a:chExt cx="13" cy="6"/>
          </a:xfrm>
        </p:grpSpPr>
        <p:sp>
          <p:nvSpPr>
            <p:cNvPr id="34452" name="Freeform 37"/>
            <p:cNvSpPr>
              <a:spLocks/>
            </p:cNvSpPr>
            <p:nvPr/>
          </p:nvSpPr>
          <p:spPr bwMode="auto">
            <a:xfrm>
              <a:off x="1581" y="2342"/>
              <a:ext cx="13" cy="6"/>
            </a:xfrm>
            <a:custGeom>
              <a:avLst/>
              <a:gdLst>
                <a:gd name="T0" fmla="*/ 12 w 13"/>
                <a:gd name="T1" fmla="*/ 2 h 6"/>
                <a:gd name="T2" fmla="*/ 13 w 13"/>
                <a:gd name="T3" fmla="*/ 0 h 6"/>
                <a:gd name="T4" fmla="*/ 10 w 13"/>
                <a:gd name="T5" fmla="*/ 0 h 6"/>
                <a:gd name="T6" fmla="*/ 1 w 13"/>
                <a:gd name="T7" fmla="*/ 1 h 6"/>
                <a:gd name="T8" fmla="*/ 0 w 13"/>
                <a:gd name="T9" fmla="*/ 3 h 6"/>
                <a:gd name="T10" fmla="*/ 5 w 13"/>
                <a:gd name="T11" fmla="*/ 6 h 6"/>
                <a:gd name="T12" fmla="*/ 10 w 13"/>
                <a:gd name="T13" fmla="*/ 6 h 6"/>
                <a:gd name="T14" fmla="*/ 12 w 13"/>
                <a:gd name="T15" fmla="*/ 2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6"/>
                <a:gd name="T26" fmla="*/ 13 w 1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6">
                  <a:moveTo>
                    <a:pt x="12" y="2"/>
                  </a:moveTo>
                  <a:lnTo>
                    <a:pt x="13" y="0"/>
                  </a:lnTo>
                  <a:lnTo>
                    <a:pt x="10" y="0"/>
                  </a:lnTo>
                  <a:lnTo>
                    <a:pt x="1" y="1"/>
                  </a:lnTo>
                  <a:lnTo>
                    <a:pt x="0" y="3"/>
                  </a:lnTo>
                  <a:lnTo>
                    <a:pt x="5" y="6"/>
                  </a:lnTo>
                  <a:lnTo>
                    <a:pt x="10" y="6"/>
                  </a:lnTo>
                  <a:lnTo>
                    <a:pt x="12" y="2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53" name="Freeform 38"/>
            <p:cNvSpPr>
              <a:spLocks/>
            </p:cNvSpPr>
            <p:nvPr/>
          </p:nvSpPr>
          <p:spPr bwMode="auto">
            <a:xfrm>
              <a:off x="1581" y="2342"/>
              <a:ext cx="13" cy="6"/>
            </a:xfrm>
            <a:custGeom>
              <a:avLst/>
              <a:gdLst>
                <a:gd name="T0" fmla="*/ 12 w 13"/>
                <a:gd name="T1" fmla="*/ 2 h 6"/>
                <a:gd name="T2" fmla="*/ 13 w 13"/>
                <a:gd name="T3" fmla="*/ 0 h 6"/>
                <a:gd name="T4" fmla="*/ 10 w 13"/>
                <a:gd name="T5" fmla="*/ 0 h 6"/>
                <a:gd name="T6" fmla="*/ 1 w 13"/>
                <a:gd name="T7" fmla="*/ 1 h 6"/>
                <a:gd name="T8" fmla="*/ 0 w 13"/>
                <a:gd name="T9" fmla="*/ 3 h 6"/>
                <a:gd name="T10" fmla="*/ 5 w 13"/>
                <a:gd name="T11" fmla="*/ 6 h 6"/>
                <a:gd name="T12" fmla="*/ 10 w 13"/>
                <a:gd name="T13" fmla="*/ 6 h 6"/>
                <a:gd name="T14" fmla="*/ 12 w 13"/>
                <a:gd name="T15" fmla="*/ 2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6"/>
                <a:gd name="T26" fmla="*/ 13 w 13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6">
                  <a:moveTo>
                    <a:pt x="12" y="2"/>
                  </a:moveTo>
                  <a:lnTo>
                    <a:pt x="13" y="0"/>
                  </a:lnTo>
                  <a:lnTo>
                    <a:pt x="10" y="0"/>
                  </a:lnTo>
                  <a:lnTo>
                    <a:pt x="1" y="1"/>
                  </a:lnTo>
                  <a:lnTo>
                    <a:pt x="0" y="3"/>
                  </a:lnTo>
                  <a:lnTo>
                    <a:pt x="5" y="6"/>
                  </a:lnTo>
                  <a:lnTo>
                    <a:pt x="10" y="6"/>
                  </a:lnTo>
                  <a:lnTo>
                    <a:pt x="12" y="2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07" name="Group 42"/>
          <p:cNvGrpSpPr>
            <a:grpSpLocks/>
          </p:cNvGrpSpPr>
          <p:nvPr/>
        </p:nvGrpSpPr>
        <p:grpSpPr bwMode="auto">
          <a:xfrm>
            <a:off x="3905250" y="3586163"/>
            <a:ext cx="28575" cy="20637"/>
            <a:chOff x="1702" y="2259"/>
            <a:chExt cx="18" cy="13"/>
          </a:xfrm>
        </p:grpSpPr>
        <p:sp>
          <p:nvSpPr>
            <p:cNvPr id="34450" name="Freeform 40"/>
            <p:cNvSpPr>
              <a:spLocks/>
            </p:cNvSpPr>
            <p:nvPr/>
          </p:nvSpPr>
          <p:spPr bwMode="auto">
            <a:xfrm>
              <a:off x="1702" y="2259"/>
              <a:ext cx="18" cy="13"/>
            </a:xfrm>
            <a:custGeom>
              <a:avLst/>
              <a:gdLst>
                <a:gd name="T0" fmla="*/ 17 w 18"/>
                <a:gd name="T1" fmla="*/ 12 h 13"/>
                <a:gd name="T2" fmla="*/ 18 w 18"/>
                <a:gd name="T3" fmla="*/ 11 h 13"/>
                <a:gd name="T4" fmla="*/ 16 w 18"/>
                <a:gd name="T5" fmla="*/ 9 h 13"/>
                <a:gd name="T6" fmla="*/ 7 w 18"/>
                <a:gd name="T7" fmla="*/ 9 h 13"/>
                <a:gd name="T8" fmla="*/ 6 w 18"/>
                <a:gd name="T9" fmla="*/ 4 h 13"/>
                <a:gd name="T10" fmla="*/ 3 w 18"/>
                <a:gd name="T11" fmla="*/ 0 h 13"/>
                <a:gd name="T12" fmla="*/ 1 w 18"/>
                <a:gd name="T13" fmla="*/ 0 h 13"/>
                <a:gd name="T14" fmla="*/ 0 w 18"/>
                <a:gd name="T15" fmla="*/ 6 h 13"/>
                <a:gd name="T16" fmla="*/ 0 w 18"/>
                <a:gd name="T17" fmla="*/ 9 h 13"/>
                <a:gd name="T18" fmla="*/ 3 w 18"/>
                <a:gd name="T19" fmla="*/ 12 h 13"/>
                <a:gd name="T20" fmla="*/ 10 w 18"/>
                <a:gd name="T21" fmla="*/ 11 h 13"/>
                <a:gd name="T22" fmla="*/ 16 w 18"/>
                <a:gd name="T23" fmla="*/ 13 h 13"/>
                <a:gd name="T24" fmla="*/ 17 w 18"/>
                <a:gd name="T25" fmla="*/ 12 h 1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13"/>
                <a:gd name="T41" fmla="*/ 18 w 18"/>
                <a:gd name="T42" fmla="*/ 13 h 1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13">
                  <a:moveTo>
                    <a:pt x="17" y="12"/>
                  </a:moveTo>
                  <a:lnTo>
                    <a:pt x="18" y="11"/>
                  </a:lnTo>
                  <a:lnTo>
                    <a:pt x="16" y="9"/>
                  </a:lnTo>
                  <a:lnTo>
                    <a:pt x="7" y="9"/>
                  </a:lnTo>
                  <a:lnTo>
                    <a:pt x="6" y="4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12"/>
                  </a:lnTo>
                  <a:lnTo>
                    <a:pt x="10" y="11"/>
                  </a:lnTo>
                  <a:lnTo>
                    <a:pt x="16" y="13"/>
                  </a:lnTo>
                  <a:lnTo>
                    <a:pt x="17" y="12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51" name="Freeform 41"/>
            <p:cNvSpPr>
              <a:spLocks/>
            </p:cNvSpPr>
            <p:nvPr/>
          </p:nvSpPr>
          <p:spPr bwMode="auto">
            <a:xfrm>
              <a:off x="1702" y="2259"/>
              <a:ext cx="18" cy="13"/>
            </a:xfrm>
            <a:custGeom>
              <a:avLst/>
              <a:gdLst>
                <a:gd name="T0" fmla="*/ 17 w 18"/>
                <a:gd name="T1" fmla="*/ 12 h 13"/>
                <a:gd name="T2" fmla="*/ 18 w 18"/>
                <a:gd name="T3" fmla="*/ 11 h 13"/>
                <a:gd name="T4" fmla="*/ 16 w 18"/>
                <a:gd name="T5" fmla="*/ 9 h 13"/>
                <a:gd name="T6" fmla="*/ 7 w 18"/>
                <a:gd name="T7" fmla="*/ 9 h 13"/>
                <a:gd name="T8" fmla="*/ 6 w 18"/>
                <a:gd name="T9" fmla="*/ 4 h 13"/>
                <a:gd name="T10" fmla="*/ 3 w 18"/>
                <a:gd name="T11" fmla="*/ 0 h 13"/>
                <a:gd name="T12" fmla="*/ 1 w 18"/>
                <a:gd name="T13" fmla="*/ 0 h 13"/>
                <a:gd name="T14" fmla="*/ 0 w 18"/>
                <a:gd name="T15" fmla="*/ 6 h 13"/>
                <a:gd name="T16" fmla="*/ 0 w 18"/>
                <a:gd name="T17" fmla="*/ 9 h 13"/>
                <a:gd name="T18" fmla="*/ 3 w 18"/>
                <a:gd name="T19" fmla="*/ 12 h 13"/>
                <a:gd name="T20" fmla="*/ 10 w 18"/>
                <a:gd name="T21" fmla="*/ 11 h 13"/>
                <a:gd name="T22" fmla="*/ 16 w 18"/>
                <a:gd name="T23" fmla="*/ 13 h 13"/>
                <a:gd name="T24" fmla="*/ 17 w 18"/>
                <a:gd name="T25" fmla="*/ 12 h 1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8"/>
                <a:gd name="T40" fmla="*/ 0 h 13"/>
                <a:gd name="T41" fmla="*/ 18 w 18"/>
                <a:gd name="T42" fmla="*/ 13 h 1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8" h="13">
                  <a:moveTo>
                    <a:pt x="17" y="12"/>
                  </a:moveTo>
                  <a:lnTo>
                    <a:pt x="18" y="11"/>
                  </a:lnTo>
                  <a:lnTo>
                    <a:pt x="16" y="9"/>
                  </a:lnTo>
                  <a:lnTo>
                    <a:pt x="7" y="9"/>
                  </a:lnTo>
                  <a:lnTo>
                    <a:pt x="6" y="4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12"/>
                  </a:lnTo>
                  <a:lnTo>
                    <a:pt x="10" y="11"/>
                  </a:lnTo>
                  <a:lnTo>
                    <a:pt x="16" y="13"/>
                  </a:lnTo>
                  <a:lnTo>
                    <a:pt x="17" y="12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08" name="Group 45"/>
          <p:cNvGrpSpPr>
            <a:grpSpLocks/>
          </p:cNvGrpSpPr>
          <p:nvPr/>
        </p:nvGrpSpPr>
        <p:grpSpPr bwMode="auto">
          <a:xfrm>
            <a:off x="3902075" y="3608388"/>
            <a:ext cx="9525" cy="9525"/>
            <a:chOff x="1700" y="2273"/>
            <a:chExt cx="6" cy="6"/>
          </a:xfrm>
        </p:grpSpPr>
        <p:sp>
          <p:nvSpPr>
            <p:cNvPr id="34448" name="Freeform 43"/>
            <p:cNvSpPr>
              <a:spLocks/>
            </p:cNvSpPr>
            <p:nvPr/>
          </p:nvSpPr>
          <p:spPr bwMode="auto">
            <a:xfrm>
              <a:off x="1700" y="2273"/>
              <a:ext cx="6" cy="6"/>
            </a:xfrm>
            <a:custGeom>
              <a:avLst/>
              <a:gdLst>
                <a:gd name="T0" fmla="*/ 6 w 6"/>
                <a:gd name="T1" fmla="*/ 5 h 6"/>
                <a:gd name="T2" fmla="*/ 6 w 6"/>
                <a:gd name="T3" fmla="*/ 3 h 6"/>
                <a:gd name="T4" fmla="*/ 4 w 6"/>
                <a:gd name="T5" fmla="*/ 1 h 6"/>
                <a:gd name="T6" fmla="*/ 2 w 6"/>
                <a:gd name="T7" fmla="*/ 0 h 6"/>
                <a:gd name="T8" fmla="*/ 0 w 6"/>
                <a:gd name="T9" fmla="*/ 1 h 6"/>
                <a:gd name="T10" fmla="*/ 0 w 6"/>
                <a:gd name="T11" fmla="*/ 4 h 6"/>
                <a:gd name="T12" fmla="*/ 2 w 6"/>
                <a:gd name="T13" fmla="*/ 6 h 6"/>
                <a:gd name="T14" fmla="*/ 6 w 6"/>
                <a:gd name="T15" fmla="*/ 5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6"/>
                <a:gd name="T26" fmla="*/ 6 w 6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6">
                  <a:moveTo>
                    <a:pt x="6" y="5"/>
                  </a:moveTo>
                  <a:lnTo>
                    <a:pt x="6" y="3"/>
                  </a:lnTo>
                  <a:lnTo>
                    <a:pt x="4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2" y="6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49" name="Freeform 44"/>
            <p:cNvSpPr>
              <a:spLocks/>
            </p:cNvSpPr>
            <p:nvPr/>
          </p:nvSpPr>
          <p:spPr bwMode="auto">
            <a:xfrm>
              <a:off x="1700" y="2273"/>
              <a:ext cx="6" cy="6"/>
            </a:xfrm>
            <a:custGeom>
              <a:avLst/>
              <a:gdLst>
                <a:gd name="T0" fmla="*/ 6 w 6"/>
                <a:gd name="T1" fmla="*/ 5 h 6"/>
                <a:gd name="T2" fmla="*/ 6 w 6"/>
                <a:gd name="T3" fmla="*/ 3 h 6"/>
                <a:gd name="T4" fmla="*/ 4 w 6"/>
                <a:gd name="T5" fmla="*/ 1 h 6"/>
                <a:gd name="T6" fmla="*/ 2 w 6"/>
                <a:gd name="T7" fmla="*/ 0 h 6"/>
                <a:gd name="T8" fmla="*/ 0 w 6"/>
                <a:gd name="T9" fmla="*/ 1 h 6"/>
                <a:gd name="T10" fmla="*/ 0 w 6"/>
                <a:gd name="T11" fmla="*/ 4 h 6"/>
                <a:gd name="T12" fmla="*/ 2 w 6"/>
                <a:gd name="T13" fmla="*/ 6 h 6"/>
                <a:gd name="T14" fmla="*/ 6 w 6"/>
                <a:gd name="T15" fmla="*/ 5 h 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6"/>
                <a:gd name="T26" fmla="*/ 6 w 6"/>
                <a:gd name="T27" fmla="*/ 6 h 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6">
                  <a:moveTo>
                    <a:pt x="6" y="5"/>
                  </a:moveTo>
                  <a:lnTo>
                    <a:pt x="6" y="3"/>
                  </a:lnTo>
                  <a:lnTo>
                    <a:pt x="4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2" y="6"/>
                  </a:lnTo>
                  <a:lnTo>
                    <a:pt x="6" y="5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09" name="Group 48"/>
          <p:cNvGrpSpPr>
            <a:grpSpLocks/>
          </p:cNvGrpSpPr>
          <p:nvPr/>
        </p:nvGrpSpPr>
        <p:grpSpPr bwMode="auto">
          <a:xfrm>
            <a:off x="3989388" y="4257675"/>
            <a:ext cx="19050" cy="9525"/>
            <a:chOff x="1755" y="2682"/>
            <a:chExt cx="12" cy="6"/>
          </a:xfrm>
        </p:grpSpPr>
        <p:sp>
          <p:nvSpPr>
            <p:cNvPr id="34446" name="Freeform 46"/>
            <p:cNvSpPr>
              <a:spLocks/>
            </p:cNvSpPr>
            <p:nvPr/>
          </p:nvSpPr>
          <p:spPr bwMode="auto">
            <a:xfrm>
              <a:off x="1755" y="2682"/>
              <a:ext cx="12" cy="6"/>
            </a:xfrm>
            <a:custGeom>
              <a:avLst/>
              <a:gdLst>
                <a:gd name="T0" fmla="*/ 8 w 12"/>
                <a:gd name="T1" fmla="*/ 1 h 6"/>
                <a:gd name="T2" fmla="*/ 7 w 12"/>
                <a:gd name="T3" fmla="*/ 0 h 6"/>
                <a:gd name="T4" fmla="*/ 3 w 12"/>
                <a:gd name="T5" fmla="*/ 1 h 6"/>
                <a:gd name="T6" fmla="*/ 1 w 12"/>
                <a:gd name="T7" fmla="*/ 2 h 6"/>
                <a:gd name="T8" fmla="*/ 0 w 12"/>
                <a:gd name="T9" fmla="*/ 4 h 6"/>
                <a:gd name="T10" fmla="*/ 1 w 12"/>
                <a:gd name="T11" fmla="*/ 5 h 6"/>
                <a:gd name="T12" fmla="*/ 6 w 12"/>
                <a:gd name="T13" fmla="*/ 6 h 6"/>
                <a:gd name="T14" fmla="*/ 9 w 12"/>
                <a:gd name="T15" fmla="*/ 6 h 6"/>
                <a:gd name="T16" fmla="*/ 12 w 12"/>
                <a:gd name="T17" fmla="*/ 3 h 6"/>
                <a:gd name="T18" fmla="*/ 11 w 12"/>
                <a:gd name="T19" fmla="*/ 2 h 6"/>
                <a:gd name="T20" fmla="*/ 8 w 12"/>
                <a:gd name="T21" fmla="*/ 1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6"/>
                <a:gd name="T35" fmla="*/ 12 w 12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6">
                  <a:moveTo>
                    <a:pt x="8" y="1"/>
                  </a:moveTo>
                  <a:lnTo>
                    <a:pt x="7" y="0"/>
                  </a:lnTo>
                  <a:lnTo>
                    <a:pt x="3" y="1"/>
                  </a:lnTo>
                  <a:lnTo>
                    <a:pt x="1" y="2"/>
                  </a:lnTo>
                  <a:lnTo>
                    <a:pt x="0" y="4"/>
                  </a:lnTo>
                  <a:lnTo>
                    <a:pt x="1" y="5"/>
                  </a:lnTo>
                  <a:lnTo>
                    <a:pt x="6" y="6"/>
                  </a:lnTo>
                  <a:lnTo>
                    <a:pt x="9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47" name="Freeform 47"/>
            <p:cNvSpPr>
              <a:spLocks/>
            </p:cNvSpPr>
            <p:nvPr/>
          </p:nvSpPr>
          <p:spPr bwMode="auto">
            <a:xfrm>
              <a:off x="1755" y="2682"/>
              <a:ext cx="12" cy="6"/>
            </a:xfrm>
            <a:custGeom>
              <a:avLst/>
              <a:gdLst>
                <a:gd name="T0" fmla="*/ 8 w 12"/>
                <a:gd name="T1" fmla="*/ 1 h 6"/>
                <a:gd name="T2" fmla="*/ 7 w 12"/>
                <a:gd name="T3" fmla="*/ 0 h 6"/>
                <a:gd name="T4" fmla="*/ 3 w 12"/>
                <a:gd name="T5" fmla="*/ 1 h 6"/>
                <a:gd name="T6" fmla="*/ 1 w 12"/>
                <a:gd name="T7" fmla="*/ 2 h 6"/>
                <a:gd name="T8" fmla="*/ 0 w 12"/>
                <a:gd name="T9" fmla="*/ 4 h 6"/>
                <a:gd name="T10" fmla="*/ 1 w 12"/>
                <a:gd name="T11" fmla="*/ 5 h 6"/>
                <a:gd name="T12" fmla="*/ 6 w 12"/>
                <a:gd name="T13" fmla="*/ 6 h 6"/>
                <a:gd name="T14" fmla="*/ 9 w 12"/>
                <a:gd name="T15" fmla="*/ 6 h 6"/>
                <a:gd name="T16" fmla="*/ 12 w 12"/>
                <a:gd name="T17" fmla="*/ 3 h 6"/>
                <a:gd name="T18" fmla="*/ 11 w 12"/>
                <a:gd name="T19" fmla="*/ 2 h 6"/>
                <a:gd name="T20" fmla="*/ 8 w 12"/>
                <a:gd name="T21" fmla="*/ 1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6"/>
                <a:gd name="T35" fmla="*/ 12 w 12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6">
                  <a:moveTo>
                    <a:pt x="8" y="1"/>
                  </a:moveTo>
                  <a:lnTo>
                    <a:pt x="7" y="0"/>
                  </a:lnTo>
                  <a:lnTo>
                    <a:pt x="3" y="1"/>
                  </a:lnTo>
                  <a:lnTo>
                    <a:pt x="1" y="2"/>
                  </a:lnTo>
                  <a:lnTo>
                    <a:pt x="0" y="4"/>
                  </a:lnTo>
                  <a:lnTo>
                    <a:pt x="1" y="5"/>
                  </a:lnTo>
                  <a:lnTo>
                    <a:pt x="6" y="6"/>
                  </a:lnTo>
                  <a:lnTo>
                    <a:pt x="9" y="6"/>
                  </a:lnTo>
                  <a:lnTo>
                    <a:pt x="12" y="3"/>
                  </a:lnTo>
                  <a:lnTo>
                    <a:pt x="11" y="2"/>
                  </a:lnTo>
                  <a:lnTo>
                    <a:pt x="8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10" name="Group 51"/>
          <p:cNvGrpSpPr>
            <a:grpSpLocks/>
          </p:cNvGrpSpPr>
          <p:nvPr/>
        </p:nvGrpSpPr>
        <p:grpSpPr bwMode="auto">
          <a:xfrm>
            <a:off x="3838575" y="3986213"/>
            <a:ext cx="20638" cy="23812"/>
            <a:chOff x="1660" y="2511"/>
            <a:chExt cx="13" cy="15"/>
          </a:xfrm>
        </p:grpSpPr>
        <p:sp>
          <p:nvSpPr>
            <p:cNvPr id="34444" name="Freeform 49"/>
            <p:cNvSpPr>
              <a:spLocks/>
            </p:cNvSpPr>
            <p:nvPr/>
          </p:nvSpPr>
          <p:spPr bwMode="auto">
            <a:xfrm>
              <a:off x="1660" y="2511"/>
              <a:ext cx="13" cy="15"/>
            </a:xfrm>
            <a:custGeom>
              <a:avLst/>
              <a:gdLst>
                <a:gd name="T0" fmla="*/ 10 w 13"/>
                <a:gd name="T1" fmla="*/ 0 h 15"/>
                <a:gd name="T2" fmla="*/ 5 w 13"/>
                <a:gd name="T3" fmla="*/ 6 h 15"/>
                <a:gd name="T4" fmla="*/ 0 w 13"/>
                <a:gd name="T5" fmla="*/ 15 h 15"/>
                <a:gd name="T6" fmla="*/ 4 w 13"/>
                <a:gd name="T7" fmla="*/ 14 h 15"/>
                <a:gd name="T8" fmla="*/ 10 w 13"/>
                <a:gd name="T9" fmla="*/ 11 h 15"/>
                <a:gd name="T10" fmla="*/ 12 w 13"/>
                <a:gd name="T11" fmla="*/ 7 h 15"/>
                <a:gd name="T12" fmla="*/ 13 w 13"/>
                <a:gd name="T13" fmla="*/ 4 h 15"/>
                <a:gd name="T14" fmla="*/ 13 w 13"/>
                <a:gd name="T15" fmla="*/ 1 h 15"/>
                <a:gd name="T16" fmla="*/ 10 w 13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5"/>
                <a:gd name="T29" fmla="*/ 13 w 13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5">
                  <a:moveTo>
                    <a:pt x="10" y="0"/>
                  </a:moveTo>
                  <a:lnTo>
                    <a:pt x="5" y="6"/>
                  </a:lnTo>
                  <a:lnTo>
                    <a:pt x="0" y="15"/>
                  </a:lnTo>
                  <a:lnTo>
                    <a:pt x="4" y="14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3" y="4"/>
                  </a:lnTo>
                  <a:lnTo>
                    <a:pt x="13" y="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45" name="Freeform 50"/>
            <p:cNvSpPr>
              <a:spLocks/>
            </p:cNvSpPr>
            <p:nvPr/>
          </p:nvSpPr>
          <p:spPr bwMode="auto">
            <a:xfrm>
              <a:off x="1660" y="2511"/>
              <a:ext cx="13" cy="15"/>
            </a:xfrm>
            <a:custGeom>
              <a:avLst/>
              <a:gdLst>
                <a:gd name="T0" fmla="*/ 10 w 13"/>
                <a:gd name="T1" fmla="*/ 0 h 15"/>
                <a:gd name="T2" fmla="*/ 5 w 13"/>
                <a:gd name="T3" fmla="*/ 6 h 15"/>
                <a:gd name="T4" fmla="*/ 0 w 13"/>
                <a:gd name="T5" fmla="*/ 15 h 15"/>
                <a:gd name="T6" fmla="*/ 4 w 13"/>
                <a:gd name="T7" fmla="*/ 14 h 15"/>
                <a:gd name="T8" fmla="*/ 10 w 13"/>
                <a:gd name="T9" fmla="*/ 11 h 15"/>
                <a:gd name="T10" fmla="*/ 12 w 13"/>
                <a:gd name="T11" fmla="*/ 7 h 15"/>
                <a:gd name="T12" fmla="*/ 13 w 13"/>
                <a:gd name="T13" fmla="*/ 4 h 15"/>
                <a:gd name="T14" fmla="*/ 13 w 13"/>
                <a:gd name="T15" fmla="*/ 1 h 15"/>
                <a:gd name="T16" fmla="*/ 10 w 13"/>
                <a:gd name="T17" fmla="*/ 0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5"/>
                <a:gd name="T29" fmla="*/ 13 w 13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5">
                  <a:moveTo>
                    <a:pt x="10" y="0"/>
                  </a:moveTo>
                  <a:lnTo>
                    <a:pt x="5" y="6"/>
                  </a:lnTo>
                  <a:lnTo>
                    <a:pt x="0" y="15"/>
                  </a:lnTo>
                  <a:lnTo>
                    <a:pt x="4" y="14"/>
                  </a:lnTo>
                  <a:lnTo>
                    <a:pt x="10" y="11"/>
                  </a:lnTo>
                  <a:lnTo>
                    <a:pt x="12" y="7"/>
                  </a:lnTo>
                  <a:lnTo>
                    <a:pt x="13" y="4"/>
                  </a:lnTo>
                  <a:lnTo>
                    <a:pt x="13" y="1"/>
                  </a:lnTo>
                  <a:lnTo>
                    <a:pt x="10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11" name="Group 54"/>
          <p:cNvGrpSpPr>
            <a:grpSpLocks/>
          </p:cNvGrpSpPr>
          <p:nvPr/>
        </p:nvGrpSpPr>
        <p:grpSpPr bwMode="auto">
          <a:xfrm>
            <a:off x="3813175" y="3881438"/>
            <a:ext cx="9525" cy="22225"/>
            <a:chOff x="1644" y="2445"/>
            <a:chExt cx="6" cy="14"/>
          </a:xfrm>
        </p:grpSpPr>
        <p:sp>
          <p:nvSpPr>
            <p:cNvPr id="34442" name="Freeform 52"/>
            <p:cNvSpPr>
              <a:spLocks/>
            </p:cNvSpPr>
            <p:nvPr/>
          </p:nvSpPr>
          <p:spPr bwMode="auto">
            <a:xfrm>
              <a:off x="1644" y="2445"/>
              <a:ext cx="6" cy="14"/>
            </a:xfrm>
            <a:custGeom>
              <a:avLst/>
              <a:gdLst>
                <a:gd name="T0" fmla="*/ 1 w 6"/>
                <a:gd name="T1" fmla="*/ 1 h 14"/>
                <a:gd name="T2" fmla="*/ 0 w 6"/>
                <a:gd name="T3" fmla="*/ 0 h 14"/>
                <a:gd name="T4" fmla="*/ 0 w 6"/>
                <a:gd name="T5" fmla="*/ 4 h 14"/>
                <a:gd name="T6" fmla="*/ 0 w 6"/>
                <a:gd name="T7" fmla="*/ 10 h 14"/>
                <a:gd name="T8" fmla="*/ 2 w 6"/>
                <a:gd name="T9" fmla="*/ 14 h 14"/>
                <a:gd name="T10" fmla="*/ 5 w 6"/>
                <a:gd name="T11" fmla="*/ 13 h 14"/>
                <a:gd name="T12" fmla="*/ 6 w 6"/>
                <a:gd name="T13" fmla="*/ 5 h 14"/>
                <a:gd name="T14" fmla="*/ 6 w 6"/>
                <a:gd name="T15" fmla="*/ 0 h 14"/>
                <a:gd name="T16" fmla="*/ 1 w 6"/>
                <a:gd name="T17" fmla="*/ 1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14"/>
                <a:gd name="T29" fmla="*/ 6 w 6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14">
                  <a:moveTo>
                    <a:pt x="1" y="1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5" y="13"/>
                  </a:lnTo>
                  <a:lnTo>
                    <a:pt x="6" y="5"/>
                  </a:lnTo>
                  <a:lnTo>
                    <a:pt x="6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43" name="Freeform 53"/>
            <p:cNvSpPr>
              <a:spLocks/>
            </p:cNvSpPr>
            <p:nvPr/>
          </p:nvSpPr>
          <p:spPr bwMode="auto">
            <a:xfrm>
              <a:off x="1644" y="2445"/>
              <a:ext cx="6" cy="14"/>
            </a:xfrm>
            <a:custGeom>
              <a:avLst/>
              <a:gdLst>
                <a:gd name="T0" fmla="*/ 1 w 6"/>
                <a:gd name="T1" fmla="*/ 1 h 14"/>
                <a:gd name="T2" fmla="*/ 0 w 6"/>
                <a:gd name="T3" fmla="*/ 0 h 14"/>
                <a:gd name="T4" fmla="*/ 0 w 6"/>
                <a:gd name="T5" fmla="*/ 4 h 14"/>
                <a:gd name="T6" fmla="*/ 0 w 6"/>
                <a:gd name="T7" fmla="*/ 10 h 14"/>
                <a:gd name="T8" fmla="*/ 2 w 6"/>
                <a:gd name="T9" fmla="*/ 14 h 14"/>
                <a:gd name="T10" fmla="*/ 5 w 6"/>
                <a:gd name="T11" fmla="*/ 13 h 14"/>
                <a:gd name="T12" fmla="*/ 6 w 6"/>
                <a:gd name="T13" fmla="*/ 5 h 14"/>
                <a:gd name="T14" fmla="*/ 6 w 6"/>
                <a:gd name="T15" fmla="*/ 0 h 14"/>
                <a:gd name="T16" fmla="*/ 1 w 6"/>
                <a:gd name="T17" fmla="*/ 1 h 1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"/>
                <a:gd name="T28" fmla="*/ 0 h 14"/>
                <a:gd name="T29" fmla="*/ 6 w 6"/>
                <a:gd name="T30" fmla="*/ 14 h 1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" h="14">
                  <a:moveTo>
                    <a:pt x="1" y="1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2" y="14"/>
                  </a:lnTo>
                  <a:lnTo>
                    <a:pt x="5" y="13"/>
                  </a:lnTo>
                  <a:lnTo>
                    <a:pt x="6" y="5"/>
                  </a:lnTo>
                  <a:lnTo>
                    <a:pt x="6" y="0"/>
                  </a:lnTo>
                  <a:lnTo>
                    <a:pt x="1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12" name="Group 57"/>
          <p:cNvGrpSpPr>
            <a:grpSpLocks/>
          </p:cNvGrpSpPr>
          <p:nvPr/>
        </p:nvGrpSpPr>
        <p:grpSpPr bwMode="auto">
          <a:xfrm>
            <a:off x="3760788" y="3863975"/>
            <a:ext cx="19050" cy="23813"/>
            <a:chOff x="1611" y="2434"/>
            <a:chExt cx="12" cy="15"/>
          </a:xfrm>
        </p:grpSpPr>
        <p:sp>
          <p:nvSpPr>
            <p:cNvPr id="34440" name="Freeform 55"/>
            <p:cNvSpPr>
              <a:spLocks/>
            </p:cNvSpPr>
            <p:nvPr/>
          </p:nvSpPr>
          <p:spPr bwMode="auto">
            <a:xfrm>
              <a:off x="1611" y="2434"/>
              <a:ext cx="12" cy="15"/>
            </a:xfrm>
            <a:custGeom>
              <a:avLst/>
              <a:gdLst>
                <a:gd name="T0" fmla="*/ 9 w 12"/>
                <a:gd name="T1" fmla="*/ 1 h 15"/>
                <a:gd name="T2" fmla="*/ 9 w 12"/>
                <a:gd name="T3" fmla="*/ 0 h 15"/>
                <a:gd name="T4" fmla="*/ 7 w 12"/>
                <a:gd name="T5" fmla="*/ 2 h 15"/>
                <a:gd name="T6" fmla="*/ 2 w 12"/>
                <a:gd name="T7" fmla="*/ 4 h 15"/>
                <a:gd name="T8" fmla="*/ 0 w 12"/>
                <a:gd name="T9" fmla="*/ 10 h 15"/>
                <a:gd name="T10" fmla="*/ 0 w 12"/>
                <a:gd name="T11" fmla="*/ 12 h 15"/>
                <a:gd name="T12" fmla="*/ 4 w 12"/>
                <a:gd name="T13" fmla="*/ 7 h 15"/>
                <a:gd name="T14" fmla="*/ 7 w 12"/>
                <a:gd name="T15" fmla="*/ 15 h 15"/>
                <a:gd name="T16" fmla="*/ 11 w 12"/>
                <a:gd name="T17" fmla="*/ 12 h 15"/>
                <a:gd name="T18" fmla="*/ 12 w 12"/>
                <a:gd name="T19" fmla="*/ 8 h 15"/>
                <a:gd name="T20" fmla="*/ 9 w 12"/>
                <a:gd name="T21" fmla="*/ 1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15"/>
                <a:gd name="T35" fmla="*/ 12 w 12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15">
                  <a:moveTo>
                    <a:pt x="9" y="1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2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7"/>
                  </a:lnTo>
                  <a:lnTo>
                    <a:pt x="7" y="15"/>
                  </a:lnTo>
                  <a:lnTo>
                    <a:pt x="11" y="12"/>
                  </a:lnTo>
                  <a:lnTo>
                    <a:pt x="12" y="8"/>
                  </a:lnTo>
                  <a:lnTo>
                    <a:pt x="9" y="1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41" name="Freeform 56"/>
            <p:cNvSpPr>
              <a:spLocks/>
            </p:cNvSpPr>
            <p:nvPr/>
          </p:nvSpPr>
          <p:spPr bwMode="auto">
            <a:xfrm>
              <a:off x="1611" y="2434"/>
              <a:ext cx="12" cy="15"/>
            </a:xfrm>
            <a:custGeom>
              <a:avLst/>
              <a:gdLst>
                <a:gd name="T0" fmla="*/ 9 w 12"/>
                <a:gd name="T1" fmla="*/ 1 h 15"/>
                <a:gd name="T2" fmla="*/ 9 w 12"/>
                <a:gd name="T3" fmla="*/ 0 h 15"/>
                <a:gd name="T4" fmla="*/ 7 w 12"/>
                <a:gd name="T5" fmla="*/ 2 h 15"/>
                <a:gd name="T6" fmla="*/ 2 w 12"/>
                <a:gd name="T7" fmla="*/ 4 h 15"/>
                <a:gd name="T8" fmla="*/ 0 w 12"/>
                <a:gd name="T9" fmla="*/ 10 h 15"/>
                <a:gd name="T10" fmla="*/ 0 w 12"/>
                <a:gd name="T11" fmla="*/ 12 h 15"/>
                <a:gd name="T12" fmla="*/ 4 w 12"/>
                <a:gd name="T13" fmla="*/ 7 h 15"/>
                <a:gd name="T14" fmla="*/ 7 w 12"/>
                <a:gd name="T15" fmla="*/ 15 h 15"/>
                <a:gd name="T16" fmla="*/ 11 w 12"/>
                <a:gd name="T17" fmla="*/ 12 h 15"/>
                <a:gd name="T18" fmla="*/ 12 w 12"/>
                <a:gd name="T19" fmla="*/ 8 h 15"/>
                <a:gd name="T20" fmla="*/ 9 w 12"/>
                <a:gd name="T21" fmla="*/ 1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15"/>
                <a:gd name="T35" fmla="*/ 12 w 12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15">
                  <a:moveTo>
                    <a:pt x="9" y="1"/>
                  </a:moveTo>
                  <a:lnTo>
                    <a:pt x="9" y="0"/>
                  </a:lnTo>
                  <a:lnTo>
                    <a:pt x="7" y="2"/>
                  </a:lnTo>
                  <a:lnTo>
                    <a:pt x="2" y="4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7"/>
                  </a:lnTo>
                  <a:lnTo>
                    <a:pt x="7" y="15"/>
                  </a:lnTo>
                  <a:lnTo>
                    <a:pt x="11" y="12"/>
                  </a:lnTo>
                  <a:lnTo>
                    <a:pt x="12" y="8"/>
                  </a:lnTo>
                  <a:lnTo>
                    <a:pt x="9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13" name="Group 60"/>
          <p:cNvGrpSpPr>
            <a:grpSpLocks/>
          </p:cNvGrpSpPr>
          <p:nvPr/>
        </p:nvGrpSpPr>
        <p:grpSpPr bwMode="auto">
          <a:xfrm>
            <a:off x="3781425" y="3849688"/>
            <a:ext cx="12700" cy="22225"/>
            <a:chOff x="1624" y="2425"/>
            <a:chExt cx="8" cy="14"/>
          </a:xfrm>
        </p:grpSpPr>
        <p:sp>
          <p:nvSpPr>
            <p:cNvPr id="34438" name="Freeform 58"/>
            <p:cNvSpPr>
              <a:spLocks/>
            </p:cNvSpPr>
            <p:nvPr/>
          </p:nvSpPr>
          <p:spPr bwMode="auto">
            <a:xfrm>
              <a:off x="1624" y="2425"/>
              <a:ext cx="8" cy="14"/>
            </a:xfrm>
            <a:custGeom>
              <a:avLst/>
              <a:gdLst>
                <a:gd name="T0" fmla="*/ 8 w 8"/>
                <a:gd name="T1" fmla="*/ 0 h 14"/>
                <a:gd name="T2" fmla="*/ 4 w 8"/>
                <a:gd name="T3" fmla="*/ 3 h 14"/>
                <a:gd name="T4" fmla="*/ 3 w 8"/>
                <a:gd name="T5" fmla="*/ 5 h 14"/>
                <a:gd name="T6" fmla="*/ 3 w 8"/>
                <a:gd name="T7" fmla="*/ 8 h 14"/>
                <a:gd name="T8" fmla="*/ 0 w 8"/>
                <a:gd name="T9" fmla="*/ 11 h 14"/>
                <a:gd name="T10" fmla="*/ 0 w 8"/>
                <a:gd name="T11" fmla="*/ 14 h 14"/>
                <a:gd name="T12" fmla="*/ 3 w 8"/>
                <a:gd name="T13" fmla="*/ 13 h 14"/>
                <a:gd name="T14" fmla="*/ 4 w 8"/>
                <a:gd name="T15" fmla="*/ 10 h 14"/>
                <a:gd name="T16" fmla="*/ 7 w 8"/>
                <a:gd name="T17" fmla="*/ 4 h 14"/>
                <a:gd name="T18" fmla="*/ 8 w 8"/>
                <a:gd name="T19" fmla="*/ 0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4"/>
                <a:gd name="T32" fmla="*/ 8 w 8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4">
                  <a:moveTo>
                    <a:pt x="8" y="0"/>
                  </a:moveTo>
                  <a:lnTo>
                    <a:pt x="4" y="3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3" y="13"/>
                  </a:lnTo>
                  <a:lnTo>
                    <a:pt x="4" y="10"/>
                  </a:lnTo>
                  <a:lnTo>
                    <a:pt x="7" y="4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39" name="Freeform 59"/>
            <p:cNvSpPr>
              <a:spLocks/>
            </p:cNvSpPr>
            <p:nvPr/>
          </p:nvSpPr>
          <p:spPr bwMode="auto">
            <a:xfrm>
              <a:off x="1624" y="2425"/>
              <a:ext cx="8" cy="14"/>
            </a:xfrm>
            <a:custGeom>
              <a:avLst/>
              <a:gdLst>
                <a:gd name="T0" fmla="*/ 8 w 8"/>
                <a:gd name="T1" fmla="*/ 0 h 14"/>
                <a:gd name="T2" fmla="*/ 4 w 8"/>
                <a:gd name="T3" fmla="*/ 3 h 14"/>
                <a:gd name="T4" fmla="*/ 3 w 8"/>
                <a:gd name="T5" fmla="*/ 5 h 14"/>
                <a:gd name="T6" fmla="*/ 3 w 8"/>
                <a:gd name="T7" fmla="*/ 8 h 14"/>
                <a:gd name="T8" fmla="*/ 0 w 8"/>
                <a:gd name="T9" fmla="*/ 11 h 14"/>
                <a:gd name="T10" fmla="*/ 0 w 8"/>
                <a:gd name="T11" fmla="*/ 14 h 14"/>
                <a:gd name="T12" fmla="*/ 3 w 8"/>
                <a:gd name="T13" fmla="*/ 13 h 14"/>
                <a:gd name="T14" fmla="*/ 4 w 8"/>
                <a:gd name="T15" fmla="*/ 10 h 14"/>
                <a:gd name="T16" fmla="*/ 7 w 8"/>
                <a:gd name="T17" fmla="*/ 4 h 14"/>
                <a:gd name="T18" fmla="*/ 8 w 8"/>
                <a:gd name="T19" fmla="*/ 0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14"/>
                <a:gd name="T32" fmla="*/ 8 w 8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14">
                  <a:moveTo>
                    <a:pt x="8" y="0"/>
                  </a:moveTo>
                  <a:lnTo>
                    <a:pt x="4" y="3"/>
                  </a:lnTo>
                  <a:lnTo>
                    <a:pt x="3" y="5"/>
                  </a:lnTo>
                  <a:lnTo>
                    <a:pt x="3" y="8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3" y="13"/>
                  </a:lnTo>
                  <a:lnTo>
                    <a:pt x="4" y="10"/>
                  </a:lnTo>
                  <a:lnTo>
                    <a:pt x="7" y="4"/>
                  </a:lnTo>
                  <a:lnTo>
                    <a:pt x="8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14" name="Group 63"/>
          <p:cNvGrpSpPr>
            <a:grpSpLocks/>
          </p:cNvGrpSpPr>
          <p:nvPr/>
        </p:nvGrpSpPr>
        <p:grpSpPr bwMode="auto">
          <a:xfrm>
            <a:off x="3765550" y="3805238"/>
            <a:ext cx="28575" cy="30162"/>
            <a:chOff x="1614" y="2397"/>
            <a:chExt cx="18" cy="19"/>
          </a:xfrm>
        </p:grpSpPr>
        <p:sp>
          <p:nvSpPr>
            <p:cNvPr id="34436" name="Freeform 61"/>
            <p:cNvSpPr>
              <a:spLocks/>
            </p:cNvSpPr>
            <p:nvPr/>
          </p:nvSpPr>
          <p:spPr bwMode="auto">
            <a:xfrm>
              <a:off x="1614" y="2397"/>
              <a:ext cx="18" cy="19"/>
            </a:xfrm>
            <a:custGeom>
              <a:avLst/>
              <a:gdLst>
                <a:gd name="T0" fmla="*/ 1 w 18"/>
                <a:gd name="T1" fmla="*/ 17 h 19"/>
                <a:gd name="T2" fmla="*/ 0 w 18"/>
                <a:gd name="T3" fmla="*/ 15 h 19"/>
                <a:gd name="T4" fmla="*/ 0 w 18"/>
                <a:gd name="T5" fmla="*/ 17 h 19"/>
                <a:gd name="T6" fmla="*/ 3 w 18"/>
                <a:gd name="T7" fmla="*/ 19 h 19"/>
                <a:gd name="T8" fmla="*/ 9 w 18"/>
                <a:gd name="T9" fmla="*/ 19 h 19"/>
                <a:gd name="T10" fmla="*/ 14 w 18"/>
                <a:gd name="T11" fmla="*/ 15 h 19"/>
                <a:gd name="T12" fmla="*/ 18 w 18"/>
                <a:gd name="T13" fmla="*/ 14 h 19"/>
                <a:gd name="T14" fmla="*/ 18 w 18"/>
                <a:gd name="T15" fmla="*/ 11 h 19"/>
                <a:gd name="T16" fmla="*/ 9 w 18"/>
                <a:gd name="T17" fmla="*/ 2 h 19"/>
                <a:gd name="T18" fmla="*/ 8 w 18"/>
                <a:gd name="T19" fmla="*/ 0 h 19"/>
                <a:gd name="T20" fmla="*/ 5 w 18"/>
                <a:gd name="T21" fmla="*/ 1 h 19"/>
                <a:gd name="T22" fmla="*/ 3 w 18"/>
                <a:gd name="T23" fmla="*/ 3 h 19"/>
                <a:gd name="T24" fmla="*/ 3 w 18"/>
                <a:gd name="T25" fmla="*/ 6 h 19"/>
                <a:gd name="T26" fmla="*/ 8 w 18"/>
                <a:gd name="T27" fmla="*/ 9 h 19"/>
                <a:gd name="T28" fmla="*/ 7 w 18"/>
                <a:gd name="T29" fmla="*/ 13 h 19"/>
                <a:gd name="T30" fmla="*/ 8 w 18"/>
                <a:gd name="T31" fmla="*/ 13 h 19"/>
                <a:gd name="T32" fmla="*/ 7 w 18"/>
                <a:gd name="T33" fmla="*/ 15 h 19"/>
                <a:gd name="T34" fmla="*/ 4 w 18"/>
                <a:gd name="T35" fmla="*/ 17 h 19"/>
                <a:gd name="T36" fmla="*/ 1 w 18"/>
                <a:gd name="T37" fmla="*/ 17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8"/>
                <a:gd name="T58" fmla="*/ 0 h 19"/>
                <a:gd name="T59" fmla="*/ 18 w 18"/>
                <a:gd name="T60" fmla="*/ 19 h 1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8" h="19">
                  <a:moveTo>
                    <a:pt x="1" y="17"/>
                  </a:moveTo>
                  <a:lnTo>
                    <a:pt x="0" y="15"/>
                  </a:lnTo>
                  <a:lnTo>
                    <a:pt x="0" y="17"/>
                  </a:lnTo>
                  <a:lnTo>
                    <a:pt x="3" y="19"/>
                  </a:lnTo>
                  <a:lnTo>
                    <a:pt x="9" y="19"/>
                  </a:lnTo>
                  <a:lnTo>
                    <a:pt x="14" y="15"/>
                  </a:lnTo>
                  <a:lnTo>
                    <a:pt x="18" y="14"/>
                  </a:lnTo>
                  <a:lnTo>
                    <a:pt x="18" y="11"/>
                  </a:lnTo>
                  <a:lnTo>
                    <a:pt x="9" y="2"/>
                  </a:lnTo>
                  <a:lnTo>
                    <a:pt x="8" y="0"/>
                  </a:lnTo>
                  <a:lnTo>
                    <a:pt x="5" y="1"/>
                  </a:lnTo>
                  <a:lnTo>
                    <a:pt x="3" y="3"/>
                  </a:lnTo>
                  <a:lnTo>
                    <a:pt x="3" y="6"/>
                  </a:lnTo>
                  <a:lnTo>
                    <a:pt x="8" y="9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7" y="15"/>
                  </a:lnTo>
                  <a:lnTo>
                    <a:pt x="4" y="17"/>
                  </a:lnTo>
                  <a:lnTo>
                    <a:pt x="1" y="17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37" name="Freeform 62"/>
            <p:cNvSpPr>
              <a:spLocks/>
            </p:cNvSpPr>
            <p:nvPr/>
          </p:nvSpPr>
          <p:spPr bwMode="auto">
            <a:xfrm>
              <a:off x="1614" y="2397"/>
              <a:ext cx="18" cy="19"/>
            </a:xfrm>
            <a:custGeom>
              <a:avLst/>
              <a:gdLst>
                <a:gd name="T0" fmla="*/ 1 w 18"/>
                <a:gd name="T1" fmla="*/ 17 h 19"/>
                <a:gd name="T2" fmla="*/ 0 w 18"/>
                <a:gd name="T3" fmla="*/ 15 h 19"/>
                <a:gd name="T4" fmla="*/ 0 w 18"/>
                <a:gd name="T5" fmla="*/ 17 h 19"/>
                <a:gd name="T6" fmla="*/ 3 w 18"/>
                <a:gd name="T7" fmla="*/ 19 h 19"/>
                <a:gd name="T8" fmla="*/ 9 w 18"/>
                <a:gd name="T9" fmla="*/ 19 h 19"/>
                <a:gd name="T10" fmla="*/ 14 w 18"/>
                <a:gd name="T11" fmla="*/ 15 h 19"/>
                <a:gd name="T12" fmla="*/ 18 w 18"/>
                <a:gd name="T13" fmla="*/ 14 h 19"/>
                <a:gd name="T14" fmla="*/ 18 w 18"/>
                <a:gd name="T15" fmla="*/ 11 h 19"/>
                <a:gd name="T16" fmla="*/ 9 w 18"/>
                <a:gd name="T17" fmla="*/ 2 h 19"/>
                <a:gd name="T18" fmla="*/ 8 w 18"/>
                <a:gd name="T19" fmla="*/ 0 h 19"/>
                <a:gd name="T20" fmla="*/ 5 w 18"/>
                <a:gd name="T21" fmla="*/ 1 h 19"/>
                <a:gd name="T22" fmla="*/ 3 w 18"/>
                <a:gd name="T23" fmla="*/ 3 h 19"/>
                <a:gd name="T24" fmla="*/ 3 w 18"/>
                <a:gd name="T25" fmla="*/ 6 h 19"/>
                <a:gd name="T26" fmla="*/ 8 w 18"/>
                <a:gd name="T27" fmla="*/ 9 h 19"/>
                <a:gd name="T28" fmla="*/ 7 w 18"/>
                <a:gd name="T29" fmla="*/ 13 h 19"/>
                <a:gd name="T30" fmla="*/ 8 w 18"/>
                <a:gd name="T31" fmla="*/ 13 h 19"/>
                <a:gd name="T32" fmla="*/ 7 w 18"/>
                <a:gd name="T33" fmla="*/ 15 h 19"/>
                <a:gd name="T34" fmla="*/ 4 w 18"/>
                <a:gd name="T35" fmla="*/ 17 h 19"/>
                <a:gd name="T36" fmla="*/ 1 w 18"/>
                <a:gd name="T37" fmla="*/ 17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8"/>
                <a:gd name="T58" fmla="*/ 0 h 19"/>
                <a:gd name="T59" fmla="*/ 18 w 18"/>
                <a:gd name="T60" fmla="*/ 19 h 1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8" h="19">
                  <a:moveTo>
                    <a:pt x="1" y="17"/>
                  </a:moveTo>
                  <a:lnTo>
                    <a:pt x="0" y="15"/>
                  </a:lnTo>
                  <a:lnTo>
                    <a:pt x="0" y="17"/>
                  </a:lnTo>
                  <a:lnTo>
                    <a:pt x="3" y="19"/>
                  </a:lnTo>
                  <a:lnTo>
                    <a:pt x="9" y="19"/>
                  </a:lnTo>
                  <a:lnTo>
                    <a:pt x="14" y="15"/>
                  </a:lnTo>
                  <a:lnTo>
                    <a:pt x="18" y="14"/>
                  </a:lnTo>
                  <a:lnTo>
                    <a:pt x="18" y="11"/>
                  </a:lnTo>
                  <a:lnTo>
                    <a:pt x="9" y="2"/>
                  </a:lnTo>
                  <a:lnTo>
                    <a:pt x="8" y="0"/>
                  </a:lnTo>
                  <a:lnTo>
                    <a:pt x="5" y="1"/>
                  </a:lnTo>
                  <a:lnTo>
                    <a:pt x="3" y="3"/>
                  </a:lnTo>
                  <a:lnTo>
                    <a:pt x="3" y="6"/>
                  </a:lnTo>
                  <a:lnTo>
                    <a:pt x="8" y="9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7" y="15"/>
                  </a:lnTo>
                  <a:lnTo>
                    <a:pt x="4" y="17"/>
                  </a:lnTo>
                  <a:lnTo>
                    <a:pt x="1" y="17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15" name="Group 66"/>
          <p:cNvGrpSpPr>
            <a:grpSpLocks/>
          </p:cNvGrpSpPr>
          <p:nvPr/>
        </p:nvGrpSpPr>
        <p:grpSpPr bwMode="auto">
          <a:xfrm>
            <a:off x="3751263" y="3716338"/>
            <a:ext cx="42862" cy="52387"/>
            <a:chOff x="1605" y="2341"/>
            <a:chExt cx="27" cy="33"/>
          </a:xfrm>
        </p:grpSpPr>
        <p:sp>
          <p:nvSpPr>
            <p:cNvPr id="34434" name="Freeform 64"/>
            <p:cNvSpPr>
              <a:spLocks/>
            </p:cNvSpPr>
            <p:nvPr/>
          </p:nvSpPr>
          <p:spPr bwMode="auto">
            <a:xfrm>
              <a:off x="1605" y="2341"/>
              <a:ext cx="27" cy="33"/>
            </a:xfrm>
            <a:custGeom>
              <a:avLst/>
              <a:gdLst>
                <a:gd name="T0" fmla="*/ 11 w 27"/>
                <a:gd name="T1" fmla="*/ 0 h 33"/>
                <a:gd name="T2" fmla="*/ 10 w 27"/>
                <a:gd name="T3" fmla="*/ 0 h 33"/>
                <a:gd name="T4" fmla="*/ 8 w 27"/>
                <a:gd name="T5" fmla="*/ 11 h 33"/>
                <a:gd name="T6" fmla="*/ 4 w 27"/>
                <a:gd name="T7" fmla="*/ 7 h 33"/>
                <a:gd name="T8" fmla="*/ 1 w 27"/>
                <a:gd name="T9" fmla="*/ 11 h 33"/>
                <a:gd name="T10" fmla="*/ 0 w 27"/>
                <a:gd name="T11" fmla="*/ 16 h 33"/>
                <a:gd name="T12" fmla="*/ 2 w 27"/>
                <a:gd name="T13" fmla="*/ 17 h 33"/>
                <a:gd name="T14" fmla="*/ 6 w 27"/>
                <a:gd name="T15" fmla="*/ 17 h 33"/>
                <a:gd name="T16" fmla="*/ 8 w 27"/>
                <a:gd name="T17" fmla="*/ 23 h 33"/>
                <a:gd name="T18" fmla="*/ 11 w 27"/>
                <a:gd name="T19" fmla="*/ 26 h 33"/>
                <a:gd name="T20" fmla="*/ 11 w 27"/>
                <a:gd name="T21" fmla="*/ 29 h 33"/>
                <a:gd name="T22" fmla="*/ 21 w 27"/>
                <a:gd name="T23" fmla="*/ 27 h 33"/>
                <a:gd name="T24" fmla="*/ 21 w 27"/>
                <a:gd name="T25" fmla="*/ 33 h 33"/>
                <a:gd name="T26" fmla="*/ 24 w 27"/>
                <a:gd name="T27" fmla="*/ 31 h 33"/>
                <a:gd name="T28" fmla="*/ 27 w 27"/>
                <a:gd name="T29" fmla="*/ 24 h 33"/>
                <a:gd name="T30" fmla="*/ 20 w 27"/>
                <a:gd name="T31" fmla="*/ 23 h 33"/>
                <a:gd name="T32" fmla="*/ 19 w 27"/>
                <a:gd name="T33" fmla="*/ 21 h 33"/>
                <a:gd name="T34" fmla="*/ 19 w 27"/>
                <a:gd name="T35" fmla="*/ 16 h 33"/>
                <a:gd name="T36" fmla="*/ 15 w 27"/>
                <a:gd name="T37" fmla="*/ 11 h 33"/>
                <a:gd name="T38" fmla="*/ 15 w 27"/>
                <a:gd name="T39" fmla="*/ 8 h 33"/>
                <a:gd name="T40" fmla="*/ 14 w 27"/>
                <a:gd name="T41" fmla="*/ 4 h 33"/>
                <a:gd name="T42" fmla="*/ 11 w 27"/>
                <a:gd name="T43" fmla="*/ 0 h 3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7"/>
                <a:gd name="T67" fmla="*/ 0 h 33"/>
                <a:gd name="T68" fmla="*/ 27 w 27"/>
                <a:gd name="T69" fmla="*/ 33 h 3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7" h="33">
                  <a:moveTo>
                    <a:pt x="11" y="0"/>
                  </a:moveTo>
                  <a:lnTo>
                    <a:pt x="10" y="0"/>
                  </a:lnTo>
                  <a:lnTo>
                    <a:pt x="8" y="11"/>
                  </a:lnTo>
                  <a:lnTo>
                    <a:pt x="4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2" y="17"/>
                  </a:lnTo>
                  <a:lnTo>
                    <a:pt x="6" y="17"/>
                  </a:lnTo>
                  <a:lnTo>
                    <a:pt x="8" y="23"/>
                  </a:lnTo>
                  <a:lnTo>
                    <a:pt x="11" y="26"/>
                  </a:lnTo>
                  <a:lnTo>
                    <a:pt x="11" y="29"/>
                  </a:lnTo>
                  <a:lnTo>
                    <a:pt x="21" y="27"/>
                  </a:lnTo>
                  <a:lnTo>
                    <a:pt x="21" y="33"/>
                  </a:lnTo>
                  <a:lnTo>
                    <a:pt x="24" y="31"/>
                  </a:lnTo>
                  <a:lnTo>
                    <a:pt x="27" y="24"/>
                  </a:lnTo>
                  <a:lnTo>
                    <a:pt x="20" y="23"/>
                  </a:lnTo>
                  <a:lnTo>
                    <a:pt x="19" y="21"/>
                  </a:lnTo>
                  <a:lnTo>
                    <a:pt x="19" y="16"/>
                  </a:lnTo>
                  <a:lnTo>
                    <a:pt x="15" y="11"/>
                  </a:lnTo>
                  <a:lnTo>
                    <a:pt x="15" y="8"/>
                  </a:lnTo>
                  <a:lnTo>
                    <a:pt x="14" y="4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35" name="Freeform 65"/>
            <p:cNvSpPr>
              <a:spLocks/>
            </p:cNvSpPr>
            <p:nvPr/>
          </p:nvSpPr>
          <p:spPr bwMode="auto">
            <a:xfrm>
              <a:off x="1605" y="2341"/>
              <a:ext cx="27" cy="33"/>
            </a:xfrm>
            <a:custGeom>
              <a:avLst/>
              <a:gdLst>
                <a:gd name="T0" fmla="*/ 11 w 27"/>
                <a:gd name="T1" fmla="*/ 0 h 33"/>
                <a:gd name="T2" fmla="*/ 10 w 27"/>
                <a:gd name="T3" fmla="*/ 0 h 33"/>
                <a:gd name="T4" fmla="*/ 8 w 27"/>
                <a:gd name="T5" fmla="*/ 11 h 33"/>
                <a:gd name="T6" fmla="*/ 4 w 27"/>
                <a:gd name="T7" fmla="*/ 7 h 33"/>
                <a:gd name="T8" fmla="*/ 1 w 27"/>
                <a:gd name="T9" fmla="*/ 11 h 33"/>
                <a:gd name="T10" fmla="*/ 0 w 27"/>
                <a:gd name="T11" fmla="*/ 16 h 33"/>
                <a:gd name="T12" fmla="*/ 2 w 27"/>
                <a:gd name="T13" fmla="*/ 17 h 33"/>
                <a:gd name="T14" fmla="*/ 6 w 27"/>
                <a:gd name="T15" fmla="*/ 17 h 33"/>
                <a:gd name="T16" fmla="*/ 8 w 27"/>
                <a:gd name="T17" fmla="*/ 23 h 33"/>
                <a:gd name="T18" fmla="*/ 11 w 27"/>
                <a:gd name="T19" fmla="*/ 26 h 33"/>
                <a:gd name="T20" fmla="*/ 11 w 27"/>
                <a:gd name="T21" fmla="*/ 29 h 33"/>
                <a:gd name="T22" fmla="*/ 21 w 27"/>
                <a:gd name="T23" fmla="*/ 27 h 33"/>
                <a:gd name="T24" fmla="*/ 21 w 27"/>
                <a:gd name="T25" fmla="*/ 33 h 33"/>
                <a:gd name="T26" fmla="*/ 24 w 27"/>
                <a:gd name="T27" fmla="*/ 31 h 33"/>
                <a:gd name="T28" fmla="*/ 27 w 27"/>
                <a:gd name="T29" fmla="*/ 24 h 33"/>
                <a:gd name="T30" fmla="*/ 20 w 27"/>
                <a:gd name="T31" fmla="*/ 23 h 33"/>
                <a:gd name="T32" fmla="*/ 19 w 27"/>
                <a:gd name="T33" fmla="*/ 21 h 33"/>
                <a:gd name="T34" fmla="*/ 19 w 27"/>
                <a:gd name="T35" fmla="*/ 16 h 33"/>
                <a:gd name="T36" fmla="*/ 15 w 27"/>
                <a:gd name="T37" fmla="*/ 11 h 33"/>
                <a:gd name="T38" fmla="*/ 15 w 27"/>
                <a:gd name="T39" fmla="*/ 8 h 33"/>
                <a:gd name="T40" fmla="*/ 14 w 27"/>
                <a:gd name="T41" fmla="*/ 4 h 33"/>
                <a:gd name="T42" fmla="*/ 11 w 27"/>
                <a:gd name="T43" fmla="*/ 0 h 3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27"/>
                <a:gd name="T67" fmla="*/ 0 h 33"/>
                <a:gd name="T68" fmla="*/ 27 w 27"/>
                <a:gd name="T69" fmla="*/ 33 h 3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27" h="33">
                  <a:moveTo>
                    <a:pt x="11" y="0"/>
                  </a:moveTo>
                  <a:lnTo>
                    <a:pt x="10" y="0"/>
                  </a:lnTo>
                  <a:lnTo>
                    <a:pt x="8" y="11"/>
                  </a:lnTo>
                  <a:lnTo>
                    <a:pt x="4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2" y="17"/>
                  </a:lnTo>
                  <a:lnTo>
                    <a:pt x="6" y="17"/>
                  </a:lnTo>
                  <a:lnTo>
                    <a:pt x="8" y="23"/>
                  </a:lnTo>
                  <a:lnTo>
                    <a:pt x="11" y="26"/>
                  </a:lnTo>
                  <a:lnTo>
                    <a:pt x="11" y="29"/>
                  </a:lnTo>
                  <a:lnTo>
                    <a:pt x="21" y="27"/>
                  </a:lnTo>
                  <a:lnTo>
                    <a:pt x="21" y="33"/>
                  </a:lnTo>
                  <a:lnTo>
                    <a:pt x="24" y="31"/>
                  </a:lnTo>
                  <a:lnTo>
                    <a:pt x="27" y="24"/>
                  </a:lnTo>
                  <a:lnTo>
                    <a:pt x="20" y="23"/>
                  </a:lnTo>
                  <a:lnTo>
                    <a:pt x="19" y="21"/>
                  </a:lnTo>
                  <a:lnTo>
                    <a:pt x="19" y="16"/>
                  </a:lnTo>
                  <a:lnTo>
                    <a:pt x="15" y="11"/>
                  </a:lnTo>
                  <a:lnTo>
                    <a:pt x="15" y="8"/>
                  </a:lnTo>
                  <a:lnTo>
                    <a:pt x="14" y="4"/>
                  </a:lnTo>
                  <a:lnTo>
                    <a:pt x="11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16" name="Group 69"/>
          <p:cNvGrpSpPr>
            <a:grpSpLocks/>
          </p:cNvGrpSpPr>
          <p:nvPr/>
        </p:nvGrpSpPr>
        <p:grpSpPr bwMode="auto">
          <a:xfrm>
            <a:off x="3689350" y="3910013"/>
            <a:ext cx="115888" cy="104775"/>
            <a:chOff x="1566" y="2463"/>
            <a:chExt cx="73" cy="66"/>
          </a:xfrm>
        </p:grpSpPr>
        <p:sp>
          <p:nvSpPr>
            <p:cNvPr id="34432" name="Freeform 67"/>
            <p:cNvSpPr>
              <a:spLocks/>
            </p:cNvSpPr>
            <p:nvPr/>
          </p:nvSpPr>
          <p:spPr bwMode="auto">
            <a:xfrm>
              <a:off x="1566" y="2463"/>
              <a:ext cx="73" cy="66"/>
            </a:xfrm>
            <a:custGeom>
              <a:avLst/>
              <a:gdLst>
                <a:gd name="T0" fmla="*/ 15 w 73"/>
                <a:gd name="T1" fmla="*/ 18 h 66"/>
                <a:gd name="T2" fmla="*/ 14 w 73"/>
                <a:gd name="T3" fmla="*/ 25 h 66"/>
                <a:gd name="T4" fmla="*/ 11 w 73"/>
                <a:gd name="T5" fmla="*/ 30 h 66"/>
                <a:gd name="T6" fmla="*/ 6 w 73"/>
                <a:gd name="T7" fmla="*/ 31 h 66"/>
                <a:gd name="T8" fmla="*/ 6 w 73"/>
                <a:gd name="T9" fmla="*/ 38 h 66"/>
                <a:gd name="T10" fmla="*/ 0 w 73"/>
                <a:gd name="T11" fmla="*/ 42 h 66"/>
                <a:gd name="T12" fmla="*/ 8 w 73"/>
                <a:gd name="T13" fmla="*/ 48 h 66"/>
                <a:gd name="T14" fmla="*/ 12 w 73"/>
                <a:gd name="T15" fmla="*/ 57 h 66"/>
                <a:gd name="T16" fmla="*/ 18 w 73"/>
                <a:gd name="T17" fmla="*/ 60 h 66"/>
                <a:gd name="T18" fmla="*/ 25 w 73"/>
                <a:gd name="T19" fmla="*/ 54 h 66"/>
                <a:gd name="T20" fmla="*/ 28 w 73"/>
                <a:gd name="T21" fmla="*/ 48 h 66"/>
                <a:gd name="T22" fmla="*/ 43 w 73"/>
                <a:gd name="T23" fmla="*/ 44 h 66"/>
                <a:gd name="T24" fmla="*/ 51 w 73"/>
                <a:gd name="T25" fmla="*/ 52 h 66"/>
                <a:gd name="T26" fmla="*/ 52 w 73"/>
                <a:gd name="T27" fmla="*/ 56 h 66"/>
                <a:gd name="T28" fmla="*/ 52 w 73"/>
                <a:gd name="T29" fmla="*/ 64 h 66"/>
                <a:gd name="T30" fmla="*/ 53 w 73"/>
                <a:gd name="T31" fmla="*/ 66 h 66"/>
                <a:gd name="T32" fmla="*/ 54 w 73"/>
                <a:gd name="T33" fmla="*/ 66 h 66"/>
                <a:gd name="T34" fmla="*/ 61 w 73"/>
                <a:gd name="T35" fmla="*/ 62 h 66"/>
                <a:gd name="T36" fmla="*/ 62 w 73"/>
                <a:gd name="T37" fmla="*/ 56 h 66"/>
                <a:gd name="T38" fmla="*/ 69 w 73"/>
                <a:gd name="T39" fmla="*/ 55 h 66"/>
                <a:gd name="T40" fmla="*/ 72 w 73"/>
                <a:gd name="T41" fmla="*/ 51 h 66"/>
                <a:gd name="T42" fmla="*/ 69 w 73"/>
                <a:gd name="T43" fmla="*/ 45 h 66"/>
                <a:gd name="T44" fmla="*/ 68 w 73"/>
                <a:gd name="T45" fmla="*/ 41 h 66"/>
                <a:gd name="T46" fmla="*/ 72 w 73"/>
                <a:gd name="T47" fmla="*/ 47 h 66"/>
                <a:gd name="T48" fmla="*/ 73 w 73"/>
                <a:gd name="T49" fmla="*/ 41 h 66"/>
                <a:gd name="T50" fmla="*/ 71 w 73"/>
                <a:gd name="T51" fmla="*/ 35 h 66"/>
                <a:gd name="T52" fmla="*/ 68 w 73"/>
                <a:gd name="T53" fmla="*/ 34 h 66"/>
                <a:gd name="T54" fmla="*/ 61 w 73"/>
                <a:gd name="T55" fmla="*/ 35 h 66"/>
                <a:gd name="T56" fmla="*/ 64 w 73"/>
                <a:gd name="T57" fmla="*/ 30 h 66"/>
                <a:gd name="T58" fmla="*/ 63 w 73"/>
                <a:gd name="T59" fmla="*/ 20 h 66"/>
                <a:gd name="T60" fmla="*/ 58 w 73"/>
                <a:gd name="T61" fmla="*/ 14 h 66"/>
                <a:gd name="T62" fmla="*/ 55 w 73"/>
                <a:gd name="T63" fmla="*/ 8 h 66"/>
                <a:gd name="T64" fmla="*/ 46 w 73"/>
                <a:gd name="T65" fmla="*/ 5 h 66"/>
                <a:gd name="T66" fmla="*/ 34 w 73"/>
                <a:gd name="T67" fmla="*/ 9 h 66"/>
                <a:gd name="T68" fmla="*/ 30 w 73"/>
                <a:gd name="T69" fmla="*/ 12 h 66"/>
                <a:gd name="T70" fmla="*/ 26 w 73"/>
                <a:gd name="T71" fmla="*/ 14 h 66"/>
                <a:gd name="T72" fmla="*/ 25 w 73"/>
                <a:gd name="T73" fmla="*/ 12 h 66"/>
                <a:gd name="T74" fmla="*/ 31 w 73"/>
                <a:gd name="T75" fmla="*/ 5 h 66"/>
                <a:gd name="T76" fmla="*/ 30 w 73"/>
                <a:gd name="T77" fmla="*/ 3 h 66"/>
                <a:gd name="T78" fmla="*/ 25 w 73"/>
                <a:gd name="T79" fmla="*/ 0 h 66"/>
                <a:gd name="T80" fmla="*/ 21 w 73"/>
                <a:gd name="T81" fmla="*/ 0 h 66"/>
                <a:gd name="T82" fmla="*/ 20 w 73"/>
                <a:gd name="T83" fmla="*/ 2 h 66"/>
                <a:gd name="T84" fmla="*/ 18 w 73"/>
                <a:gd name="T85" fmla="*/ 3 h 66"/>
                <a:gd name="T86" fmla="*/ 17 w 73"/>
                <a:gd name="T87" fmla="*/ 7 h 66"/>
                <a:gd name="T88" fmla="*/ 18 w 73"/>
                <a:gd name="T89" fmla="*/ 10 h 66"/>
                <a:gd name="T90" fmla="*/ 18 w 73"/>
                <a:gd name="T91" fmla="*/ 14 h 66"/>
                <a:gd name="T92" fmla="*/ 17 w 73"/>
                <a:gd name="T93" fmla="*/ 17 h 66"/>
                <a:gd name="T94" fmla="*/ 15 w 73"/>
                <a:gd name="T95" fmla="*/ 18 h 6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3"/>
                <a:gd name="T145" fmla="*/ 0 h 66"/>
                <a:gd name="T146" fmla="*/ 73 w 73"/>
                <a:gd name="T147" fmla="*/ 66 h 6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3" h="66">
                  <a:moveTo>
                    <a:pt x="15" y="18"/>
                  </a:moveTo>
                  <a:lnTo>
                    <a:pt x="14" y="25"/>
                  </a:lnTo>
                  <a:lnTo>
                    <a:pt x="11" y="30"/>
                  </a:lnTo>
                  <a:lnTo>
                    <a:pt x="6" y="31"/>
                  </a:lnTo>
                  <a:lnTo>
                    <a:pt x="6" y="38"/>
                  </a:lnTo>
                  <a:lnTo>
                    <a:pt x="0" y="42"/>
                  </a:lnTo>
                  <a:lnTo>
                    <a:pt x="8" y="48"/>
                  </a:lnTo>
                  <a:lnTo>
                    <a:pt x="12" y="57"/>
                  </a:lnTo>
                  <a:lnTo>
                    <a:pt x="18" y="60"/>
                  </a:lnTo>
                  <a:lnTo>
                    <a:pt x="25" y="54"/>
                  </a:lnTo>
                  <a:lnTo>
                    <a:pt x="28" y="48"/>
                  </a:lnTo>
                  <a:lnTo>
                    <a:pt x="43" y="44"/>
                  </a:lnTo>
                  <a:lnTo>
                    <a:pt x="51" y="52"/>
                  </a:lnTo>
                  <a:lnTo>
                    <a:pt x="52" y="56"/>
                  </a:lnTo>
                  <a:lnTo>
                    <a:pt x="52" y="64"/>
                  </a:lnTo>
                  <a:lnTo>
                    <a:pt x="53" y="66"/>
                  </a:lnTo>
                  <a:lnTo>
                    <a:pt x="54" y="66"/>
                  </a:lnTo>
                  <a:lnTo>
                    <a:pt x="61" y="62"/>
                  </a:lnTo>
                  <a:lnTo>
                    <a:pt x="62" y="56"/>
                  </a:lnTo>
                  <a:lnTo>
                    <a:pt x="69" y="55"/>
                  </a:lnTo>
                  <a:lnTo>
                    <a:pt x="72" y="51"/>
                  </a:lnTo>
                  <a:lnTo>
                    <a:pt x="69" y="45"/>
                  </a:lnTo>
                  <a:lnTo>
                    <a:pt x="68" y="41"/>
                  </a:lnTo>
                  <a:lnTo>
                    <a:pt x="72" y="47"/>
                  </a:lnTo>
                  <a:lnTo>
                    <a:pt x="73" y="41"/>
                  </a:lnTo>
                  <a:lnTo>
                    <a:pt x="71" y="35"/>
                  </a:lnTo>
                  <a:lnTo>
                    <a:pt x="68" y="34"/>
                  </a:lnTo>
                  <a:lnTo>
                    <a:pt x="61" y="35"/>
                  </a:lnTo>
                  <a:lnTo>
                    <a:pt x="64" y="30"/>
                  </a:lnTo>
                  <a:lnTo>
                    <a:pt x="63" y="20"/>
                  </a:lnTo>
                  <a:lnTo>
                    <a:pt x="58" y="14"/>
                  </a:lnTo>
                  <a:lnTo>
                    <a:pt x="55" y="8"/>
                  </a:lnTo>
                  <a:lnTo>
                    <a:pt x="46" y="5"/>
                  </a:lnTo>
                  <a:lnTo>
                    <a:pt x="34" y="9"/>
                  </a:lnTo>
                  <a:lnTo>
                    <a:pt x="30" y="12"/>
                  </a:lnTo>
                  <a:lnTo>
                    <a:pt x="26" y="14"/>
                  </a:lnTo>
                  <a:lnTo>
                    <a:pt x="25" y="12"/>
                  </a:lnTo>
                  <a:lnTo>
                    <a:pt x="31" y="5"/>
                  </a:lnTo>
                  <a:lnTo>
                    <a:pt x="30" y="3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20" y="2"/>
                  </a:lnTo>
                  <a:lnTo>
                    <a:pt x="18" y="3"/>
                  </a:lnTo>
                  <a:lnTo>
                    <a:pt x="17" y="7"/>
                  </a:lnTo>
                  <a:lnTo>
                    <a:pt x="18" y="10"/>
                  </a:lnTo>
                  <a:lnTo>
                    <a:pt x="18" y="14"/>
                  </a:lnTo>
                  <a:lnTo>
                    <a:pt x="17" y="17"/>
                  </a:lnTo>
                  <a:lnTo>
                    <a:pt x="15" y="18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33" name="Freeform 68"/>
            <p:cNvSpPr>
              <a:spLocks/>
            </p:cNvSpPr>
            <p:nvPr/>
          </p:nvSpPr>
          <p:spPr bwMode="auto">
            <a:xfrm>
              <a:off x="1566" y="2463"/>
              <a:ext cx="73" cy="66"/>
            </a:xfrm>
            <a:custGeom>
              <a:avLst/>
              <a:gdLst>
                <a:gd name="T0" fmla="*/ 15 w 73"/>
                <a:gd name="T1" fmla="*/ 18 h 66"/>
                <a:gd name="T2" fmla="*/ 14 w 73"/>
                <a:gd name="T3" fmla="*/ 25 h 66"/>
                <a:gd name="T4" fmla="*/ 11 w 73"/>
                <a:gd name="T5" fmla="*/ 30 h 66"/>
                <a:gd name="T6" fmla="*/ 6 w 73"/>
                <a:gd name="T7" fmla="*/ 31 h 66"/>
                <a:gd name="T8" fmla="*/ 6 w 73"/>
                <a:gd name="T9" fmla="*/ 38 h 66"/>
                <a:gd name="T10" fmla="*/ 0 w 73"/>
                <a:gd name="T11" fmla="*/ 42 h 66"/>
                <a:gd name="T12" fmla="*/ 8 w 73"/>
                <a:gd name="T13" fmla="*/ 48 h 66"/>
                <a:gd name="T14" fmla="*/ 12 w 73"/>
                <a:gd name="T15" fmla="*/ 57 h 66"/>
                <a:gd name="T16" fmla="*/ 18 w 73"/>
                <a:gd name="T17" fmla="*/ 60 h 66"/>
                <a:gd name="T18" fmla="*/ 25 w 73"/>
                <a:gd name="T19" fmla="*/ 54 h 66"/>
                <a:gd name="T20" fmla="*/ 28 w 73"/>
                <a:gd name="T21" fmla="*/ 48 h 66"/>
                <a:gd name="T22" fmla="*/ 43 w 73"/>
                <a:gd name="T23" fmla="*/ 44 h 66"/>
                <a:gd name="T24" fmla="*/ 51 w 73"/>
                <a:gd name="T25" fmla="*/ 52 h 66"/>
                <a:gd name="T26" fmla="*/ 52 w 73"/>
                <a:gd name="T27" fmla="*/ 56 h 66"/>
                <a:gd name="T28" fmla="*/ 52 w 73"/>
                <a:gd name="T29" fmla="*/ 64 h 66"/>
                <a:gd name="T30" fmla="*/ 53 w 73"/>
                <a:gd name="T31" fmla="*/ 66 h 66"/>
                <a:gd name="T32" fmla="*/ 54 w 73"/>
                <a:gd name="T33" fmla="*/ 66 h 66"/>
                <a:gd name="T34" fmla="*/ 61 w 73"/>
                <a:gd name="T35" fmla="*/ 62 h 66"/>
                <a:gd name="T36" fmla="*/ 62 w 73"/>
                <a:gd name="T37" fmla="*/ 56 h 66"/>
                <a:gd name="T38" fmla="*/ 69 w 73"/>
                <a:gd name="T39" fmla="*/ 55 h 66"/>
                <a:gd name="T40" fmla="*/ 72 w 73"/>
                <a:gd name="T41" fmla="*/ 51 h 66"/>
                <a:gd name="T42" fmla="*/ 69 w 73"/>
                <a:gd name="T43" fmla="*/ 45 h 66"/>
                <a:gd name="T44" fmla="*/ 68 w 73"/>
                <a:gd name="T45" fmla="*/ 41 h 66"/>
                <a:gd name="T46" fmla="*/ 72 w 73"/>
                <a:gd name="T47" fmla="*/ 47 h 66"/>
                <a:gd name="T48" fmla="*/ 73 w 73"/>
                <a:gd name="T49" fmla="*/ 41 h 66"/>
                <a:gd name="T50" fmla="*/ 71 w 73"/>
                <a:gd name="T51" fmla="*/ 35 h 66"/>
                <a:gd name="T52" fmla="*/ 68 w 73"/>
                <a:gd name="T53" fmla="*/ 34 h 66"/>
                <a:gd name="T54" fmla="*/ 61 w 73"/>
                <a:gd name="T55" fmla="*/ 35 h 66"/>
                <a:gd name="T56" fmla="*/ 64 w 73"/>
                <a:gd name="T57" fmla="*/ 30 h 66"/>
                <a:gd name="T58" fmla="*/ 63 w 73"/>
                <a:gd name="T59" fmla="*/ 20 h 66"/>
                <a:gd name="T60" fmla="*/ 58 w 73"/>
                <a:gd name="T61" fmla="*/ 14 h 66"/>
                <a:gd name="T62" fmla="*/ 55 w 73"/>
                <a:gd name="T63" fmla="*/ 8 h 66"/>
                <a:gd name="T64" fmla="*/ 46 w 73"/>
                <a:gd name="T65" fmla="*/ 5 h 66"/>
                <a:gd name="T66" fmla="*/ 34 w 73"/>
                <a:gd name="T67" fmla="*/ 9 h 66"/>
                <a:gd name="T68" fmla="*/ 30 w 73"/>
                <a:gd name="T69" fmla="*/ 12 h 66"/>
                <a:gd name="T70" fmla="*/ 26 w 73"/>
                <a:gd name="T71" fmla="*/ 14 h 66"/>
                <a:gd name="T72" fmla="*/ 25 w 73"/>
                <a:gd name="T73" fmla="*/ 12 h 66"/>
                <a:gd name="T74" fmla="*/ 31 w 73"/>
                <a:gd name="T75" fmla="*/ 5 h 66"/>
                <a:gd name="T76" fmla="*/ 30 w 73"/>
                <a:gd name="T77" fmla="*/ 3 h 66"/>
                <a:gd name="T78" fmla="*/ 25 w 73"/>
                <a:gd name="T79" fmla="*/ 0 h 66"/>
                <a:gd name="T80" fmla="*/ 21 w 73"/>
                <a:gd name="T81" fmla="*/ 0 h 66"/>
                <a:gd name="T82" fmla="*/ 20 w 73"/>
                <a:gd name="T83" fmla="*/ 2 h 66"/>
                <a:gd name="T84" fmla="*/ 18 w 73"/>
                <a:gd name="T85" fmla="*/ 3 h 66"/>
                <a:gd name="T86" fmla="*/ 17 w 73"/>
                <a:gd name="T87" fmla="*/ 7 h 66"/>
                <a:gd name="T88" fmla="*/ 18 w 73"/>
                <a:gd name="T89" fmla="*/ 10 h 66"/>
                <a:gd name="T90" fmla="*/ 18 w 73"/>
                <a:gd name="T91" fmla="*/ 14 h 66"/>
                <a:gd name="T92" fmla="*/ 17 w 73"/>
                <a:gd name="T93" fmla="*/ 17 h 66"/>
                <a:gd name="T94" fmla="*/ 15 w 73"/>
                <a:gd name="T95" fmla="*/ 18 h 6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3"/>
                <a:gd name="T145" fmla="*/ 0 h 66"/>
                <a:gd name="T146" fmla="*/ 73 w 73"/>
                <a:gd name="T147" fmla="*/ 66 h 6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73" h="66">
                  <a:moveTo>
                    <a:pt x="15" y="18"/>
                  </a:moveTo>
                  <a:lnTo>
                    <a:pt x="14" y="25"/>
                  </a:lnTo>
                  <a:lnTo>
                    <a:pt x="11" y="30"/>
                  </a:lnTo>
                  <a:lnTo>
                    <a:pt x="6" y="31"/>
                  </a:lnTo>
                  <a:lnTo>
                    <a:pt x="6" y="38"/>
                  </a:lnTo>
                  <a:lnTo>
                    <a:pt x="0" y="42"/>
                  </a:lnTo>
                  <a:lnTo>
                    <a:pt x="8" y="48"/>
                  </a:lnTo>
                  <a:lnTo>
                    <a:pt x="12" y="57"/>
                  </a:lnTo>
                  <a:lnTo>
                    <a:pt x="18" y="60"/>
                  </a:lnTo>
                  <a:lnTo>
                    <a:pt x="25" y="54"/>
                  </a:lnTo>
                  <a:lnTo>
                    <a:pt x="28" y="48"/>
                  </a:lnTo>
                  <a:lnTo>
                    <a:pt x="43" y="44"/>
                  </a:lnTo>
                  <a:lnTo>
                    <a:pt x="51" y="52"/>
                  </a:lnTo>
                  <a:lnTo>
                    <a:pt x="52" y="56"/>
                  </a:lnTo>
                  <a:lnTo>
                    <a:pt x="52" y="64"/>
                  </a:lnTo>
                  <a:lnTo>
                    <a:pt x="53" y="66"/>
                  </a:lnTo>
                  <a:lnTo>
                    <a:pt x="54" y="66"/>
                  </a:lnTo>
                  <a:lnTo>
                    <a:pt x="61" y="62"/>
                  </a:lnTo>
                  <a:lnTo>
                    <a:pt x="62" y="56"/>
                  </a:lnTo>
                  <a:lnTo>
                    <a:pt x="69" y="55"/>
                  </a:lnTo>
                  <a:lnTo>
                    <a:pt x="72" y="51"/>
                  </a:lnTo>
                  <a:lnTo>
                    <a:pt x="69" y="45"/>
                  </a:lnTo>
                  <a:lnTo>
                    <a:pt x="68" y="41"/>
                  </a:lnTo>
                  <a:lnTo>
                    <a:pt x="72" y="47"/>
                  </a:lnTo>
                  <a:lnTo>
                    <a:pt x="73" y="41"/>
                  </a:lnTo>
                  <a:lnTo>
                    <a:pt x="71" y="35"/>
                  </a:lnTo>
                  <a:lnTo>
                    <a:pt x="68" y="34"/>
                  </a:lnTo>
                  <a:lnTo>
                    <a:pt x="61" y="35"/>
                  </a:lnTo>
                  <a:lnTo>
                    <a:pt x="64" y="30"/>
                  </a:lnTo>
                  <a:lnTo>
                    <a:pt x="63" y="20"/>
                  </a:lnTo>
                  <a:lnTo>
                    <a:pt x="58" y="14"/>
                  </a:lnTo>
                  <a:lnTo>
                    <a:pt x="55" y="8"/>
                  </a:lnTo>
                  <a:lnTo>
                    <a:pt x="46" y="5"/>
                  </a:lnTo>
                  <a:lnTo>
                    <a:pt x="34" y="9"/>
                  </a:lnTo>
                  <a:lnTo>
                    <a:pt x="30" y="12"/>
                  </a:lnTo>
                  <a:lnTo>
                    <a:pt x="26" y="14"/>
                  </a:lnTo>
                  <a:lnTo>
                    <a:pt x="25" y="12"/>
                  </a:lnTo>
                  <a:lnTo>
                    <a:pt x="31" y="5"/>
                  </a:lnTo>
                  <a:lnTo>
                    <a:pt x="30" y="3"/>
                  </a:lnTo>
                  <a:lnTo>
                    <a:pt x="25" y="0"/>
                  </a:lnTo>
                  <a:lnTo>
                    <a:pt x="21" y="0"/>
                  </a:lnTo>
                  <a:lnTo>
                    <a:pt x="20" y="2"/>
                  </a:lnTo>
                  <a:lnTo>
                    <a:pt x="18" y="3"/>
                  </a:lnTo>
                  <a:lnTo>
                    <a:pt x="17" y="7"/>
                  </a:lnTo>
                  <a:lnTo>
                    <a:pt x="18" y="10"/>
                  </a:lnTo>
                  <a:lnTo>
                    <a:pt x="18" y="14"/>
                  </a:lnTo>
                  <a:lnTo>
                    <a:pt x="17" y="17"/>
                  </a:lnTo>
                  <a:lnTo>
                    <a:pt x="15" y="18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17" name="Group 72"/>
          <p:cNvGrpSpPr>
            <a:grpSpLocks/>
          </p:cNvGrpSpPr>
          <p:nvPr/>
        </p:nvGrpSpPr>
        <p:grpSpPr bwMode="auto">
          <a:xfrm>
            <a:off x="4325938" y="4468813"/>
            <a:ext cx="201612" cy="119062"/>
            <a:chOff x="1967" y="2815"/>
            <a:chExt cx="127" cy="75"/>
          </a:xfrm>
        </p:grpSpPr>
        <p:sp>
          <p:nvSpPr>
            <p:cNvPr id="34430" name="Freeform 70"/>
            <p:cNvSpPr>
              <a:spLocks/>
            </p:cNvSpPr>
            <p:nvPr/>
          </p:nvSpPr>
          <p:spPr bwMode="auto">
            <a:xfrm>
              <a:off x="1967" y="2815"/>
              <a:ext cx="127" cy="75"/>
            </a:xfrm>
            <a:custGeom>
              <a:avLst/>
              <a:gdLst>
                <a:gd name="T0" fmla="*/ 27 w 127"/>
                <a:gd name="T1" fmla="*/ 69 h 75"/>
                <a:gd name="T2" fmla="*/ 22 w 127"/>
                <a:gd name="T3" fmla="*/ 62 h 75"/>
                <a:gd name="T4" fmla="*/ 20 w 127"/>
                <a:gd name="T5" fmla="*/ 53 h 75"/>
                <a:gd name="T6" fmla="*/ 5 w 127"/>
                <a:gd name="T7" fmla="*/ 61 h 75"/>
                <a:gd name="T8" fmla="*/ 0 w 127"/>
                <a:gd name="T9" fmla="*/ 62 h 75"/>
                <a:gd name="T10" fmla="*/ 2 w 127"/>
                <a:gd name="T11" fmla="*/ 44 h 75"/>
                <a:gd name="T12" fmla="*/ 6 w 127"/>
                <a:gd name="T13" fmla="*/ 39 h 75"/>
                <a:gd name="T14" fmla="*/ 11 w 127"/>
                <a:gd name="T15" fmla="*/ 35 h 75"/>
                <a:gd name="T16" fmla="*/ 15 w 127"/>
                <a:gd name="T17" fmla="*/ 26 h 75"/>
                <a:gd name="T18" fmla="*/ 25 w 127"/>
                <a:gd name="T19" fmla="*/ 10 h 75"/>
                <a:gd name="T20" fmla="*/ 37 w 127"/>
                <a:gd name="T21" fmla="*/ 7 h 75"/>
                <a:gd name="T22" fmla="*/ 44 w 127"/>
                <a:gd name="T23" fmla="*/ 2 h 75"/>
                <a:gd name="T24" fmla="*/ 66 w 127"/>
                <a:gd name="T25" fmla="*/ 3 h 75"/>
                <a:gd name="T26" fmla="*/ 90 w 127"/>
                <a:gd name="T27" fmla="*/ 3 h 75"/>
                <a:gd name="T28" fmla="*/ 104 w 127"/>
                <a:gd name="T29" fmla="*/ 12 h 75"/>
                <a:gd name="T30" fmla="*/ 101 w 127"/>
                <a:gd name="T31" fmla="*/ 22 h 75"/>
                <a:gd name="T32" fmla="*/ 108 w 127"/>
                <a:gd name="T33" fmla="*/ 30 h 75"/>
                <a:gd name="T34" fmla="*/ 119 w 127"/>
                <a:gd name="T35" fmla="*/ 33 h 75"/>
                <a:gd name="T36" fmla="*/ 127 w 127"/>
                <a:gd name="T37" fmla="*/ 34 h 75"/>
                <a:gd name="T38" fmla="*/ 126 w 127"/>
                <a:gd name="T39" fmla="*/ 43 h 75"/>
                <a:gd name="T40" fmla="*/ 118 w 127"/>
                <a:gd name="T41" fmla="*/ 45 h 75"/>
                <a:gd name="T42" fmla="*/ 117 w 127"/>
                <a:gd name="T43" fmla="*/ 52 h 75"/>
                <a:gd name="T44" fmla="*/ 118 w 127"/>
                <a:gd name="T45" fmla="*/ 57 h 75"/>
                <a:gd name="T46" fmla="*/ 101 w 127"/>
                <a:gd name="T47" fmla="*/ 55 h 75"/>
                <a:gd name="T48" fmla="*/ 94 w 127"/>
                <a:gd name="T49" fmla="*/ 50 h 75"/>
                <a:gd name="T50" fmla="*/ 87 w 127"/>
                <a:gd name="T51" fmla="*/ 66 h 75"/>
                <a:gd name="T52" fmla="*/ 85 w 127"/>
                <a:gd name="T53" fmla="*/ 73 h 75"/>
                <a:gd name="T54" fmla="*/ 78 w 127"/>
                <a:gd name="T55" fmla="*/ 67 h 75"/>
                <a:gd name="T56" fmla="*/ 69 w 127"/>
                <a:gd name="T57" fmla="*/ 52 h 75"/>
                <a:gd name="T58" fmla="*/ 60 w 127"/>
                <a:gd name="T59" fmla="*/ 60 h 75"/>
                <a:gd name="T60" fmla="*/ 58 w 127"/>
                <a:gd name="T61" fmla="*/ 67 h 75"/>
                <a:gd name="T62" fmla="*/ 46 w 127"/>
                <a:gd name="T63" fmla="*/ 71 h 75"/>
                <a:gd name="T64" fmla="*/ 28 w 127"/>
                <a:gd name="T65" fmla="*/ 75 h 7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7"/>
                <a:gd name="T100" fmla="*/ 0 h 75"/>
                <a:gd name="T101" fmla="*/ 127 w 127"/>
                <a:gd name="T102" fmla="*/ 75 h 7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7" h="75">
                  <a:moveTo>
                    <a:pt x="28" y="75"/>
                  </a:moveTo>
                  <a:lnTo>
                    <a:pt x="27" y="69"/>
                  </a:lnTo>
                  <a:lnTo>
                    <a:pt x="23" y="68"/>
                  </a:lnTo>
                  <a:lnTo>
                    <a:pt x="22" y="62"/>
                  </a:lnTo>
                  <a:lnTo>
                    <a:pt x="22" y="54"/>
                  </a:lnTo>
                  <a:lnTo>
                    <a:pt x="20" y="53"/>
                  </a:lnTo>
                  <a:lnTo>
                    <a:pt x="11" y="53"/>
                  </a:lnTo>
                  <a:lnTo>
                    <a:pt x="5" y="61"/>
                  </a:lnTo>
                  <a:lnTo>
                    <a:pt x="2" y="63"/>
                  </a:lnTo>
                  <a:lnTo>
                    <a:pt x="0" y="62"/>
                  </a:lnTo>
                  <a:lnTo>
                    <a:pt x="0" y="51"/>
                  </a:lnTo>
                  <a:lnTo>
                    <a:pt x="2" y="44"/>
                  </a:lnTo>
                  <a:lnTo>
                    <a:pt x="4" y="42"/>
                  </a:lnTo>
                  <a:lnTo>
                    <a:pt x="6" y="39"/>
                  </a:lnTo>
                  <a:lnTo>
                    <a:pt x="10" y="37"/>
                  </a:lnTo>
                  <a:lnTo>
                    <a:pt x="11" y="35"/>
                  </a:lnTo>
                  <a:lnTo>
                    <a:pt x="12" y="30"/>
                  </a:lnTo>
                  <a:lnTo>
                    <a:pt x="15" y="26"/>
                  </a:lnTo>
                  <a:lnTo>
                    <a:pt x="27" y="13"/>
                  </a:lnTo>
                  <a:lnTo>
                    <a:pt x="25" y="10"/>
                  </a:lnTo>
                  <a:lnTo>
                    <a:pt x="28" y="6"/>
                  </a:lnTo>
                  <a:lnTo>
                    <a:pt x="37" y="7"/>
                  </a:lnTo>
                  <a:lnTo>
                    <a:pt x="40" y="5"/>
                  </a:lnTo>
                  <a:lnTo>
                    <a:pt x="44" y="2"/>
                  </a:lnTo>
                  <a:lnTo>
                    <a:pt x="48" y="5"/>
                  </a:lnTo>
                  <a:lnTo>
                    <a:pt x="66" y="3"/>
                  </a:lnTo>
                  <a:lnTo>
                    <a:pt x="80" y="0"/>
                  </a:lnTo>
                  <a:lnTo>
                    <a:pt x="90" y="3"/>
                  </a:lnTo>
                  <a:lnTo>
                    <a:pt x="100" y="7"/>
                  </a:lnTo>
                  <a:lnTo>
                    <a:pt x="104" y="12"/>
                  </a:lnTo>
                  <a:lnTo>
                    <a:pt x="102" y="17"/>
                  </a:lnTo>
                  <a:lnTo>
                    <a:pt x="101" y="22"/>
                  </a:lnTo>
                  <a:lnTo>
                    <a:pt x="105" y="28"/>
                  </a:lnTo>
                  <a:lnTo>
                    <a:pt x="108" y="30"/>
                  </a:lnTo>
                  <a:lnTo>
                    <a:pt x="114" y="33"/>
                  </a:lnTo>
                  <a:lnTo>
                    <a:pt x="119" y="33"/>
                  </a:lnTo>
                  <a:lnTo>
                    <a:pt x="123" y="31"/>
                  </a:lnTo>
                  <a:lnTo>
                    <a:pt x="127" y="34"/>
                  </a:lnTo>
                  <a:lnTo>
                    <a:pt x="125" y="40"/>
                  </a:lnTo>
                  <a:lnTo>
                    <a:pt x="126" y="43"/>
                  </a:lnTo>
                  <a:lnTo>
                    <a:pt x="124" y="44"/>
                  </a:lnTo>
                  <a:lnTo>
                    <a:pt x="118" y="45"/>
                  </a:lnTo>
                  <a:lnTo>
                    <a:pt x="117" y="48"/>
                  </a:lnTo>
                  <a:lnTo>
                    <a:pt x="117" y="52"/>
                  </a:lnTo>
                  <a:lnTo>
                    <a:pt x="119" y="55"/>
                  </a:lnTo>
                  <a:lnTo>
                    <a:pt x="118" y="57"/>
                  </a:lnTo>
                  <a:lnTo>
                    <a:pt x="107" y="55"/>
                  </a:lnTo>
                  <a:lnTo>
                    <a:pt x="101" y="55"/>
                  </a:lnTo>
                  <a:lnTo>
                    <a:pt x="98" y="52"/>
                  </a:lnTo>
                  <a:lnTo>
                    <a:pt x="94" y="50"/>
                  </a:lnTo>
                  <a:lnTo>
                    <a:pt x="93" y="56"/>
                  </a:lnTo>
                  <a:lnTo>
                    <a:pt x="87" y="66"/>
                  </a:lnTo>
                  <a:lnTo>
                    <a:pt x="86" y="71"/>
                  </a:lnTo>
                  <a:lnTo>
                    <a:pt x="85" y="73"/>
                  </a:lnTo>
                  <a:lnTo>
                    <a:pt x="82" y="71"/>
                  </a:lnTo>
                  <a:lnTo>
                    <a:pt x="78" y="67"/>
                  </a:lnTo>
                  <a:lnTo>
                    <a:pt x="72" y="62"/>
                  </a:lnTo>
                  <a:lnTo>
                    <a:pt x="69" y="52"/>
                  </a:lnTo>
                  <a:lnTo>
                    <a:pt x="63" y="55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8" y="67"/>
                  </a:lnTo>
                  <a:lnTo>
                    <a:pt x="52" y="72"/>
                  </a:lnTo>
                  <a:lnTo>
                    <a:pt x="46" y="71"/>
                  </a:lnTo>
                  <a:lnTo>
                    <a:pt x="33" y="74"/>
                  </a:lnTo>
                  <a:lnTo>
                    <a:pt x="28" y="75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31" name="Freeform 71"/>
            <p:cNvSpPr>
              <a:spLocks/>
            </p:cNvSpPr>
            <p:nvPr/>
          </p:nvSpPr>
          <p:spPr bwMode="auto">
            <a:xfrm>
              <a:off x="1967" y="2815"/>
              <a:ext cx="127" cy="75"/>
            </a:xfrm>
            <a:custGeom>
              <a:avLst/>
              <a:gdLst>
                <a:gd name="T0" fmla="*/ 27 w 127"/>
                <a:gd name="T1" fmla="*/ 69 h 75"/>
                <a:gd name="T2" fmla="*/ 22 w 127"/>
                <a:gd name="T3" fmla="*/ 62 h 75"/>
                <a:gd name="T4" fmla="*/ 20 w 127"/>
                <a:gd name="T5" fmla="*/ 53 h 75"/>
                <a:gd name="T6" fmla="*/ 5 w 127"/>
                <a:gd name="T7" fmla="*/ 61 h 75"/>
                <a:gd name="T8" fmla="*/ 0 w 127"/>
                <a:gd name="T9" fmla="*/ 62 h 75"/>
                <a:gd name="T10" fmla="*/ 2 w 127"/>
                <a:gd name="T11" fmla="*/ 44 h 75"/>
                <a:gd name="T12" fmla="*/ 6 w 127"/>
                <a:gd name="T13" fmla="*/ 39 h 75"/>
                <a:gd name="T14" fmla="*/ 11 w 127"/>
                <a:gd name="T15" fmla="*/ 35 h 75"/>
                <a:gd name="T16" fmla="*/ 15 w 127"/>
                <a:gd name="T17" fmla="*/ 26 h 75"/>
                <a:gd name="T18" fmla="*/ 25 w 127"/>
                <a:gd name="T19" fmla="*/ 10 h 75"/>
                <a:gd name="T20" fmla="*/ 37 w 127"/>
                <a:gd name="T21" fmla="*/ 7 h 75"/>
                <a:gd name="T22" fmla="*/ 44 w 127"/>
                <a:gd name="T23" fmla="*/ 2 h 75"/>
                <a:gd name="T24" fmla="*/ 66 w 127"/>
                <a:gd name="T25" fmla="*/ 3 h 75"/>
                <a:gd name="T26" fmla="*/ 90 w 127"/>
                <a:gd name="T27" fmla="*/ 3 h 75"/>
                <a:gd name="T28" fmla="*/ 104 w 127"/>
                <a:gd name="T29" fmla="*/ 12 h 75"/>
                <a:gd name="T30" fmla="*/ 101 w 127"/>
                <a:gd name="T31" fmla="*/ 22 h 75"/>
                <a:gd name="T32" fmla="*/ 108 w 127"/>
                <a:gd name="T33" fmla="*/ 30 h 75"/>
                <a:gd name="T34" fmla="*/ 119 w 127"/>
                <a:gd name="T35" fmla="*/ 33 h 75"/>
                <a:gd name="T36" fmla="*/ 127 w 127"/>
                <a:gd name="T37" fmla="*/ 34 h 75"/>
                <a:gd name="T38" fmla="*/ 126 w 127"/>
                <a:gd name="T39" fmla="*/ 43 h 75"/>
                <a:gd name="T40" fmla="*/ 118 w 127"/>
                <a:gd name="T41" fmla="*/ 45 h 75"/>
                <a:gd name="T42" fmla="*/ 117 w 127"/>
                <a:gd name="T43" fmla="*/ 52 h 75"/>
                <a:gd name="T44" fmla="*/ 118 w 127"/>
                <a:gd name="T45" fmla="*/ 57 h 75"/>
                <a:gd name="T46" fmla="*/ 101 w 127"/>
                <a:gd name="T47" fmla="*/ 55 h 75"/>
                <a:gd name="T48" fmla="*/ 94 w 127"/>
                <a:gd name="T49" fmla="*/ 50 h 75"/>
                <a:gd name="T50" fmla="*/ 87 w 127"/>
                <a:gd name="T51" fmla="*/ 66 h 75"/>
                <a:gd name="T52" fmla="*/ 85 w 127"/>
                <a:gd name="T53" fmla="*/ 73 h 75"/>
                <a:gd name="T54" fmla="*/ 78 w 127"/>
                <a:gd name="T55" fmla="*/ 67 h 75"/>
                <a:gd name="T56" fmla="*/ 69 w 127"/>
                <a:gd name="T57" fmla="*/ 52 h 75"/>
                <a:gd name="T58" fmla="*/ 60 w 127"/>
                <a:gd name="T59" fmla="*/ 60 h 75"/>
                <a:gd name="T60" fmla="*/ 58 w 127"/>
                <a:gd name="T61" fmla="*/ 67 h 75"/>
                <a:gd name="T62" fmla="*/ 46 w 127"/>
                <a:gd name="T63" fmla="*/ 71 h 75"/>
                <a:gd name="T64" fmla="*/ 28 w 127"/>
                <a:gd name="T65" fmla="*/ 75 h 7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27"/>
                <a:gd name="T100" fmla="*/ 0 h 75"/>
                <a:gd name="T101" fmla="*/ 127 w 127"/>
                <a:gd name="T102" fmla="*/ 75 h 7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27" h="75">
                  <a:moveTo>
                    <a:pt x="28" y="75"/>
                  </a:moveTo>
                  <a:lnTo>
                    <a:pt x="27" y="69"/>
                  </a:lnTo>
                  <a:lnTo>
                    <a:pt x="23" y="68"/>
                  </a:lnTo>
                  <a:lnTo>
                    <a:pt x="22" y="62"/>
                  </a:lnTo>
                  <a:lnTo>
                    <a:pt x="22" y="54"/>
                  </a:lnTo>
                  <a:lnTo>
                    <a:pt x="20" y="53"/>
                  </a:lnTo>
                  <a:lnTo>
                    <a:pt x="11" y="53"/>
                  </a:lnTo>
                  <a:lnTo>
                    <a:pt x="5" y="61"/>
                  </a:lnTo>
                  <a:lnTo>
                    <a:pt x="2" y="63"/>
                  </a:lnTo>
                  <a:lnTo>
                    <a:pt x="0" y="62"/>
                  </a:lnTo>
                  <a:lnTo>
                    <a:pt x="0" y="51"/>
                  </a:lnTo>
                  <a:lnTo>
                    <a:pt x="2" y="44"/>
                  </a:lnTo>
                  <a:lnTo>
                    <a:pt x="4" y="42"/>
                  </a:lnTo>
                  <a:lnTo>
                    <a:pt x="6" y="39"/>
                  </a:lnTo>
                  <a:lnTo>
                    <a:pt x="10" y="37"/>
                  </a:lnTo>
                  <a:lnTo>
                    <a:pt x="11" y="35"/>
                  </a:lnTo>
                  <a:lnTo>
                    <a:pt x="12" y="30"/>
                  </a:lnTo>
                  <a:lnTo>
                    <a:pt x="15" y="26"/>
                  </a:lnTo>
                  <a:lnTo>
                    <a:pt x="27" y="13"/>
                  </a:lnTo>
                  <a:lnTo>
                    <a:pt x="25" y="10"/>
                  </a:lnTo>
                  <a:lnTo>
                    <a:pt x="28" y="6"/>
                  </a:lnTo>
                  <a:lnTo>
                    <a:pt x="37" y="7"/>
                  </a:lnTo>
                  <a:lnTo>
                    <a:pt x="40" y="5"/>
                  </a:lnTo>
                  <a:lnTo>
                    <a:pt x="44" y="2"/>
                  </a:lnTo>
                  <a:lnTo>
                    <a:pt x="48" y="5"/>
                  </a:lnTo>
                  <a:lnTo>
                    <a:pt x="66" y="3"/>
                  </a:lnTo>
                  <a:lnTo>
                    <a:pt x="80" y="0"/>
                  </a:lnTo>
                  <a:lnTo>
                    <a:pt x="90" y="3"/>
                  </a:lnTo>
                  <a:lnTo>
                    <a:pt x="100" y="7"/>
                  </a:lnTo>
                  <a:lnTo>
                    <a:pt x="104" y="12"/>
                  </a:lnTo>
                  <a:lnTo>
                    <a:pt x="102" y="17"/>
                  </a:lnTo>
                  <a:lnTo>
                    <a:pt x="101" y="22"/>
                  </a:lnTo>
                  <a:lnTo>
                    <a:pt x="105" y="28"/>
                  </a:lnTo>
                  <a:lnTo>
                    <a:pt x="108" y="30"/>
                  </a:lnTo>
                  <a:lnTo>
                    <a:pt x="114" y="33"/>
                  </a:lnTo>
                  <a:lnTo>
                    <a:pt x="119" y="33"/>
                  </a:lnTo>
                  <a:lnTo>
                    <a:pt x="123" y="31"/>
                  </a:lnTo>
                  <a:lnTo>
                    <a:pt x="127" y="34"/>
                  </a:lnTo>
                  <a:lnTo>
                    <a:pt x="125" y="40"/>
                  </a:lnTo>
                  <a:lnTo>
                    <a:pt x="126" y="43"/>
                  </a:lnTo>
                  <a:lnTo>
                    <a:pt x="124" y="44"/>
                  </a:lnTo>
                  <a:lnTo>
                    <a:pt x="118" y="45"/>
                  </a:lnTo>
                  <a:lnTo>
                    <a:pt x="117" y="48"/>
                  </a:lnTo>
                  <a:lnTo>
                    <a:pt x="117" y="52"/>
                  </a:lnTo>
                  <a:lnTo>
                    <a:pt x="119" y="55"/>
                  </a:lnTo>
                  <a:lnTo>
                    <a:pt x="118" y="57"/>
                  </a:lnTo>
                  <a:lnTo>
                    <a:pt x="107" y="55"/>
                  </a:lnTo>
                  <a:lnTo>
                    <a:pt x="101" y="55"/>
                  </a:lnTo>
                  <a:lnTo>
                    <a:pt x="98" y="52"/>
                  </a:lnTo>
                  <a:lnTo>
                    <a:pt x="94" y="50"/>
                  </a:lnTo>
                  <a:lnTo>
                    <a:pt x="93" y="56"/>
                  </a:lnTo>
                  <a:lnTo>
                    <a:pt x="87" y="66"/>
                  </a:lnTo>
                  <a:lnTo>
                    <a:pt x="86" y="71"/>
                  </a:lnTo>
                  <a:lnTo>
                    <a:pt x="85" y="73"/>
                  </a:lnTo>
                  <a:lnTo>
                    <a:pt x="82" y="71"/>
                  </a:lnTo>
                  <a:lnTo>
                    <a:pt x="78" y="67"/>
                  </a:lnTo>
                  <a:lnTo>
                    <a:pt x="72" y="62"/>
                  </a:lnTo>
                  <a:lnTo>
                    <a:pt x="69" y="52"/>
                  </a:lnTo>
                  <a:lnTo>
                    <a:pt x="63" y="55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8" y="67"/>
                  </a:lnTo>
                  <a:lnTo>
                    <a:pt x="52" y="72"/>
                  </a:lnTo>
                  <a:lnTo>
                    <a:pt x="46" y="71"/>
                  </a:lnTo>
                  <a:lnTo>
                    <a:pt x="33" y="74"/>
                  </a:lnTo>
                  <a:lnTo>
                    <a:pt x="28" y="75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18" name="Group 75"/>
          <p:cNvGrpSpPr>
            <a:grpSpLocks/>
          </p:cNvGrpSpPr>
          <p:nvPr/>
        </p:nvGrpSpPr>
        <p:grpSpPr bwMode="auto">
          <a:xfrm>
            <a:off x="4179888" y="4203700"/>
            <a:ext cx="157162" cy="133350"/>
            <a:chOff x="1875" y="2648"/>
            <a:chExt cx="99" cy="84"/>
          </a:xfrm>
        </p:grpSpPr>
        <p:sp>
          <p:nvSpPr>
            <p:cNvPr id="34428" name="Freeform 73"/>
            <p:cNvSpPr>
              <a:spLocks/>
            </p:cNvSpPr>
            <p:nvPr/>
          </p:nvSpPr>
          <p:spPr bwMode="auto">
            <a:xfrm>
              <a:off x="1875" y="2648"/>
              <a:ext cx="99" cy="84"/>
            </a:xfrm>
            <a:custGeom>
              <a:avLst/>
              <a:gdLst>
                <a:gd name="T0" fmla="*/ 84 w 99"/>
                <a:gd name="T1" fmla="*/ 83 h 84"/>
                <a:gd name="T2" fmla="*/ 80 w 99"/>
                <a:gd name="T3" fmla="*/ 84 h 84"/>
                <a:gd name="T4" fmla="*/ 74 w 99"/>
                <a:gd name="T5" fmla="*/ 83 h 84"/>
                <a:gd name="T6" fmla="*/ 70 w 99"/>
                <a:gd name="T7" fmla="*/ 79 h 84"/>
                <a:gd name="T8" fmla="*/ 64 w 99"/>
                <a:gd name="T9" fmla="*/ 76 h 84"/>
                <a:gd name="T10" fmla="*/ 65 w 99"/>
                <a:gd name="T11" fmla="*/ 73 h 84"/>
                <a:gd name="T12" fmla="*/ 63 w 99"/>
                <a:gd name="T13" fmla="*/ 72 h 84"/>
                <a:gd name="T14" fmla="*/ 63 w 99"/>
                <a:gd name="T15" fmla="*/ 60 h 84"/>
                <a:gd name="T16" fmla="*/ 59 w 99"/>
                <a:gd name="T17" fmla="*/ 60 h 84"/>
                <a:gd name="T18" fmla="*/ 56 w 99"/>
                <a:gd name="T19" fmla="*/ 64 h 84"/>
                <a:gd name="T20" fmla="*/ 54 w 99"/>
                <a:gd name="T21" fmla="*/ 68 h 84"/>
                <a:gd name="T22" fmla="*/ 48 w 99"/>
                <a:gd name="T23" fmla="*/ 68 h 84"/>
                <a:gd name="T24" fmla="*/ 43 w 99"/>
                <a:gd name="T25" fmla="*/ 66 h 84"/>
                <a:gd name="T26" fmla="*/ 42 w 99"/>
                <a:gd name="T27" fmla="*/ 57 h 84"/>
                <a:gd name="T28" fmla="*/ 41 w 99"/>
                <a:gd name="T29" fmla="*/ 53 h 84"/>
                <a:gd name="T30" fmla="*/ 38 w 99"/>
                <a:gd name="T31" fmla="*/ 50 h 84"/>
                <a:gd name="T32" fmla="*/ 31 w 99"/>
                <a:gd name="T33" fmla="*/ 48 h 84"/>
                <a:gd name="T34" fmla="*/ 24 w 99"/>
                <a:gd name="T35" fmla="*/ 44 h 84"/>
                <a:gd name="T36" fmla="*/ 18 w 99"/>
                <a:gd name="T37" fmla="*/ 42 h 84"/>
                <a:gd name="T38" fmla="*/ 14 w 99"/>
                <a:gd name="T39" fmla="*/ 32 h 84"/>
                <a:gd name="T40" fmla="*/ 8 w 99"/>
                <a:gd name="T41" fmla="*/ 33 h 84"/>
                <a:gd name="T42" fmla="*/ 2 w 99"/>
                <a:gd name="T43" fmla="*/ 30 h 84"/>
                <a:gd name="T44" fmla="*/ 0 w 99"/>
                <a:gd name="T45" fmla="*/ 25 h 84"/>
                <a:gd name="T46" fmla="*/ 0 w 99"/>
                <a:gd name="T47" fmla="*/ 17 h 84"/>
                <a:gd name="T48" fmla="*/ 0 w 99"/>
                <a:gd name="T49" fmla="*/ 15 h 84"/>
                <a:gd name="T50" fmla="*/ 13 w 99"/>
                <a:gd name="T51" fmla="*/ 8 h 84"/>
                <a:gd name="T52" fmla="*/ 18 w 99"/>
                <a:gd name="T53" fmla="*/ 6 h 84"/>
                <a:gd name="T54" fmla="*/ 22 w 99"/>
                <a:gd name="T55" fmla="*/ 5 h 84"/>
                <a:gd name="T56" fmla="*/ 22 w 99"/>
                <a:gd name="T57" fmla="*/ 6 h 84"/>
                <a:gd name="T58" fmla="*/ 31 w 99"/>
                <a:gd name="T59" fmla="*/ 11 h 84"/>
                <a:gd name="T60" fmla="*/ 41 w 99"/>
                <a:gd name="T61" fmla="*/ 7 h 84"/>
                <a:gd name="T62" fmla="*/ 49 w 99"/>
                <a:gd name="T63" fmla="*/ 2 h 84"/>
                <a:gd name="T64" fmla="*/ 55 w 99"/>
                <a:gd name="T65" fmla="*/ 1 h 84"/>
                <a:gd name="T66" fmla="*/ 63 w 99"/>
                <a:gd name="T67" fmla="*/ 0 h 84"/>
                <a:gd name="T68" fmla="*/ 66 w 99"/>
                <a:gd name="T69" fmla="*/ 3 h 84"/>
                <a:gd name="T70" fmla="*/ 67 w 99"/>
                <a:gd name="T71" fmla="*/ 3 h 84"/>
                <a:gd name="T72" fmla="*/ 69 w 99"/>
                <a:gd name="T73" fmla="*/ 7 h 84"/>
                <a:gd name="T74" fmla="*/ 73 w 99"/>
                <a:gd name="T75" fmla="*/ 9 h 84"/>
                <a:gd name="T76" fmla="*/ 78 w 99"/>
                <a:gd name="T77" fmla="*/ 10 h 84"/>
                <a:gd name="T78" fmla="*/ 82 w 99"/>
                <a:gd name="T79" fmla="*/ 12 h 84"/>
                <a:gd name="T80" fmla="*/ 82 w 99"/>
                <a:gd name="T81" fmla="*/ 18 h 84"/>
                <a:gd name="T82" fmla="*/ 82 w 99"/>
                <a:gd name="T83" fmla="*/ 23 h 84"/>
                <a:gd name="T84" fmla="*/ 83 w 99"/>
                <a:gd name="T85" fmla="*/ 29 h 84"/>
                <a:gd name="T86" fmla="*/ 87 w 99"/>
                <a:gd name="T87" fmla="*/ 32 h 84"/>
                <a:gd name="T88" fmla="*/ 93 w 99"/>
                <a:gd name="T89" fmla="*/ 32 h 84"/>
                <a:gd name="T90" fmla="*/ 95 w 99"/>
                <a:gd name="T91" fmla="*/ 36 h 84"/>
                <a:gd name="T92" fmla="*/ 96 w 99"/>
                <a:gd name="T93" fmla="*/ 41 h 84"/>
                <a:gd name="T94" fmla="*/ 99 w 99"/>
                <a:gd name="T95" fmla="*/ 46 h 84"/>
                <a:gd name="T96" fmla="*/ 99 w 99"/>
                <a:gd name="T97" fmla="*/ 50 h 84"/>
                <a:gd name="T98" fmla="*/ 94 w 99"/>
                <a:gd name="T99" fmla="*/ 58 h 84"/>
                <a:gd name="T100" fmla="*/ 90 w 99"/>
                <a:gd name="T101" fmla="*/ 58 h 84"/>
                <a:gd name="T102" fmla="*/ 85 w 99"/>
                <a:gd name="T103" fmla="*/ 62 h 84"/>
                <a:gd name="T104" fmla="*/ 82 w 99"/>
                <a:gd name="T105" fmla="*/ 69 h 84"/>
                <a:gd name="T106" fmla="*/ 84 w 99"/>
                <a:gd name="T107" fmla="*/ 75 h 84"/>
                <a:gd name="T108" fmla="*/ 84 w 99"/>
                <a:gd name="T109" fmla="*/ 83 h 8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9"/>
                <a:gd name="T166" fmla="*/ 0 h 84"/>
                <a:gd name="T167" fmla="*/ 99 w 99"/>
                <a:gd name="T168" fmla="*/ 84 h 8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9" h="84">
                  <a:moveTo>
                    <a:pt x="84" y="83"/>
                  </a:moveTo>
                  <a:lnTo>
                    <a:pt x="80" y="84"/>
                  </a:lnTo>
                  <a:lnTo>
                    <a:pt x="74" y="83"/>
                  </a:lnTo>
                  <a:lnTo>
                    <a:pt x="70" y="79"/>
                  </a:lnTo>
                  <a:lnTo>
                    <a:pt x="64" y="76"/>
                  </a:lnTo>
                  <a:lnTo>
                    <a:pt x="65" y="73"/>
                  </a:lnTo>
                  <a:lnTo>
                    <a:pt x="63" y="72"/>
                  </a:lnTo>
                  <a:lnTo>
                    <a:pt x="63" y="60"/>
                  </a:lnTo>
                  <a:lnTo>
                    <a:pt x="59" y="60"/>
                  </a:lnTo>
                  <a:lnTo>
                    <a:pt x="56" y="64"/>
                  </a:lnTo>
                  <a:lnTo>
                    <a:pt x="54" y="68"/>
                  </a:lnTo>
                  <a:lnTo>
                    <a:pt x="48" y="68"/>
                  </a:lnTo>
                  <a:lnTo>
                    <a:pt x="43" y="66"/>
                  </a:lnTo>
                  <a:lnTo>
                    <a:pt x="42" y="57"/>
                  </a:lnTo>
                  <a:lnTo>
                    <a:pt x="41" y="53"/>
                  </a:lnTo>
                  <a:lnTo>
                    <a:pt x="38" y="50"/>
                  </a:lnTo>
                  <a:lnTo>
                    <a:pt x="31" y="48"/>
                  </a:lnTo>
                  <a:lnTo>
                    <a:pt x="24" y="44"/>
                  </a:lnTo>
                  <a:lnTo>
                    <a:pt x="18" y="42"/>
                  </a:lnTo>
                  <a:lnTo>
                    <a:pt x="14" y="32"/>
                  </a:lnTo>
                  <a:lnTo>
                    <a:pt x="8" y="33"/>
                  </a:lnTo>
                  <a:lnTo>
                    <a:pt x="2" y="30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13" y="8"/>
                  </a:lnTo>
                  <a:lnTo>
                    <a:pt x="18" y="6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31" y="11"/>
                  </a:lnTo>
                  <a:lnTo>
                    <a:pt x="41" y="7"/>
                  </a:lnTo>
                  <a:lnTo>
                    <a:pt x="49" y="2"/>
                  </a:lnTo>
                  <a:lnTo>
                    <a:pt x="55" y="1"/>
                  </a:lnTo>
                  <a:lnTo>
                    <a:pt x="63" y="0"/>
                  </a:lnTo>
                  <a:lnTo>
                    <a:pt x="66" y="3"/>
                  </a:lnTo>
                  <a:lnTo>
                    <a:pt x="67" y="3"/>
                  </a:lnTo>
                  <a:lnTo>
                    <a:pt x="69" y="7"/>
                  </a:lnTo>
                  <a:lnTo>
                    <a:pt x="73" y="9"/>
                  </a:lnTo>
                  <a:lnTo>
                    <a:pt x="78" y="10"/>
                  </a:lnTo>
                  <a:lnTo>
                    <a:pt x="82" y="12"/>
                  </a:lnTo>
                  <a:lnTo>
                    <a:pt x="82" y="18"/>
                  </a:lnTo>
                  <a:lnTo>
                    <a:pt x="82" y="23"/>
                  </a:lnTo>
                  <a:lnTo>
                    <a:pt x="83" y="29"/>
                  </a:lnTo>
                  <a:lnTo>
                    <a:pt x="87" y="32"/>
                  </a:lnTo>
                  <a:lnTo>
                    <a:pt x="93" y="32"/>
                  </a:lnTo>
                  <a:lnTo>
                    <a:pt x="95" y="36"/>
                  </a:lnTo>
                  <a:lnTo>
                    <a:pt x="96" y="41"/>
                  </a:lnTo>
                  <a:lnTo>
                    <a:pt x="99" y="46"/>
                  </a:lnTo>
                  <a:lnTo>
                    <a:pt x="99" y="50"/>
                  </a:lnTo>
                  <a:lnTo>
                    <a:pt x="94" y="58"/>
                  </a:lnTo>
                  <a:lnTo>
                    <a:pt x="90" y="58"/>
                  </a:lnTo>
                  <a:lnTo>
                    <a:pt x="85" y="62"/>
                  </a:lnTo>
                  <a:lnTo>
                    <a:pt x="82" y="69"/>
                  </a:lnTo>
                  <a:lnTo>
                    <a:pt x="84" y="75"/>
                  </a:lnTo>
                  <a:lnTo>
                    <a:pt x="84" y="83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29" name="Freeform 74"/>
            <p:cNvSpPr>
              <a:spLocks/>
            </p:cNvSpPr>
            <p:nvPr/>
          </p:nvSpPr>
          <p:spPr bwMode="auto">
            <a:xfrm>
              <a:off x="1875" y="2648"/>
              <a:ext cx="99" cy="84"/>
            </a:xfrm>
            <a:custGeom>
              <a:avLst/>
              <a:gdLst>
                <a:gd name="T0" fmla="*/ 84 w 99"/>
                <a:gd name="T1" fmla="*/ 83 h 84"/>
                <a:gd name="T2" fmla="*/ 80 w 99"/>
                <a:gd name="T3" fmla="*/ 84 h 84"/>
                <a:gd name="T4" fmla="*/ 74 w 99"/>
                <a:gd name="T5" fmla="*/ 83 h 84"/>
                <a:gd name="T6" fmla="*/ 70 w 99"/>
                <a:gd name="T7" fmla="*/ 79 h 84"/>
                <a:gd name="T8" fmla="*/ 64 w 99"/>
                <a:gd name="T9" fmla="*/ 76 h 84"/>
                <a:gd name="T10" fmla="*/ 65 w 99"/>
                <a:gd name="T11" fmla="*/ 73 h 84"/>
                <a:gd name="T12" fmla="*/ 63 w 99"/>
                <a:gd name="T13" fmla="*/ 72 h 84"/>
                <a:gd name="T14" fmla="*/ 63 w 99"/>
                <a:gd name="T15" fmla="*/ 60 h 84"/>
                <a:gd name="T16" fmla="*/ 59 w 99"/>
                <a:gd name="T17" fmla="*/ 60 h 84"/>
                <a:gd name="T18" fmla="*/ 56 w 99"/>
                <a:gd name="T19" fmla="*/ 64 h 84"/>
                <a:gd name="T20" fmla="*/ 54 w 99"/>
                <a:gd name="T21" fmla="*/ 68 h 84"/>
                <a:gd name="T22" fmla="*/ 48 w 99"/>
                <a:gd name="T23" fmla="*/ 68 h 84"/>
                <a:gd name="T24" fmla="*/ 43 w 99"/>
                <a:gd name="T25" fmla="*/ 66 h 84"/>
                <a:gd name="T26" fmla="*/ 42 w 99"/>
                <a:gd name="T27" fmla="*/ 57 h 84"/>
                <a:gd name="T28" fmla="*/ 41 w 99"/>
                <a:gd name="T29" fmla="*/ 53 h 84"/>
                <a:gd name="T30" fmla="*/ 38 w 99"/>
                <a:gd name="T31" fmla="*/ 50 h 84"/>
                <a:gd name="T32" fmla="*/ 31 w 99"/>
                <a:gd name="T33" fmla="*/ 48 h 84"/>
                <a:gd name="T34" fmla="*/ 24 w 99"/>
                <a:gd name="T35" fmla="*/ 44 h 84"/>
                <a:gd name="T36" fmla="*/ 18 w 99"/>
                <a:gd name="T37" fmla="*/ 42 h 84"/>
                <a:gd name="T38" fmla="*/ 14 w 99"/>
                <a:gd name="T39" fmla="*/ 32 h 84"/>
                <a:gd name="T40" fmla="*/ 8 w 99"/>
                <a:gd name="T41" fmla="*/ 33 h 84"/>
                <a:gd name="T42" fmla="*/ 2 w 99"/>
                <a:gd name="T43" fmla="*/ 30 h 84"/>
                <a:gd name="T44" fmla="*/ 0 w 99"/>
                <a:gd name="T45" fmla="*/ 25 h 84"/>
                <a:gd name="T46" fmla="*/ 0 w 99"/>
                <a:gd name="T47" fmla="*/ 17 h 84"/>
                <a:gd name="T48" fmla="*/ 0 w 99"/>
                <a:gd name="T49" fmla="*/ 15 h 84"/>
                <a:gd name="T50" fmla="*/ 13 w 99"/>
                <a:gd name="T51" fmla="*/ 8 h 84"/>
                <a:gd name="T52" fmla="*/ 18 w 99"/>
                <a:gd name="T53" fmla="*/ 6 h 84"/>
                <a:gd name="T54" fmla="*/ 22 w 99"/>
                <a:gd name="T55" fmla="*/ 5 h 84"/>
                <a:gd name="T56" fmla="*/ 22 w 99"/>
                <a:gd name="T57" fmla="*/ 6 h 84"/>
                <a:gd name="T58" fmla="*/ 31 w 99"/>
                <a:gd name="T59" fmla="*/ 11 h 84"/>
                <a:gd name="T60" fmla="*/ 41 w 99"/>
                <a:gd name="T61" fmla="*/ 7 h 84"/>
                <a:gd name="T62" fmla="*/ 49 w 99"/>
                <a:gd name="T63" fmla="*/ 2 h 84"/>
                <a:gd name="T64" fmla="*/ 55 w 99"/>
                <a:gd name="T65" fmla="*/ 1 h 84"/>
                <a:gd name="T66" fmla="*/ 63 w 99"/>
                <a:gd name="T67" fmla="*/ 0 h 84"/>
                <a:gd name="T68" fmla="*/ 66 w 99"/>
                <a:gd name="T69" fmla="*/ 3 h 84"/>
                <a:gd name="T70" fmla="*/ 67 w 99"/>
                <a:gd name="T71" fmla="*/ 3 h 84"/>
                <a:gd name="T72" fmla="*/ 69 w 99"/>
                <a:gd name="T73" fmla="*/ 7 h 84"/>
                <a:gd name="T74" fmla="*/ 73 w 99"/>
                <a:gd name="T75" fmla="*/ 9 h 84"/>
                <a:gd name="T76" fmla="*/ 78 w 99"/>
                <a:gd name="T77" fmla="*/ 10 h 84"/>
                <a:gd name="T78" fmla="*/ 82 w 99"/>
                <a:gd name="T79" fmla="*/ 12 h 84"/>
                <a:gd name="T80" fmla="*/ 82 w 99"/>
                <a:gd name="T81" fmla="*/ 18 h 84"/>
                <a:gd name="T82" fmla="*/ 82 w 99"/>
                <a:gd name="T83" fmla="*/ 23 h 84"/>
                <a:gd name="T84" fmla="*/ 83 w 99"/>
                <a:gd name="T85" fmla="*/ 29 h 84"/>
                <a:gd name="T86" fmla="*/ 87 w 99"/>
                <a:gd name="T87" fmla="*/ 32 h 84"/>
                <a:gd name="T88" fmla="*/ 93 w 99"/>
                <a:gd name="T89" fmla="*/ 32 h 84"/>
                <a:gd name="T90" fmla="*/ 95 w 99"/>
                <a:gd name="T91" fmla="*/ 36 h 84"/>
                <a:gd name="T92" fmla="*/ 96 w 99"/>
                <a:gd name="T93" fmla="*/ 41 h 84"/>
                <a:gd name="T94" fmla="*/ 99 w 99"/>
                <a:gd name="T95" fmla="*/ 46 h 84"/>
                <a:gd name="T96" fmla="*/ 99 w 99"/>
                <a:gd name="T97" fmla="*/ 50 h 84"/>
                <a:gd name="T98" fmla="*/ 94 w 99"/>
                <a:gd name="T99" fmla="*/ 58 h 84"/>
                <a:gd name="T100" fmla="*/ 90 w 99"/>
                <a:gd name="T101" fmla="*/ 58 h 84"/>
                <a:gd name="T102" fmla="*/ 85 w 99"/>
                <a:gd name="T103" fmla="*/ 62 h 84"/>
                <a:gd name="T104" fmla="*/ 82 w 99"/>
                <a:gd name="T105" fmla="*/ 69 h 84"/>
                <a:gd name="T106" fmla="*/ 84 w 99"/>
                <a:gd name="T107" fmla="*/ 75 h 84"/>
                <a:gd name="T108" fmla="*/ 84 w 99"/>
                <a:gd name="T109" fmla="*/ 83 h 8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99"/>
                <a:gd name="T166" fmla="*/ 0 h 84"/>
                <a:gd name="T167" fmla="*/ 99 w 99"/>
                <a:gd name="T168" fmla="*/ 84 h 8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99" h="84">
                  <a:moveTo>
                    <a:pt x="84" y="83"/>
                  </a:moveTo>
                  <a:lnTo>
                    <a:pt x="80" y="84"/>
                  </a:lnTo>
                  <a:lnTo>
                    <a:pt x="74" y="83"/>
                  </a:lnTo>
                  <a:lnTo>
                    <a:pt x="70" y="79"/>
                  </a:lnTo>
                  <a:lnTo>
                    <a:pt x="64" y="76"/>
                  </a:lnTo>
                  <a:lnTo>
                    <a:pt x="65" y="73"/>
                  </a:lnTo>
                  <a:lnTo>
                    <a:pt x="63" y="72"/>
                  </a:lnTo>
                  <a:lnTo>
                    <a:pt x="63" y="60"/>
                  </a:lnTo>
                  <a:lnTo>
                    <a:pt x="59" y="60"/>
                  </a:lnTo>
                  <a:lnTo>
                    <a:pt x="56" y="64"/>
                  </a:lnTo>
                  <a:lnTo>
                    <a:pt x="54" y="68"/>
                  </a:lnTo>
                  <a:lnTo>
                    <a:pt x="48" y="68"/>
                  </a:lnTo>
                  <a:lnTo>
                    <a:pt x="43" y="66"/>
                  </a:lnTo>
                  <a:lnTo>
                    <a:pt x="42" y="57"/>
                  </a:lnTo>
                  <a:lnTo>
                    <a:pt x="41" y="53"/>
                  </a:lnTo>
                  <a:lnTo>
                    <a:pt x="38" y="50"/>
                  </a:lnTo>
                  <a:lnTo>
                    <a:pt x="31" y="48"/>
                  </a:lnTo>
                  <a:lnTo>
                    <a:pt x="24" y="44"/>
                  </a:lnTo>
                  <a:lnTo>
                    <a:pt x="18" y="42"/>
                  </a:lnTo>
                  <a:lnTo>
                    <a:pt x="14" y="32"/>
                  </a:lnTo>
                  <a:lnTo>
                    <a:pt x="8" y="33"/>
                  </a:lnTo>
                  <a:lnTo>
                    <a:pt x="2" y="30"/>
                  </a:lnTo>
                  <a:lnTo>
                    <a:pt x="0" y="25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13" y="8"/>
                  </a:lnTo>
                  <a:lnTo>
                    <a:pt x="18" y="6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31" y="11"/>
                  </a:lnTo>
                  <a:lnTo>
                    <a:pt x="41" y="7"/>
                  </a:lnTo>
                  <a:lnTo>
                    <a:pt x="49" y="2"/>
                  </a:lnTo>
                  <a:lnTo>
                    <a:pt x="55" y="1"/>
                  </a:lnTo>
                  <a:lnTo>
                    <a:pt x="63" y="0"/>
                  </a:lnTo>
                  <a:lnTo>
                    <a:pt x="66" y="3"/>
                  </a:lnTo>
                  <a:lnTo>
                    <a:pt x="67" y="3"/>
                  </a:lnTo>
                  <a:lnTo>
                    <a:pt x="69" y="7"/>
                  </a:lnTo>
                  <a:lnTo>
                    <a:pt x="73" y="9"/>
                  </a:lnTo>
                  <a:lnTo>
                    <a:pt x="78" y="10"/>
                  </a:lnTo>
                  <a:lnTo>
                    <a:pt x="82" y="12"/>
                  </a:lnTo>
                  <a:lnTo>
                    <a:pt x="82" y="18"/>
                  </a:lnTo>
                  <a:lnTo>
                    <a:pt x="82" y="23"/>
                  </a:lnTo>
                  <a:lnTo>
                    <a:pt x="83" y="29"/>
                  </a:lnTo>
                  <a:lnTo>
                    <a:pt x="87" y="32"/>
                  </a:lnTo>
                  <a:lnTo>
                    <a:pt x="93" y="32"/>
                  </a:lnTo>
                  <a:lnTo>
                    <a:pt x="95" y="36"/>
                  </a:lnTo>
                  <a:lnTo>
                    <a:pt x="96" y="41"/>
                  </a:lnTo>
                  <a:lnTo>
                    <a:pt x="99" y="46"/>
                  </a:lnTo>
                  <a:lnTo>
                    <a:pt x="99" y="50"/>
                  </a:lnTo>
                  <a:lnTo>
                    <a:pt x="94" y="58"/>
                  </a:lnTo>
                  <a:lnTo>
                    <a:pt x="90" y="58"/>
                  </a:lnTo>
                  <a:lnTo>
                    <a:pt x="85" y="62"/>
                  </a:lnTo>
                  <a:lnTo>
                    <a:pt x="82" y="69"/>
                  </a:lnTo>
                  <a:lnTo>
                    <a:pt x="84" y="75"/>
                  </a:lnTo>
                  <a:lnTo>
                    <a:pt x="84" y="83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19" name="Group 78"/>
          <p:cNvGrpSpPr>
            <a:grpSpLocks/>
          </p:cNvGrpSpPr>
          <p:nvPr/>
        </p:nvGrpSpPr>
        <p:grpSpPr bwMode="auto">
          <a:xfrm>
            <a:off x="4117975" y="4795838"/>
            <a:ext cx="15875" cy="11112"/>
            <a:chOff x="1836" y="3021"/>
            <a:chExt cx="10" cy="7"/>
          </a:xfrm>
        </p:grpSpPr>
        <p:sp>
          <p:nvSpPr>
            <p:cNvPr id="34426" name="Freeform 76"/>
            <p:cNvSpPr>
              <a:spLocks/>
            </p:cNvSpPr>
            <p:nvPr/>
          </p:nvSpPr>
          <p:spPr bwMode="auto">
            <a:xfrm>
              <a:off x="1836" y="3021"/>
              <a:ext cx="10" cy="7"/>
            </a:xfrm>
            <a:custGeom>
              <a:avLst/>
              <a:gdLst>
                <a:gd name="T0" fmla="*/ 9 w 10"/>
                <a:gd name="T1" fmla="*/ 4 h 7"/>
                <a:gd name="T2" fmla="*/ 10 w 10"/>
                <a:gd name="T3" fmla="*/ 6 h 7"/>
                <a:gd name="T4" fmla="*/ 8 w 10"/>
                <a:gd name="T5" fmla="*/ 7 h 7"/>
                <a:gd name="T6" fmla="*/ 5 w 10"/>
                <a:gd name="T7" fmla="*/ 7 h 7"/>
                <a:gd name="T8" fmla="*/ 3 w 10"/>
                <a:gd name="T9" fmla="*/ 4 h 7"/>
                <a:gd name="T10" fmla="*/ 0 w 10"/>
                <a:gd name="T11" fmla="*/ 0 h 7"/>
                <a:gd name="T12" fmla="*/ 7 w 10"/>
                <a:gd name="T13" fmla="*/ 0 h 7"/>
                <a:gd name="T14" fmla="*/ 9 w 10"/>
                <a:gd name="T15" fmla="*/ 4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7"/>
                <a:gd name="T26" fmla="*/ 10 w 10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7">
                  <a:moveTo>
                    <a:pt x="9" y="4"/>
                  </a:moveTo>
                  <a:lnTo>
                    <a:pt x="10" y="6"/>
                  </a:lnTo>
                  <a:lnTo>
                    <a:pt x="8" y="7"/>
                  </a:lnTo>
                  <a:lnTo>
                    <a:pt x="5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7" y="0"/>
                  </a:lnTo>
                  <a:lnTo>
                    <a:pt x="9" y="4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27" name="Freeform 77"/>
            <p:cNvSpPr>
              <a:spLocks/>
            </p:cNvSpPr>
            <p:nvPr/>
          </p:nvSpPr>
          <p:spPr bwMode="auto">
            <a:xfrm>
              <a:off x="1836" y="3021"/>
              <a:ext cx="10" cy="7"/>
            </a:xfrm>
            <a:custGeom>
              <a:avLst/>
              <a:gdLst>
                <a:gd name="T0" fmla="*/ 9 w 10"/>
                <a:gd name="T1" fmla="*/ 4 h 7"/>
                <a:gd name="T2" fmla="*/ 10 w 10"/>
                <a:gd name="T3" fmla="*/ 6 h 7"/>
                <a:gd name="T4" fmla="*/ 8 w 10"/>
                <a:gd name="T5" fmla="*/ 7 h 7"/>
                <a:gd name="T6" fmla="*/ 5 w 10"/>
                <a:gd name="T7" fmla="*/ 7 h 7"/>
                <a:gd name="T8" fmla="*/ 3 w 10"/>
                <a:gd name="T9" fmla="*/ 4 h 7"/>
                <a:gd name="T10" fmla="*/ 0 w 10"/>
                <a:gd name="T11" fmla="*/ 0 h 7"/>
                <a:gd name="T12" fmla="*/ 7 w 10"/>
                <a:gd name="T13" fmla="*/ 0 h 7"/>
                <a:gd name="T14" fmla="*/ 9 w 10"/>
                <a:gd name="T15" fmla="*/ 4 h 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7"/>
                <a:gd name="T26" fmla="*/ 10 w 10"/>
                <a:gd name="T27" fmla="*/ 7 h 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7">
                  <a:moveTo>
                    <a:pt x="9" y="4"/>
                  </a:moveTo>
                  <a:lnTo>
                    <a:pt x="10" y="6"/>
                  </a:lnTo>
                  <a:lnTo>
                    <a:pt x="8" y="7"/>
                  </a:lnTo>
                  <a:lnTo>
                    <a:pt x="5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7" y="0"/>
                  </a:lnTo>
                  <a:lnTo>
                    <a:pt x="9" y="4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20" name="Group 81"/>
          <p:cNvGrpSpPr>
            <a:grpSpLocks/>
          </p:cNvGrpSpPr>
          <p:nvPr/>
        </p:nvGrpSpPr>
        <p:grpSpPr bwMode="auto">
          <a:xfrm>
            <a:off x="3584575" y="3916363"/>
            <a:ext cx="195263" cy="287337"/>
            <a:chOff x="1500" y="2467"/>
            <a:chExt cx="123" cy="181"/>
          </a:xfrm>
        </p:grpSpPr>
        <p:sp>
          <p:nvSpPr>
            <p:cNvPr id="34424" name="Freeform 79"/>
            <p:cNvSpPr>
              <a:spLocks/>
            </p:cNvSpPr>
            <p:nvPr/>
          </p:nvSpPr>
          <p:spPr bwMode="auto">
            <a:xfrm>
              <a:off x="1500" y="2467"/>
              <a:ext cx="123" cy="181"/>
            </a:xfrm>
            <a:custGeom>
              <a:avLst/>
              <a:gdLst>
                <a:gd name="T0" fmla="*/ 118 w 123"/>
                <a:gd name="T1" fmla="*/ 51 h 181"/>
                <a:gd name="T2" fmla="*/ 94 w 123"/>
                <a:gd name="T3" fmla="*/ 43 h 181"/>
                <a:gd name="T4" fmla="*/ 78 w 123"/>
                <a:gd name="T5" fmla="*/ 52 h 181"/>
                <a:gd name="T6" fmla="*/ 72 w 123"/>
                <a:gd name="T7" fmla="*/ 33 h 181"/>
                <a:gd name="T8" fmla="*/ 80 w 123"/>
                <a:gd name="T9" fmla="*/ 21 h 181"/>
                <a:gd name="T10" fmla="*/ 80 w 123"/>
                <a:gd name="T11" fmla="*/ 1 h 181"/>
                <a:gd name="T12" fmla="*/ 71 w 123"/>
                <a:gd name="T13" fmla="*/ 3 h 181"/>
                <a:gd name="T14" fmla="*/ 60 w 123"/>
                <a:gd name="T15" fmla="*/ 9 h 181"/>
                <a:gd name="T16" fmla="*/ 57 w 123"/>
                <a:gd name="T17" fmla="*/ 18 h 181"/>
                <a:gd name="T18" fmla="*/ 47 w 123"/>
                <a:gd name="T19" fmla="*/ 28 h 181"/>
                <a:gd name="T20" fmla="*/ 55 w 123"/>
                <a:gd name="T21" fmla="*/ 32 h 181"/>
                <a:gd name="T22" fmla="*/ 63 w 123"/>
                <a:gd name="T23" fmla="*/ 33 h 181"/>
                <a:gd name="T24" fmla="*/ 52 w 123"/>
                <a:gd name="T25" fmla="*/ 46 h 181"/>
                <a:gd name="T26" fmla="*/ 34 w 123"/>
                <a:gd name="T27" fmla="*/ 51 h 181"/>
                <a:gd name="T28" fmla="*/ 16 w 123"/>
                <a:gd name="T29" fmla="*/ 50 h 181"/>
                <a:gd name="T30" fmla="*/ 13 w 123"/>
                <a:gd name="T31" fmla="*/ 62 h 181"/>
                <a:gd name="T32" fmla="*/ 23 w 123"/>
                <a:gd name="T33" fmla="*/ 68 h 181"/>
                <a:gd name="T34" fmla="*/ 13 w 123"/>
                <a:gd name="T35" fmla="*/ 81 h 181"/>
                <a:gd name="T36" fmla="*/ 13 w 123"/>
                <a:gd name="T37" fmla="*/ 91 h 181"/>
                <a:gd name="T38" fmla="*/ 22 w 123"/>
                <a:gd name="T39" fmla="*/ 94 h 181"/>
                <a:gd name="T40" fmla="*/ 41 w 123"/>
                <a:gd name="T41" fmla="*/ 101 h 181"/>
                <a:gd name="T42" fmla="*/ 29 w 123"/>
                <a:gd name="T43" fmla="*/ 110 h 181"/>
                <a:gd name="T44" fmla="*/ 17 w 123"/>
                <a:gd name="T45" fmla="*/ 130 h 181"/>
                <a:gd name="T46" fmla="*/ 43 w 123"/>
                <a:gd name="T47" fmla="*/ 125 h 181"/>
                <a:gd name="T48" fmla="*/ 30 w 123"/>
                <a:gd name="T49" fmla="*/ 131 h 181"/>
                <a:gd name="T50" fmla="*/ 16 w 123"/>
                <a:gd name="T51" fmla="*/ 144 h 181"/>
                <a:gd name="T52" fmla="*/ 8 w 123"/>
                <a:gd name="T53" fmla="*/ 147 h 181"/>
                <a:gd name="T54" fmla="*/ 0 w 123"/>
                <a:gd name="T55" fmla="*/ 153 h 181"/>
                <a:gd name="T56" fmla="*/ 7 w 123"/>
                <a:gd name="T57" fmla="*/ 157 h 181"/>
                <a:gd name="T58" fmla="*/ 6 w 123"/>
                <a:gd name="T59" fmla="*/ 165 h 181"/>
                <a:gd name="T60" fmla="*/ 20 w 123"/>
                <a:gd name="T61" fmla="*/ 164 h 181"/>
                <a:gd name="T62" fmla="*/ 9 w 123"/>
                <a:gd name="T63" fmla="*/ 175 h 181"/>
                <a:gd name="T64" fmla="*/ 25 w 123"/>
                <a:gd name="T65" fmla="*/ 173 h 181"/>
                <a:gd name="T66" fmla="*/ 18 w 123"/>
                <a:gd name="T67" fmla="*/ 178 h 181"/>
                <a:gd name="T68" fmla="*/ 23 w 123"/>
                <a:gd name="T69" fmla="*/ 179 h 181"/>
                <a:gd name="T70" fmla="*/ 32 w 123"/>
                <a:gd name="T71" fmla="*/ 180 h 181"/>
                <a:gd name="T72" fmla="*/ 54 w 123"/>
                <a:gd name="T73" fmla="*/ 173 h 181"/>
                <a:gd name="T74" fmla="*/ 58 w 123"/>
                <a:gd name="T75" fmla="*/ 162 h 181"/>
                <a:gd name="T76" fmla="*/ 63 w 123"/>
                <a:gd name="T77" fmla="*/ 167 h 181"/>
                <a:gd name="T78" fmla="*/ 76 w 123"/>
                <a:gd name="T79" fmla="*/ 161 h 181"/>
                <a:gd name="T80" fmla="*/ 81 w 123"/>
                <a:gd name="T81" fmla="*/ 153 h 181"/>
                <a:gd name="T82" fmla="*/ 106 w 123"/>
                <a:gd name="T83" fmla="*/ 148 h 181"/>
                <a:gd name="T84" fmla="*/ 115 w 123"/>
                <a:gd name="T85" fmla="*/ 146 h 181"/>
                <a:gd name="T86" fmla="*/ 118 w 123"/>
                <a:gd name="T87" fmla="*/ 124 h 181"/>
                <a:gd name="T88" fmla="*/ 121 w 123"/>
                <a:gd name="T89" fmla="*/ 103 h 181"/>
                <a:gd name="T90" fmla="*/ 122 w 123"/>
                <a:gd name="T91" fmla="*/ 84 h 181"/>
                <a:gd name="T92" fmla="*/ 119 w 123"/>
                <a:gd name="T93" fmla="*/ 61 h 18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23"/>
                <a:gd name="T142" fmla="*/ 0 h 181"/>
                <a:gd name="T143" fmla="*/ 123 w 123"/>
                <a:gd name="T144" fmla="*/ 181 h 18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23" h="181">
                  <a:moveTo>
                    <a:pt x="119" y="61"/>
                  </a:moveTo>
                  <a:lnTo>
                    <a:pt x="118" y="59"/>
                  </a:lnTo>
                  <a:lnTo>
                    <a:pt x="118" y="51"/>
                  </a:lnTo>
                  <a:lnTo>
                    <a:pt x="117" y="47"/>
                  </a:lnTo>
                  <a:lnTo>
                    <a:pt x="109" y="40"/>
                  </a:lnTo>
                  <a:lnTo>
                    <a:pt x="94" y="43"/>
                  </a:lnTo>
                  <a:lnTo>
                    <a:pt x="91" y="50"/>
                  </a:lnTo>
                  <a:lnTo>
                    <a:pt x="84" y="55"/>
                  </a:lnTo>
                  <a:lnTo>
                    <a:pt x="78" y="52"/>
                  </a:lnTo>
                  <a:lnTo>
                    <a:pt x="74" y="43"/>
                  </a:lnTo>
                  <a:lnTo>
                    <a:pt x="66" y="37"/>
                  </a:lnTo>
                  <a:lnTo>
                    <a:pt x="72" y="33"/>
                  </a:lnTo>
                  <a:lnTo>
                    <a:pt x="72" y="26"/>
                  </a:lnTo>
                  <a:lnTo>
                    <a:pt x="77" y="26"/>
                  </a:lnTo>
                  <a:lnTo>
                    <a:pt x="80" y="21"/>
                  </a:lnTo>
                  <a:lnTo>
                    <a:pt x="81" y="14"/>
                  </a:lnTo>
                  <a:lnTo>
                    <a:pt x="81" y="12"/>
                  </a:lnTo>
                  <a:lnTo>
                    <a:pt x="80" y="1"/>
                  </a:lnTo>
                  <a:lnTo>
                    <a:pt x="80" y="0"/>
                  </a:lnTo>
                  <a:lnTo>
                    <a:pt x="77" y="0"/>
                  </a:lnTo>
                  <a:lnTo>
                    <a:pt x="71" y="3"/>
                  </a:lnTo>
                  <a:lnTo>
                    <a:pt x="69" y="2"/>
                  </a:lnTo>
                  <a:lnTo>
                    <a:pt x="64" y="5"/>
                  </a:lnTo>
                  <a:lnTo>
                    <a:pt x="60" y="9"/>
                  </a:lnTo>
                  <a:lnTo>
                    <a:pt x="57" y="10"/>
                  </a:lnTo>
                  <a:lnTo>
                    <a:pt x="56" y="15"/>
                  </a:lnTo>
                  <a:lnTo>
                    <a:pt x="57" y="18"/>
                  </a:lnTo>
                  <a:lnTo>
                    <a:pt x="56" y="19"/>
                  </a:lnTo>
                  <a:lnTo>
                    <a:pt x="53" y="23"/>
                  </a:lnTo>
                  <a:lnTo>
                    <a:pt x="47" y="28"/>
                  </a:lnTo>
                  <a:lnTo>
                    <a:pt x="48" y="31"/>
                  </a:lnTo>
                  <a:lnTo>
                    <a:pt x="52" y="31"/>
                  </a:lnTo>
                  <a:lnTo>
                    <a:pt x="55" y="32"/>
                  </a:lnTo>
                  <a:lnTo>
                    <a:pt x="58" y="31"/>
                  </a:lnTo>
                  <a:lnTo>
                    <a:pt x="63" y="31"/>
                  </a:lnTo>
                  <a:lnTo>
                    <a:pt x="63" y="33"/>
                  </a:lnTo>
                  <a:lnTo>
                    <a:pt x="61" y="37"/>
                  </a:lnTo>
                  <a:lnTo>
                    <a:pt x="52" y="44"/>
                  </a:lnTo>
                  <a:lnTo>
                    <a:pt x="52" y="46"/>
                  </a:lnTo>
                  <a:lnTo>
                    <a:pt x="52" y="49"/>
                  </a:lnTo>
                  <a:lnTo>
                    <a:pt x="44" y="49"/>
                  </a:lnTo>
                  <a:lnTo>
                    <a:pt x="34" y="51"/>
                  </a:lnTo>
                  <a:lnTo>
                    <a:pt x="32" y="47"/>
                  </a:lnTo>
                  <a:lnTo>
                    <a:pt x="19" y="46"/>
                  </a:lnTo>
                  <a:lnTo>
                    <a:pt x="16" y="50"/>
                  </a:lnTo>
                  <a:lnTo>
                    <a:pt x="14" y="55"/>
                  </a:lnTo>
                  <a:lnTo>
                    <a:pt x="16" y="63"/>
                  </a:lnTo>
                  <a:lnTo>
                    <a:pt x="13" y="62"/>
                  </a:lnTo>
                  <a:lnTo>
                    <a:pt x="8" y="63"/>
                  </a:lnTo>
                  <a:lnTo>
                    <a:pt x="12" y="67"/>
                  </a:lnTo>
                  <a:lnTo>
                    <a:pt x="23" y="68"/>
                  </a:lnTo>
                  <a:lnTo>
                    <a:pt x="24" y="71"/>
                  </a:lnTo>
                  <a:lnTo>
                    <a:pt x="15" y="77"/>
                  </a:lnTo>
                  <a:lnTo>
                    <a:pt x="13" y="81"/>
                  </a:lnTo>
                  <a:lnTo>
                    <a:pt x="9" y="83"/>
                  </a:lnTo>
                  <a:lnTo>
                    <a:pt x="9" y="87"/>
                  </a:lnTo>
                  <a:lnTo>
                    <a:pt x="13" y="91"/>
                  </a:lnTo>
                  <a:lnTo>
                    <a:pt x="15" y="91"/>
                  </a:lnTo>
                  <a:lnTo>
                    <a:pt x="15" y="94"/>
                  </a:lnTo>
                  <a:lnTo>
                    <a:pt x="22" y="94"/>
                  </a:lnTo>
                  <a:lnTo>
                    <a:pt x="23" y="97"/>
                  </a:lnTo>
                  <a:lnTo>
                    <a:pt x="40" y="98"/>
                  </a:lnTo>
                  <a:lnTo>
                    <a:pt x="41" y="101"/>
                  </a:lnTo>
                  <a:lnTo>
                    <a:pt x="39" y="103"/>
                  </a:lnTo>
                  <a:lnTo>
                    <a:pt x="32" y="106"/>
                  </a:lnTo>
                  <a:lnTo>
                    <a:pt x="29" y="110"/>
                  </a:lnTo>
                  <a:lnTo>
                    <a:pt x="28" y="118"/>
                  </a:lnTo>
                  <a:lnTo>
                    <a:pt x="25" y="122"/>
                  </a:lnTo>
                  <a:lnTo>
                    <a:pt x="17" y="130"/>
                  </a:lnTo>
                  <a:lnTo>
                    <a:pt x="34" y="128"/>
                  </a:lnTo>
                  <a:lnTo>
                    <a:pt x="43" y="119"/>
                  </a:lnTo>
                  <a:lnTo>
                    <a:pt x="43" y="125"/>
                  </a:lnTo>
                  <a:lnTo>
                    <a:pt x="47" y="126"/>
                  </a:lnTo>
                  <a:lnTo>
                    <a:pt x="48" y="127"/>
                  </a:lnTo>
                  <a:lnTo>
                    <a:pt x="30" y="131"/>
                  </a:lnTo>
                  <a:lnTo>
                    <a:pt x="22" y="132"/>
                  </a:lnTo>
                  <a:lnTo>
                    <a:pt x="16" y="141"/>
                  </a:lnTo>
                  <a:lnTo>
                    <a:pt x="16" y="144"/>
                  </a:lnTo>
                  <a:lnTo>
                    <a:pt x="14" y="146"/>
                  </a:lnTo>
                  <a:lnTo>
                    <a:pt x="11" y="145"/>
                  </a:lnTo>
                  <a:lnTo>
                    <a:pt x="8" y="147"/>
                  </a:lnTo>
                  <a:lnTo>
                    <a:pt x="5" y="146"/>
                  </a:lnTo>
                  <a:lnTo>
                    <a:pt x="1" y="149"/>
                  </a:lnTo>
                  <a:lnTo>
                    <a:pt x="0" y="153"/>
                  </a:lnTo>
                  <a:lnTo>
                    <a:pt x="13" y="152"/>
                  </a:lnTo>
                  <a:lnTo>
                    <a:pt x="14" y="154"/>
                  </a:lnTo>
                  <a:lnTo>
                    <a:pt x="7" y="157"/>
                  </a:lnTo>
                  <a:lnTo>
                    <a:pt x="3" y="162"/>
                  </a:lnTo>
                  <a:lnTo>
                    <a:pt x="2" y="165"/>
                  </a:lnTo>
                  <a:lnTo>
                    <a:pt x="6" y="165"/>
                  </a:lnTo>
                  <a:lnTo>
                    <a:pt x="7" y="168"/>
                  </a:lnTo>
                  <a:lnTo>
                    <a:pt x="8" y="168"/>
                  </a:lnTo>
                  <a:lnTo>
                    <a:pt x="20" y="164"/>
                  </a:lnTo>
                  <a:lnTo>
                    <a:pt x="21" y="167"/>
                  </a:lnTo>
                  <a:lnTo>
                    <a:pt x="16" y="169"/>
                  </a:lnTo>
                  <a:lnTo>
                    <a:pt x="9" y="175"/>
                  </a:lnTo>
                  <a:lnTo>
                    <a:pt x="11" y="175"/>
                  </a:lnTo>
                  <a:lnTo>
                    <a:pt x="24" y="171"/>
                  </a:lnTo>
                  <a:lnTo>
                    <a:pt x="25" y="173"/>
                  </a:lnTo>
                  <a:lnTo>
                    <a:pt x="24" y="175"/>
                  </a:lnTo>
                  <a:lnTo>
                    <a:pt x="21" y="176"/>
                  </a:lnTo>
                  <a:lnTo>
                    <a:pt x="18" y="178"/>
                  </a:lnTo>
                  <a:lnTo>
                    <a:pt x="19" y="179"/>
                  </a:lnTo>
                  <a:lnTo>
                    <a:pt x="19" y="181"/>
                  </a:lnTo>
                  <a:lnTo>
                    <a:pt x="23" y="179"/>
                  </a:lnTo>
                  <a:lnTo>
                    <a:pt x="27" y="179"/>
                  </a:lnTo>
                  <a:lnTo>
                    <a:pt x="29" y="180"/>
                  </a:lnTo>
                  <a:lnTo>
                    <a:pt x="32" y="180"/>
                  </a:lnTo>
                  <a:lnTo>
                    <a:pt x="36" y="177"/>
                  </a:lnTo>
                  <a:lnTo>
                    <a:pt x="39" y="178"/>
                  </a:lnTo>
                  <a:lnTo>
                    <a:pt x="54" y="173"/>
                  </a:lnTo>
                  <a:lnTo>
                    <a:pt x="57" y="169"/>
                  </a:lnTo>
                  <a:lnTo>
                    <a:pt x="58" y="166"/>
                  </a:lnTo>
                  <a:lnTo>
                    <a:pt x="58" y="162"/>
                  </a:lnTo>
                  <a:lnTo>
                    <a:pt x="60" y="163"/>
                  </a:lnTo>
                  <a:lnTo>
                    <a:pt x="61" y="166"/>
                  </a:lnTo>
                  <a:lnTo>
                    <a:pt x="63" y="167"/>
                  </a:lnTo>
                  <a:lnTo>
                    <a:pt x="69" y="163"/>
                  </a:lnTo>
                  <a:lnTo>
                    <a:pt x="71" y="160"/>
                  </a:lnTo>
                  <a:lnTo>
                    <a:pt x="76" y="161"/>
                  </a:lnTo>
                  <a:lnTo>
                    <a:pt x="78" y="158"/>
                  </a:lnTo>
                  <a:lnTo>
                    <a:pt x="79" y="155"/>
                  </a:lnTo>
                  <a:lnTo>
                    <a:pt x="81" y="153"/>
                  </a:lnTo>
                  <a:lnTo>
                    <a:pt x="93" y="150"/>
                  </a:lnTo>
                  <a:lnTo>
                    <a:pt x="99" y="148"/>
                  </a:lnTo>
                  <a:lnTo>
                    <a:pt x="106" y="148"/>
                  </a:lnTo>
                  <a:lnTo>
                    <a:pt x="110" y="150"/>
                  </a:lnTo>
                  <a:lnTo>
                    <a:pt x="113" y="150"/>
                  </a:lnTo>
                  <a:lnTo>
                    <a:pt x="115" y="146"/>
                  </a:lnTo>
                  <a:lnTo>
                    <a:pt x="113" y="141"/>
                  </a:lnTo>
                  <a:lnTo>
                    <a:pt x="117" y="132"/>
                  </a:lnTo>
                  <a:lnTo>
                    <a:pt x="118" y="124"/>
                  </a:lnTo>
                  <a:lnTo>
                    <a:pt x="121" y="118"/>
                  </a:lnTo>
                  <a:lnTo>
                    <a:pt x="123" y="114"/>
                  </a:lnTo>
                  <a:lnTo>
                    <a:pt x="121" y="103"/>
                  </a:lnTo>
                  <a:lnTo>
                    <a:pt x="119" y="93"/>
                  </a:lnTo>
                  <a:lnTo>
                    <a:pt x="121" y="92"/>
                  </a:lnTo>
                  <a:lnTo>
                    <a:pt x="122" y="84"/>
                  </a:lnTo>
                  <a:lnTo>
                    <a:pt x="115" y="67"/>
                  </a:lnTo>
                  <a:lnTo>
                    <a:pt x="116" y="63"/>
                  </a:lnTo>
                  <a:lnTo>
                    <a:pt x="119" y="6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25" name="Freeform 80"/>
            <p:cNvSpPr>
              <a:spLocks/>
            </p:cNvSpPr>
            <p:nvPr/>
          </p:nvSpPr>
          <p:spPr bwMode="auto">
            <a:xfrm>
              <a:off x="1500" y="2467"/>
              <a:ext cx="123" cy="181"/>
            </a:xfrm>
            <a:custGeom>
              <a:avLst/>
              <a:gdLst>
                <a:gd name="T0" fmla="*/ 118 w 123"/>
                <a:gd name="T1" fmla="*/ 51 h 181"/>
                <a:gd name="T2" fmla="*/ 94 w 123"/>
                <a:gd name="T3" fmla="*/ 43 h 181"/>
                <a:gd name="T4" fmla="*/ 78 w 123"/>
                <a:gd name="T5" fmla="*/ 52 h 181"/>
                <a:gd name="T6" fmla="*/ 72 w 123"/>
                <a:gd name="T7" fmla="*/ 33 h 181"/>
                <a:gd name="T8" fmla="*/ 80 w 123"/>
                <a:gd name="T9" fmla="*/ 21 h 181"/>
                <a:gd name="T10" fmla="*/ 80 w 123"/>
                <a:gd name="T11" fmla="*/ 1 h 181"/>
                <a:gd name="T12" fmla="*/ 71 w 123"/>
                <a:gd name="T13" fmla="*/ 3 h 181"/>
                <a:gd name="T14" fmla="*/ 60 w 123"/>
                <a:gd name="T15" fmla="*/ 9 h 181"/>
                <a:gd name="T16" fmla="*/ 57 w 123"/>
                <a:gd name="T17" fmla="*/ 18 h 181"/>
                <a:gd name="T18" fmla="*/ 47 w 123"/>
                <a:gd name="T19" fmla="*/ 28 h 181"/>
                <a:gd name="T20" fmla="*/ 55 w 123"/>
                <a:gd name="T21" fmla="*/ 32 h 181"/>
                <a:gd name="T22" fmla="*/ 63 w 123"/>
                <a:gd name="T23" fmla="*/ 33 h 181"/>
                <a:gd name="T24" fmla="*/ 52 w 123"/>
                <a:gd name="T25" fmla="*/ 46 h 181"/>
                <a:gd name="T26" fmla="*/ 34 w 123"/>
                <a:gd name="T27" fmla="*/ 51 h 181"/>
                <a:gd name="T28" fmla="*/ 16 w 123"/>
                <a:gd name="T29" fmla="*/ 50 h 181"/>
                <a:gd name="T30" fmla="*/ 13 w 123"/>
                <a:gd name="T31" fmla="*/ 62 h 181"/>
                <a:gd name="T32" fmla="*/ 23 w 123"/>
                <a:gd name="T33" fmla="*/ 68 h 181"/>
                <a:gd name="T34" fmla="*/ 13 w 123"/>
                <a:gd name="T35" fmla="*/ 81 h 181"/>
                <a:gd name="T36" fmla="*/ 13 w 123"/>
                <a:gd name="T37" fmla="*/ 91 h 181"/>
                <a:gd name="T38" fmla="*/ 22 w 123"/>
                <a:gd name="T39" fmla="*/ 94 h 181"/>
                <a:gd name="T40" fmla="*/ 41 w 123"/>
                <a:gd name="T41" fmla="*/ 101 h 181"/>
                <a:gd name="T42" fmla="*/ 29 w 123"/>
                <a:gd name="T43" fmla="*/ 110 h 181"/>
                <a:gd name="T44" fmla="*/ 17 w 123"/>
                <a:gd name="T45" fmla="*/ 130 h 181"/>
                <a:gd name="T46" fmla="*/ 43 w 123"/>
                <a:gd name="T47" fmla="*/ 125 h 181"/>
                <a:gd name="T48" fmla="*/ 30 w 123"/>
                <a:gd name="T49" fmla="*/ 131 h 181"/>
                <a:gd name="T50" fmla="*/ 16 w 123"/>
                <a:gd name="T51" fmla="*/ 144 h 181"/>
                <a:gd name="T52" fmla="*/ 8 w 123"/>
                <a:gd name="T53" fmla="*/ 147 h 181"/>
                <a:gd name="T54" fmla="*/ 0 w 123"/>
                <a:gd name="T55" fmla="*/ 153 h 181"/>
                <a:gd name="T56" fmla="*/ 7 w 123"/>
                <a:gd name="T57" fmla="*/ 157 h 181"/>
                <a:gd name="T58" fmla="*/ 6 w 123"/>
                <a:gd name="T59" fmla="*/ 165 h 181"/>
                <a:gd name="T60" fmla="*/ 20 w 123"/>
                <a:gd name="T61" fmla="*/ 164 h 181"/>
                <a:gd name="T62" fmla="*/ 9 w 123"/>
                <a:gd name="T63" fmla="*/ 175 h 181"/>
                <a:gd name="T64" fmla="*/ 25 w 123"/>
                <a:gd name="T65" fmla="*/ 173 h 181"/>
                <a:gd name="T66" fmla="*/ 18 w 123"/>
                <a:gd name="T67" fmla="*/ 178 h 181"/>
                <a:gd name="T68" fmla="*/ 23 w 123"/>
                <a:gd name="T69" fmla="*/ 179 h 181"/>
                <a:gd name="T70" fmla="*/ 32 w 123"/>
                <a:gd name="T71" fmla="*/ 180 h 181"/>
                <a:gd name="T72" fmla="*/ 54 w 123"/>
                <a:gd name="T73" fmla="*/ 173 h 181"/>
                <a:gd name="T74" fmla="*/ 58 w 123"/>
                <a:gd name="T75" fmla="*/ 162 h 181"/>
                <a:gd name="T76" fmla="*/ 63 w 123"/>
                <a:gd name="T77" fmla="*/ 167 h 181"/>
                <a:gd name="T78" fmla="*/ 76 w 123"/>
                <a:gd name="T79" fmla="*/ 161 h 181"/>
                <a:gd name="T80" fmla="*/ 81 w 123"/>
                <a:gd name="T81" fmla="*/ 153 h 181"/>
                <a:gd name="T82" fmla="*/ 106 w 123"/>
                <a:gd name="T83" fmla="*/ 148 h 181"/>
                <a:gd name="T84" fmla="*/ 115 w 123"/>
                <a:gd name="T85" fmla="*/ 146 h 181"/>
                <a:gd name="T86" fmla="*/ 118 w 123"/>
                <a:gd name="T87" fmla="*/ 124 h 181"/>
                <a:gd name="T88" fmla="*/ 121 w 123"/>
                <a:gd name="T89" fmla="*/ 103 h 181"/>
                <a:gd name="T90" fmla="*/ 122 w 123"/>
                <a:gd name="T91" fmla="*/ 84 h 181"/>
                <a:gd name="T92" fmla="*/ 119 w 123"/>
                <a:gd name="T93" fmla="*/ 61 h 18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23"/>
                <a:gd name="T142" fmla="*/ 0 h 181"/>
                <a:gd name="T143" fmla="*/ 123 w 123"/>
                <a:gd name="T144" fmla="*/ 181 h 18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23" h="181">
                  <a:moveTo>
                    <a:pt x="119" y="61"/>
                  </a:moveTo>
                  <a:lnTo>
                    <a:pt x="118" y="59"/>
                  </a:lnTo>
                  <a:lnTo>
                    <a:pt x="118" y="51"/>
                  </a:lnTo>
                  <a:lnTo>
                    <a:pt x="117" y="47"/>
                  </a:lnTo>
                  <a:lnTo>
                    <a:pt x="109" y="40"/>
                  </a:lnTo>
                  <a:lnTo>
                    <a:pt x="94" y="43"/>
                  </a:lnTo>
                  <a:lnTo>
                    <a:pt x="91" y="50"/>
                  </a:lnTo>
                  <a:lnTo>
                    <a:pt x="84" y="55"/>
                  </a:lnTo>
                  <a:lnTo>
                    <a:pt x="78" y="52"/>
                  </a:lnTo>
                  <a:lnTo>
                    <a:pt x="74" y="43"/>
                  </a:lnTo>
                  <a:lnTo>
                    <a:pt x="66" y="37"/>
                  </a:lnTo>
                  <a:lnTo>
                    <a:pt x="72" y="33"/>
                  </a:lnTo>
                  <a:lnTo>
                    <a:pt x="72" y="26"/>
                  </a:lnTo>
                  <a:lnTo>
                    <a:pt x="77" y="26"/>
                  </a:lnTo>
                  <a:lnTo>
                    <a:pt x="80" y="21"/>
                  </a:lnTo>
                  <a:lnTo>
                    <a:pt x="81" y="14"/>
                  </a:lnTo>
                  <a:lnTo>
                    <a:pt x="81" y="12"/>
                  </a:lnTo>
                  <a:lnTo>
                    <a:pt x="80" y="1"/>
                  </a:lnTo>
                  <a:lnTo>
                    <a:pt x="80" y="0"/>
                  </a:lnTo>
                  <a:lnTo>
                    <a:pt x="77" y="0"/>
                  </a:lnTo>
                  <a:lnTo>
                    <a:pt x="71" y="3"/>
                  </a:lnTo>
                  <a:lnTo>
                    <a:pt x="69" y="2"/>
                  </a:lnTo>
                  <a:lnTo>
                    <a:pt x="64" y="5"/>
                  </a:lnTo>
                  <a:lnTo>
                    <a:pt x="60" y="9"/>
                  </a:lnTo>
                  <a:lnTo>
                    <a:pt x="57" y="10"/>
                  </a:lnTo>
                  <a:lnTo>
                    <a:pt x="56" y="15"/>
                  </a:lnTo>
                  <a:lnTo>
                    <a:pt x="57" y="18"/>
                  </a:lnTo>
                  <a:lnTo>
                    <a:pt x="56" y="19"/>
                  </a:lnTo>
                  <a:lnTo>
                    <a:pt x="53" y="23"/>
                  </a:lnTo>
                  <a:lnTo>
                    <a:pt x="47" y="28"/>
                  </a:lnTo>
                  <a:lnTo>
                    <a:pt x="48" y="31"/>
                  </a:lnTo>
                  <a:lnTo>
                    <a:pt x="52" y="31"/>
                  </a:lnTo>
                  <a:lnTo>
                    <a:pt x="55" y="32"/>
                  </a:lnTo>
                  <a:lnTo>
                    <a:pt x="58" y="31"/>
                  </a:lnTo>
                  <a:lnTo>
                    <a:pt x="63" y="31"/>
                  </a:lnTo>
                  <a:lnTo>
                    <a:pt x="63" y="33"/>
                  </a:lnTo>
                  <a:lnTo>
                    <a:pt x="61" y="37"/>
                  </a:lnTo>
                  <a:lnTo>
                    <a:pt x="52" y="44"/>
                  </a:lnTo>
                  <a:lnTo>
                    <a:pt x="52" y="46"/>
                  </a:lnTo>
                  <a:lnTo>
                    <a:pt x="52" y="49"/>
                  </a:lnTo>
                  <a:lnTo>
                    <a:pt x="44" y="49"/>
                  </a:lnTo>
                  <a:lnTo>
                    <a:pt x="34" y="51"/>
                  </a:lnTo>
                  <a:lnTo>
                    <a:pt x="32" y="47"/>
                  </a:lnTo>
                  <a:lnTo>
                    <a:pt x="19" y="46"/>
                  </a:lnTo>
                  <a:lnTo>
                    <a:pt x="16" y="50"/>
                  </a:lnTo>
                  <a:lnTo>
                    <a:pt x="14" y="55"/>
                  </a:lnTo>
                  <a:lnTo>
                    <a:pt x="16" y="63"/>
                  </a:lnTo>
                  <a:lnTo>
                    <a:pt x="13" y="62"/>
                  </a:lnTo>
                  <a:lnTo>
                    <a:pt x="8" y="63"/>
                  </a:lnTo>
                  <a:lnTo>
                    <a:pt x="12" y="67"/>
                  </a:lnTo>
                  <a:lnTo>
                    <a:pt x="23" y="68"/>
                  </a:lnTo>
                  <a:lnTo>
                    <a:pt x="24" y="71"/>
                  </a:lnTo>
                  <a:lnTo>
                    <a:pt x="15" y="77"/>
                  </a:lnTo>
                  <a:lnTo>
                    <a:pt x="13" y="81"/>
                  </a:lnTo>
                  <a:lnTo>
                    <a:pt x="9" y="83"/>
                  </a:lnTo>
                  <a:lnTo>
                    <a:pt x="9" y="87"/>
                  </a:lnTo>
                  <a:lnTo>
                    <a:pt x="13" y="91"/>
                  </a:lnTo>
                  <a:lnTo>
                    <a:pt x="15" y="91"/>
                  </a:lnTo>
                  <a:lnTo>
                    <a:pt x="15" y="94"/>
                  </a:lnTo>
                  <a:lnTo>
                    <a:pt x="22" y="94"/>
                  </a:lnTo>
                  <a:lnTo>
                    <a:pt x="23" y="97"/>
                  </a:lnTo>
                  <a:lnTo>
                    <a:pt x="40" y="98"/>
                  </a:lnTo>
                  <a:lnTo>
                    <a:pt x="41" y="101"/>
                  </a:lnTo>
                  <a:lnTo>
                    <a:pt x="39" y="103"/>
                  </a:lnTo>
                  <a:lnTo>
                    <a:pt x="32" y="106"/>
                  </a:lnTo>
                  <a:lnTo>
                    <a:pt x="29" y="110"/>
                  </a:lnTo>
                  <a:lnTo>
                    <a:pt x="28" y="118"/>
                  </a:lnTo>
                  <a:lnTo>
                    <a:pt x="25" y="122"/>
                  </a:lnTo>
                  <a:lnTo>
                    <a:pt x="17" y="130"/>
                  </a:lnTo>
                  <a:lnTo>
                    <a:pt x="34" y="128"/>
                  </a:lnTo>
                  <a:lnTo>
                    <a:pt x="43" y="119"/>
                  </a:lnTo>
                  <a:lnTo>
                    <a:pt x="43" y="125"/>
                  </a:lnTo>
                  <a:lnTo>
                    <a:pt x="47" y="126"/>
                  </a:lnTo>
                  <a:lnTo>
                    <a:pt x="48" y="127"/>
                  </a:lnTo>
                  <a:lnTo>
                    <a:pt x="30" y="131"/>
                  </a:lnTo>
                  <a:lnTo>
                    <a:pt x="22" y="132"/>
                  </a:lnTo>
                  <a:lnTo>
                    <a:pt x="16" y="141"/>
                  </a:lnTo>
                  <a:lnTo>
                    <a:pt x="16" y="144"/>
                  </a:lnTo>
                  <a:lnTo>
                    <a:pt x="14" y="146"/>
                  </a:lnTo>
                  <a:lnTo>
                    <a:pt x="11" y="145"/>
                  </a:lnTo>
                  <a:lnTo>
                    <a:pt x="8" y="147"/>
                  </a:lnTo>
                  <a:lnTo>
                    <a:pt x="5" y="146"/>
                  </a:lnTo>
                  <a:lnTo>
                    <a:pt x="1" y="149"/>
                  </a:lnTo>
                  <a:lnTo>
                    <a:pt x="0" y="153"/>
                  </a:lnTo>
                  <a:lnTo>
                    <a:pt x="13" y="152"/>
                  </a:lnTo>
                  <a:lnTo>
                    <a:pt x="14" y="154"/>
                  </a:lnTo>
                  <a:lnTo>
                    <a:pt x="7" y="157"/>
                  </a:lnTo>
                  <a:lnTo>
                    <a:pt x="3" y="162"/>
                  </a:lnTo>
                  <a:lnTo>
                    <a:pt x="2" y="165"/>
                  </a:lnTo>
                  <a:lnTo>
                    <a:pt x="6" y="165"/>
                  </a:lnTo>
                  <a:lnTo>
                    <a:pt x="7" y="168"/>
                  </a:lnTo>
                  <a:lnTo>
                    <a:pt x="8" y="168"/>
                  </a:lnTo>
                  <a:lnTo>
                    <a:pt x="20" y="164"/>
                  </a:lnTo>
                  <a:lnTo>
                    <a:pt x="21" y="167"/>
                  </a:lnTo>
                  <a:lnTo>
                    <a:pt x="16" y="169"/>
                  </a:lnTo>
                  <a:lnTo>
                    <a:pt x="9" y="175"/>
                  </a:lnTo>
                  <a:lnTo>
                    <a:pt x="11" y="175"/>
                  </a:lnTo>
                  <a:lnTo>
                    <a:pt x="24" y="171"/>
                  </a:lnTo>
                  <a:lnTo>
                    <a:pt x="25" y="173"/>
                  </a:lnTo>
                  <a:lnTo>
                    <a:pt x="24" y="175"/>
                  </a:lnTo>
                  <a:lnTo>
                    <a:pt x="21" y="176"/>
                  </a:lnTo>
                  <a:lnTo>
                    <a:pt x="18" y="178"/>
                  </a:lnTo>
                  <a:lnTo>
                    <a:pt x="19" y="179"/>
                  </a:lnTo>
                  <a:lnTo>
                    <a:pt x="19" y="181"/>
                  </a:lnTo>
                  <a:lnTo>
                    <a:pt x="23" y="179"/>
                  </a:lnTo>
                  <a:lnTo>
                    <a:pt x="27" y="179"/>
                  </a:lnTo>
                  <a:lnTo>
                    <a:pt x="29" y="180"/>
                  </a:lnTo>
                  <a:lnTo>
                    <a:pt x="32" y="180"/>
                  </a:lnTo>
                  <a:lnTo>
                    <a:pt x="36" y="177"/>
                  </a:lnTo>
                  <a:lnTo>
                    <a:pt x="39" y="178"/>
                  </a:lnTo>
                  <a:lnTo>
                    <a:pt x="54" y="173"/>
                  </a:lnTo>
                  <a:lnTo>
                    <a:pt x="57" y="169"/>
                  </a:lnTo>
                  <a:lnTo>
                    <a:pt x="58" y="166"/>
                  </a:lnTo>
                  <a:lnTo>
                    <a:pt x="58" y="162"/>
                  </a:lnTo>
                  <a:lnTo>
                    <a:pt x="60" y="163"/>
                  </a:lnTo>
                  <a:lnTo>
                    <a:pt x="61" y="166"/>
                  </a:lnTo>
                  <a:lnTo>
                    <a:pt x="63" y="167"/>
                  </a:lnTo>
                  <a:lnTo>
                    <a:pt x="69" y="163"/>
                  </a:lnTo>
                  <a:lnTo>
                    <a:pt x="71" y="160"/>
                  </a:lnTo>
                  <a:lnTo>
                    <a:pt x="76" y="161"/>
                  </a:lnTo>
                  <a:lnTo>
                    <a:pt x="78" y="158"/>
                  </a:lnTo>
                  <a:lnTo>
                    <a:pt x="79" y="155"/>
                  </a:lnTo>
                  <a:lnTo>
                    <a:pt x="81" y="153"/>
                  </a:lnTo>
                  <a:lnTo>
                    <a:pt x="93" y="150"/>
                  </a:lnTo>
                  <a:lnTo>
                    <a:pt x="99" y="148"/>
                  </a:lnTo>
                  <a:lnTo>
                    <a:pt x="106" y="148"/>
                  </a:lnTo>
                  <a:lnTo>
                    <a:pt x="110" y="150"/>
                  </a:lnTo>
                  <a:lnTo>
                    <a:pt x="113" y="150"/>
                  </a:lnTo>
                  <a:lnTo>
                    <a:pt x="115" y="146"/>
                  </a:lnTo>
                  <a:lnTo>
                    <a:pt x="113" y="141"/>
                  </a:lnTo>
                  <a:lnTo>
                    <a:pt x="117" y="132"/>
                  </a:lnTo>
                  <a:lnTo>
                    <a:pt x="118" y="124"/>
                  </a:lnTo>
                  <a:lnTo>
                    <a:pt x="121" y="118"/>
                  </a:lnTo>
                  <a:lnTo>
                    <a:pt x="123" y="114"/>
                  </a:lnTo>
                  <a:lnTo>
                    <a:pt x="121" y="103"/>
                  </a:lnTo>
                  <a:lnTo>
                    <a:pt x="119" y="93"/>
                  </a:lnTo>
                  <a:lnTo>
                    <a:pt x="121" y="92"/>
                  </a:lnTo>
                  <a:lnTo>
                    <a:pt x="122" y="84"/>
                  </a:lnTo>
                  <a:lnTo>
                    <a:pt x="115" y="67"/>
                  </a:lnTo>
                  <a:lnTo>
                    <a:pt x="116" y="63"/>
                  </a:lnTo>
                  <a:lnTo>
                    <a:pt x="119" y="6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21" name="Group 84"/>
          <p:cNvGrpSpPr>
            <a:grpSpLocks/>
          </p:cNvGrpSpPr>
          <p:nvPr/>
        </p:nvGrpSpPr>
        <p:grpSpPr bwMode="auto">
          <a:xfrm>
            <a:off x="4484688" y="4376738"/>
            <a:ext cx="347662" cy="169862"/>
            <a:chOff x="2067" y="2757"/>
            <a:chExt cx="219" cy="107"/>
          </a:xfrm>
        </p:grpSpPr>
        <p:sp>
          <p:nvSpPr>
            <p:cNvPr id="34422" name="Freeform 82"/>
            <p:cNvSpPr>
              <a:spLocks/>
            </p:cNvSpPr>
            <p:nvPr/>
          </p:nvSpPr>
          <p:spPr bwMode="auto">
            <a:xfrm>
              <a:off x="2067" y="2757"/>
              <a:ext cx="219" cy="107"/>
            </a:xfrm>
            <a:custGeom>
              <a:avLst/>
              <a:gdLst>
                <a:gd name="T0" fmla="*/ 123 w 219"/>
                <a:gd name="T1" fmla="*/ 14 h 107"/>
                <a:gd name="T2" fmla="*/ 112 w 219"/>
                <a:gd name="T3" fmla="*/ 23 h 107"/>
                <a:gd name="T4" fmla="*/ 98 w 219"/>
                <a:gd name="T5" fmla="*/ 32 h 107"/>
                <a:gd name="T6" fmla="*/ 97 w 219"/>
                <a:gd name="T7" fmla="*/ 47 h 107"/>
                <a:gd name="T8" fmla="*/ 100 w 219"/>
                <a:gd name="T9" fmla="*/ 59 h 107"/>
                <a:gd name="T10" fmla="*/ 94 w 219"/>
                <a:gd name="T11" fmla="*/ 57 h 107"/>
                <a:gd name="T12" fmla="*/ 80 w 219"/>
                <a:gd name="T13" fmla="*/ 55 h 107"/>
                <a:gd name="T14" fmla="*/ 61 w 219"/>
                <a:gd name="T15" fmla="*/ 60 h 107"/>
                <a:gd name="T16" fmla="*/ 44 w 219"/>
                <a:gd name="T17" fmla="*/ 66 h 107"/>
                <a:gd name="T18" fmla="*/ 31 w 219"/>
                <a:gd name="T19" fmla="*/ 61 h 107"/>
                <a:gd name="T20" fmla="*/ 26 w 219"/>
                <a:gd name="T21" fmla="*/ 68 h 107"/>
                <a:gd name="T22" fmla="*/ 18 w 219"/>
                <a:gd name="T23" fmla="*/ 67 h 107"/>
                <a:gd name="T24" fmla="*/ 11 w 219"/>
                <a:gd name="T25" fmla="*/ 62 h 107"/>
                <a:gd name="T26" fmla="*/ 0 w 219"/>
                <a:gd name="T27" fmla="*/ 64 h 107"/>
                <a:gd name="T28" fmla="*/ 8 w 219"/>
                <a:gd name="T29" fmla="*/ 71 h 107"/>
                <a:gd name="T30" fmla="*/ 9 w 219"/>
                <a:gd name="T31" fmla="*/ 80 h 107"/>
                <a:gd name="T32" fmla="*/ 9 w 219"/>
                <a:gd name="T33" fmla="*/ 87 h 107"/>
                <a:gd name="T34" fmla="*/ 19 w 219"/>
                <a:gd name="T35" fmla="*/ 90 h 107"/>
                <a:gd name="T36" fmla="*/ 27 w 219"/>
                <a:gd name="T37" fmla="*/ 91 h 107"/>
                <a:gd name="T38" fmla="*/ 36 w 219"/>
                <a:gd name="T39" fmla="*/ 92 h 107"/>
                <a:gd name="T40" fmla="*/ 55 w 219"/>
                <a:gd name="T41" fmla="*/ 86 h 107"/>
                <a:gd name="T42" fmla="*/ 70 w 219"/>
                <a:gd name="T43" fmla="*/ 84 h 107"/>
                <a:gd name="T44" fmla="*/ 75 w 219"/>
                <a:gd name="T45" fmla="*/ 82 h 107"/>
                <a:gd name="T46" fmla="*/ 77 w 219"/>
                <a:gd name="T47" fmla="*/ 85 h 107"/>
                <a:gd name="T48" fmla="*/ 79 w 219"/>
                <a:gd name="T49" fmla="*/ 93 h 107"/>
                <a:gd name="T50" fmla="*/ 88 w 219"/>
                <a:gd name="T51" fmla="*/ 97 h 107"/>
                <a:gd name="T52" fmla="*/ 109 w 219"/>
                <a:gd name="T53" fmla="*/ 103 h 107"/>
                <a:gd name="T54" fmla="*/ 121 w 219"/>
                <a:gd name="T55" fmla="*/ 106 h 107"/>
                <a:gd name="T56" fmla="*/ 144 w 219"/>
                <a:gd name="T57" fmla="*/ 107 h 107"/>
                <a:gd name="T58" fmla="*/ 153 w 219"/>
                <a:gd name="T59" fmla="*/ 99 h 107"/>
                <a:gd name="T60" fmla="*/ 170 w 219"/>
                <a:gd name="T61" fmla="*/ 99 h 107"/>
                <a:gd name="T62" fmla="*/ 175 w 219"/>
                <a:gd name="T63" fmla="*/ 95 h 107"/>
                <a:gd name="T64" fmla="*/ 185 w 219"/>
                <a:gd name="T65" fmla="*/ 92 h 107"/>
                <a:gd name="T66" fmla="*/ 194 w 219"/>
                <a:gd name="T67" fmla="*/ 84 h 107"/>
                <a:gd name="T68" fmla="*/ 199 w 219"/>
                <a:gd name="T69" fmla="*/ 77 h 107"/>
                <a:gd name="T70" fmla="*/ 204 w 219"/>
                <a:gd name="T71" fmla="*/ 62 h 107"/>
                <a:gd name="T72" fmla="*/ 203 w 219"/>
                <a:gd name="T73" fmla="*/ 54 h 107"/>
                <a:gd name="T74" fmla="*/ 219 w 219"/>
                <a:gd name="T75" fmla="*/ 49 h 107"/>
                <a:gd name="T76" fmla="*/ 215 w 219"/>
                <a:gd name="T77" fmla="*/ 32 h 107"/>
                <a:gd name="T78" fmla="*/ 212 w 219"/>
                <a:gd name="T79" fmla="*/ 13 h 107"/>
                <a:gd name="T80" fmla="*/ 190 w 219"/>
                <a:gd name="T81" fmla="*/ 10 h 107"/>
                <a:gd name="T82" fmla="*/ 178 w 219"/>
                <a:gd name="T83" fmla="*/ 1 h 107"/>
                <a:gd name="T84" fmla="*/ 157 w 219"/>
                <a:gd name="T85" fmla="*/ 5 h 107"/>
                <a:gd name="T86" fmla="*/ 150 w 219"/>
                <a:gd name="T87" fmla="*/ 14 h 107"/>
                <a:gd name="T88" fmla="*/ 140 w 219"/>
                <a:gd name="T89" fmla="*/ 17 h 107"/>
                <a:gd name="T90" fmla="*/ 130 w 219"/>
                <a:gd name="T91" fmla="*/ 13 h 10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19"/>
                <a:gd name="T139" fmla="*/ 0 h 107"/>
                <a:gd name="T140" fmla="*/ 219 w 219"/>
                <a:gd name="T141" fmla="*/ 107 h 10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19" h="107">
                  <a:moveTo>
                    <a:pt x="124" y="10"/>
                  </a:moveTo>
                  <a:lnTo>
                    <a:pt x="123" y="14"/>
                  </a:lnTo>
                  <a:lnTo>
                    <a:pt x="114" y="18"/>
                  </a:lnTo>
                  <a:lnTo>
                    <a:pt x="112" y="23"/>
                  </a:lnTo>
                  <a:lnTo>
                    <a:pt x="110" y="27"/>
                  </a:lnTo>
                  <a:lnTo>
                    <a:pt x="98" y="32"/>
                  </a:lnTo>
                  <a:lnTo>
                    <a:pt x="96" y="38"/>
                  </a:lnTo>
                  <a:lnTo>
                    <a:pt x="97" y="47"/>
                  </a:lnTo>
                  <a:lnTo>
                    <a:pt x="100" y="55"/>
                  </a:lnTo>
                  <a:lnTo>
                    <a:pt x="100" y="59"/>
                  </a:lnTo>
                  <a:lnTo>
                    <a:pt x="96" y="61"/>
                  </a:lnTo>
                  <a:lnTo>
                    <a:pt x="94" y="57"/>
                  </a:lnTo>
                  <a:lnTo>
                    <a:pt x="86" y="57"/>
                  </a:lnTo>
                  <a:lnTo>
                    <a:pt x="80" y="55"/>
                  </a:lnTo>
                  <a:lnTo>
                    <a:pt x="78" y="57"/>
                  </a:lnTo>
                  <a:lnTo>
                    <a:pt x="61" y="60"/>
                  </a:lnTo>
                  <a:lnTo>
                    <a:pt x="51" y="66"/>
                  </a:lnTo>
                  <a:lnTo>
                    <a:pt x="44" y="66"/>
                  </a:lnTo>
                  <a:lnTo>
                    <a:pt x="37" y="62"/>
                  </a:lnTo>
                  <a:lnTo>
                    <a:pt x="31" y="61"/>
                  </a:lnTo>
                  <a:lnTo>
                    <a:pt x="27" y="65"/>
                  </a:lnTo>
                  <a:lnTo>
                    <a:pt x="26" y="68"/>
                  </a:lnTo>
                  <a:lnTo>
                    <a:pt x="23" y="70"/>
                  </a:lnTo>
                  <a:lnTo>
                    <a:pt x="18" y="67"/>
                  </a:lnTo>
                  <a:lnTo>
                    <a:pt x="15" y="63"/>
                  </a:lnTo>
                  <a:lnTo>
                    <a:pt x="11" y="62"/>
                  </a:lnTo>
                  <a:lnTo>
                    <a:pt x="6" y="62"/>
                  </a:lnTo>
                  <a:lnTo>
                    <a:pt x="0" y="64"/>
                  </a:lnTo>
                  <a:lnTo>
                    <a:pt x="4" y="68"/>
                  </a:lnTo>
                  <a:lnTo>
                    <a:pt x="8" y="71"/>
                  </a:lnTo>
                  <a:lnTo>
                    <a:pt x="9" y="75"/>
                  </a:lnTo>
                  <a:lnTo>
                    <a:pt x="9" y="80"/>
                  </a:lnTo>
                  <a:lnTo>
                    <a:pt x="6" y="84"/>
                  </a:lnTo>
                  <a:lnTo>
                    <a:pt x="9" y="87"/>
                  </a:lnTo>
                  <a:lnTo>
                    <a:pt x="15" y="89"/>
                  </a:lnTo>
                  <a:lnTo>
                    <a:pt x="19" y="90"/>
                  </a:lnTo>
                  <a:lnTo>
                    <a:pt x="23" y="88"/>
                  </a:lnTo>
                  <a:lnTo>
                    <a:pt x="27" y="91"/>
                  </a:lnTo>
                  <a:lnTo>
                    <a:pt x="34" y="93"/>
                  </a:lnTo>
                  <a:lnTo>
                    <a:pt x="36" y="92"/>
                  </a:lnTo>
                  <a:lnTo>
                    <a:pt x="45" y="90"/>
                  </a:lnTo>
                  <a:lnTo>
                    <a:pt x="55" y="86"/>
                  </a:lnTo>
                  <a:lnTo>
                    <a:pt x="65" y="85"/>
                  </a:lnTo>
                  <a:lnTo>
                    <a:pt x="70" y="84"/>
                  </a:lnTo>
                  <a:lnTo>
                    <a:pt x="72" y="82"/>
                  </a:lnTo>
                  <a:lnTo>
                    <a:pt x="75" y="82"/>
                  </a:lnTo>
                  <a:lnTo>
                    <a:pt x="77" y="83"/>
                  </a:lnTo>
                  <a:lnTo>
                    <a:pt x="77" y="85"/>
                  </a:lnTo>
                  <a:lnTo>
                    <a:pt x="78" y="89"/>
                  </a:lnTo>
                  <a:lnTo>
                    <a:pt x="79" y="93"/>
                  </a:lnTo>
                  <a:lnTo>
                    <a:pt x="86" y="97"/>
                  </a:lnTo>
                  <a:lnTo>
                    <a:pt x="88" y="97"/>
                  </a:lnTo>
                  <a:lnTo>
                    <a:pt x="93" y="101"/>
                  </a:lnTo>
                  <a:lnTo>
                    <a:pt x="109" y="103"/>
                  </a:lnTo>
                  <a:lnTo>
                    <a:pt x="116" y="105"/>
                  </a:lnTo>
                  <a:lnTo>
                    <a:pt x="121" y="106"/>
                  </a:lnTo>
                  <a:lnTo>
                    <a:pt x="129" y="106"/>
                  </a:lnTo>
                  <a:lnTo>
                    <a:pt x="144" y="107"/>
                  </a:lnTo>
                  <a:lnTo>
                    <a:pt x="149" y="104"/>
                  </a:lnTo>
                  <a:lnTo>
                    <a:pt x="153" y="99"/>
                  </a:lnTo>
                  <a:lnTo>
                    <a:pt x="160" y="97"/>
                  </a:lnTo>
                  <a:lnTo>
                    <a:pt x="170" y="99"/>
                  </a:lnTo>
                  <a:lnTo>
                    <a:pt x="172" y="95"/>
                  </a:lnTo>
                  <a:lnTo>
                    <a:pt x="175" y="95"/>
                  </a:lnTo>
                  <a:lnTo>
                    <a:pt x="184" y="96"/>
                  </a:lnTo>
                  <a:lnTo>
                    <a:pt x="185" y="92"/>
                  </a:lnTo>
                  <a:lnTo>
                    <a:pt x="189" y="90"/>
                  </a:lnTo>
                  <a:lnTo>
                    <a:pt x="194" y="84"/>
                  </a:lnTo>
                  <a:lnTo>
                    <a:pt x="200" y="83"/>
                  </a:lnTo>
                  <a:lnTo>
                    <a:pt x="199" y="77"/>
                  </a:lnTo>
                  <a:lnTo>
                    <a:pt x="200" y="72"/>
                  </a:lnTo>
                  <a:lnTo>
                    <a:pt x="204" y="62"/>
                  </a:lnTo>
                  <a:lnTo>
                    <a:pt x="201" y="58"/>
                  </a:lnTo>
                  <a:lnTo>
                    <a:pt x="203" y="54"/>
                  </a:lnTo>
                  <a:lnTo>
                    <a:pt x="216" y="54"/>
                  </a:lnTo>
                  <a:lnTo>
                    <a:pt x="219" y="49"/>
                  </a:lnTo>
                  <a:lnTo>
                    <a:pt x="219" y="39"/>
                  </a:lnTo>
                  <a:lnTo>
                    <a:pt x="215" y="32"/>
                  </a:lnTo>
                  <a:lnTo>
                    <a:pt x="212" y="21"/>
                  </a:lnTo>
                  <a:lnTo>
                    <a:pt x="212" y="13"/>
                  </a:lnTo>
                  <a:lnTo>
                    <a:pt x="208" y="8"/>
                  </a:lnTo>
                  <a:lnTo>
                    <a:pt x="190" y="10"/>
                  </a:lnTo>
                  <a:lnTo>
                    <a:pt x="182" y="3"/>
                  </a:lnTo>
                  <a:lnTo>
                    <a:pt x="178" y="1"/>
                  </a:lnTo>
                  <a:lnTo>
                    <a:pt x="160" y="0"/>
                  </a:lnTo>
                  <a:lnTo>
                    <a:pt x="157" y="5"/>
                  </a:lnTo>
                  <a:lnTo>
                    <a:pt x="155" y="10"/>
                  </a:lnTo>
                  <a:lnTo>
                    <a:pt x="150" y="14"/>
                  </a:lnTo>
                  <a:lnTo>
                    <a:pt x="146" y="16"/>
                  </a:lnTo>
                  <a:lnTo>
                    <a:pt x="140" y="17"/>
                  </a:lnTo>
                  <a:lnTo>
                    <a:pt x="134" y="16"/>
                  </a:lnTo>
                  <a:lnTo>
                    <a:pt x="130" y="13"/>
                  </a:lnTo>
                  <a:lnTo>
                    <a:pt x="124" y="10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23" name="Freeform 83"/>
            <p:cNvSpPr>
              <a:spLocks/>
            </p:cNvSpPr>
            <p:nvPr/>
          </p:nvSpPr>
          <p:spPr bwMode="auto">
            <a:xfrm>
              <a:off x="2067" y="2757"/>
              <a:ext cx="219" cy="107"/>
            </a:xfrm>
            <a:custGeom>
              <a:avLst/>
              <a:gdLst>
                <a:gd name="T0" fmla="*/ 123 w 219"/>
                <a:gd name="T1" fmla="*/ 14 h 107"/>
                <a:gd name="T2" fmla="*/ 112 w 219"/>
                <a:gd name="T3" fmla="*/ 23 h 107"/>
                <a:gd name="T4" fmla="*/ 98 w 219"/>
                <a:gd name="T5" fmla="*/ 32 h 107"/>
                <a:gd name="T6" fmla="*/ 97 w 219"/>
                <a:gd name="T7" fmla="*/ 47 h 107"/>
                <a:gd name="T8" fmla="*/ 100 w 219"/>
                <a:gd name="T9" fmla="*/ 59 h 107"/>
                <a:gd name="T10" fmla="*/ 94 w 219"/>
                <a:gd name="T11" fmla="*/ 57 h 107"/>
                <a:gd name="T12" fmla="*/ 80 w 219"/>
                <a:gd name="T13" fmla="*/ 55 h 107"/>
                <a:gd name="T14" fmla="*/ 61 w 219"/>
                <a:gd name="T15" fmla="*/ 60 h 107"/>
                <a:gd name="T16" fmla="*/ 44 w 219"/>
                <a:gd name="T17" fmla="*/ 66 h 107"/>
                <a:gd name="T18" fmla="*/ 31 w 219"/>
                <a:gd name="T19" fmla="*/ 61 h 107"/>
                <a:gd name="T20" fmla="*/ 26 w 219"/>
                <a:gd name="T21" fmla="*/ 68 h 107"/>
                <a:gd name="T22" fmla="*/ 18 w 219"/>
                <a:gd name="T23" fmla="*/ 67 h 107"/>
                <a:gd name="T24" fmla="*/ 11 w 219"/>
                <a:gd name="T25" fmla="*/ 62 h 107"/>
                <a:gd name="T26" fmla="*/ 0 w 219"/>
                <a:gd name="T27" fmla="*/ 64 h 107"/>
                <a:gd name="T28" fmla="*/ 8 w 219"/>
                <a:gd name="T29" fmla="*/ 71 h 107"/>
                <a:gd name="T30" fmla="*/ 9 w 219"/>
                <a:gd name="T31" fmla="*/ 80 h 107"/>
                <a:gd name="T32" fmla="*/ 9 w 219"/>
                <a:gd name="T33" fmla="*/ 87 h 107"/>
                <a:gd name="T34" fmla="*/ 19 w 219"/>
                <a:gd name="T35" fmla="*/ 90 h 107"/>
                <a:gd name="T36" fmla="*/ 27 w 219"/>
                <a:gd name="T37" fmla="*/ 91 h 107"/>
                <a:gd name="T38" fmla="*/ 36 w 219"/>
                <a:gd name="T39" fmla="*/ 92 h 107"/>
                <a:gd name="T40" fmla="*/ 55 w 219"/>
                <a:gd name="T41" fmla="*/ 86 h 107"/>
                <a:gd name="T42" fmla="*/ 70 w 219"/>
                <a:gd name="T43" fmla="*/ 84 h 107"/>
                <a:gd name="T44" fmla="*/ 75 w 219"/>
                <a:gd name="T45" fmla="*/ 82 h 107"/>
                <a:gd name="T46" fmla="*/ 77 w 219"/>
                <a:gd name="T47" fmla="*/ 85 h 107"/>
                <a:gd name="T48" fmla="*/ 79 w 219"/>
                <a:gd name="T49" fmla="*/ 93 h 107"/>
                <a:gd name="T50" fmla="*/ 88 w 219"/>
                <a:gd name="T51" fmla="*/ 97 h 107"/>
                <a:gd name="T52" fmla="*/ 109 w 219"/>
                <a:gd name="T53" fmla="*/ 103 h 107"/>
                <a:gd name="T54" fmla="*/ 121 w 219"/>
                <a:gd name="T55" fmla="*/ 106 h 107"/>
                <a:gd name="T56" fmla="*/ 144 w 219"/>
                <a:gd name="T57" fmla="*/ 107 h 107"/>
                <a:gd name="T58" fmla="*/ 153 w 219"/>
                <a:gd name="T59" fmla="*/ 99 h 107"/>
                <a:gd name="T60" fmla="*/ 170 w 219"/>
                <a:gd name="T61" fmla="*/ 99 h 107"/>
                <a:gd name="T62" fmla="*/ 175 w 219"/>
                <a:gd name="T63" fmla="*/ 95 h 107"/>
                <a:gd name="T64" fmla="*/ 185 w 219"/>
                <a:gd name="T65" fmla="*/ 92 h 107"/>
                <a:gd name="T66" fmla="*/ 194 w 219"/>
                <a:gd name="T67" fmla="*/ 84 h 107"/>
                <a:gd name="T68" fmla="*/ 199 w 219"/>
                <a:gd name="T69" fmla="*/ 77 h 107"/>
                <a:gd name="T70" fmla="*/ 204 w 219"/>
                <a:gd name="T71" fmla="*/ 62 h 107"/>
                <a:gd name="T72" fmla="*/ 203 w 219"/>
                <a:gd name="T73" fmla="*/ 54 h 107"/>
                <a:gd name="T74" fmla="*/ 219 w 219"/>
                <a:gd name="T75" fmla="*/ 49 h 107"/>
                <a:gd name="T76" fmla="*/ 215 w 219"/>
                <a:gd name="T77" fmla="*/ 32 h 107"/>
                <a:gd name="T78" fmla="*/ 212 w 219"/>
                <a:gd name="T79" fmla="*/ 13 h 107"/>
                <a:gd name="T80" fmla="*/ 190 w 219"/>
                <a:gd name="T81" fmla="*/ 10 h 107"/>
                <a:gd name="T82" fmla="*/ 178 w 219"/>
                <a:gd name="T83" fmla="*/ 1 h 107"/>
                <a:gd name="T84" fmla="*/ 157 w 219"/>
                <a:gd name="T85" fmla="*/ 5 h 107"/>
                <a:gd name="T86" fmla="*/ 150 w 219"/>
                <a:gd name="T87" fmla="*/ 14 h 107"/>
                <a:gd name="T88" fmla="*/ 140 w 219"/>
                <a:gd name="T89" fmla="*/ 17 h 107"/>
                <a:gd name="T90" fmla="*/ 130 w 219"/>
                <a:gd name="T91" fmla="*/ 13 h 107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19"/>
                <a:gd name="T139" fmla="*/ 0 h 107"/>
                <a:gd name="T140" fmla="*/ 219 w 219"/>
                <a:gd name="T141" fmla="*/ 107 h 107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19" h="107">
                  <a:moveTo>
                    <a:pt x="124" y="10"/>
                  </a:moveTo>
                  <a:lnTo>
                    <a:pt x="123" y="14"/>
                  </a:lnTo>
                  <a:lnTo>
                    <a:pt x="114" y="18"/>
                  </a:lnTo>
                  <a:lnTo>
                    <a:pt x="112" y="23"/>
                  </a:lnTo>
                  <a:lnTo>
                    <a:pt x="110" y="27"/>
                  </a:lnTo>
                  <a:lnTo>
                    <a:pt x="98" y="32"/>
                  </a:lnTo>
                  <a:lnTo>
                    <a:pt x="96" y="38"/>
                  </a:lnTo>
                  <a:lnTo>
                    <a:pt x="97" y="47"/>
                  </a:lnTo>
                  <a:lnTo>
                    <a:pt x="100" y="55"/>
                  </a:lnTo>
                  <a:lnTo>
                    <a:pt x="100" y="59"/>
                  </a:lnTo>
                  <a:lnTo>
                    <a:pt x="96" y="61"/>
                  </a:lnTo>
                  <a:lnTo>
                    <a:pt x="94" y="57"/>
                  </a:lnTo>
                  <a:lnTo>
                    <a:pt x="86" y="57"/>
                  </a:lnTo>
                  <a:lnTo>
                    <a:pt x="80" y="55"/>
                  </a:lnTo>
                  <a:lnTo>
                    <a:pt x="78" y="57"/>
                  </a:lnTo>
                  <a:lnTo>
                    <a:pt x="61" y="60"/>
                  </a:lnTo>
                  <a:lnTo>
                    <a:pt x="51" y="66"/>
                  </a:lnTo>
                  <a:lnTo>
                    <a:pt x="44" y="66"/>
                  </a:lnTo>
                  <a:lnTo>
                    <a:pt x="37" y="62"/>
                  </a:lnTo>
                  <a:lnTo>
                    <a:pt x="31" y="61"/>
                  </a:lnTo>
                  <a:lnTo>
                    <a:pt x="27" y="65"/>
                  </a:lnTo>
                  <a:lnTo>
                    <a:pt x="26" y="68"/>
                  </a:lnTo>
                  <a:lnTo>
                    <a:pt x="23" y="70"/>
                  </a:lnTo>
                  <a:lnTo>
                    <a:pt x="18" y="67"/>
                  </a:lnTo>
                  <a:lnTo>
                    <a:pt x="15" y="63"/>
                  </a:lnTo>
                  <a:lnTo>
                    <a:pt x="11" y="62"/>
                  </a:lnTo>
                  <a:lnTo>
                    <a:pt x="6" y="62"/>
                  </a:lnTo>
                  <a:lnTo>
                    <a:pt x="0" y="64"/>
                  </a:lnTo>
                  <a:lnTo>
                    <a:pt x="4" y="68"/>
                  </a:lnTo>
                  <a:lnTo>
                    <a:pt x="8" y="71"/>
                  </a:lnTo>
                  <a:lnTo>
                    <a:pt x="9" y="75"/>
                  </a:lnTo>
                  <a:lnTo>
                    <a:pt x="9" y="80"/>
                  </a:lnTo>
                  <a:lnTo>
                    <a:pt x="6" y="84"/>
                  </a:lnTo>
                  <a:lnTo>
                    <a:pt x="9" y="87"/>
                  </a:lnTo>
                  <a:lnTo>
                    <a:pt x="15" y="89"/>
                  </a:lnTo>
                  <a:lnTo>
                    <a:pt x="19" y="90"/>
                  </a:lnTo>
                  <a:lnTo>
                    <a:pt x="23" y="88"/>
                  </a:lnTo>
                  <a:lnTo>
                    <a:pt x="27" y="91"/>
                  </a:lnTo>
                  <a:lnTo>
                    <a:pt x="34" y="93"/>
                  </a:lnTo>
                  <a:lnTo>
                    <a:pt x="36" y="92"/>
                  </a:lnTo>
                  <a:lnTo>
                    <a:pt x="45" y="90"/>
                  </a:lnTo>
                  <a:lnTo>
                    <a:pt x="55" y="86"/>
                  </a:lnTo>
                  <a:lnTo>
                    <a:pt x="65" y="85"/>
                  </a:lnTo>
                  <a:lnTo>
                    <a:pt x="70" y="84"/>
                  </a:lnTo>
                  <a:lnTo>
                    <a:pt x="72" y="82"/>
                  </a:lnTo>
                  <a:lnTo>
                    <a:pt x="75" y="82"/>
                  </a:lnTo>
                  <a:lnTo>
                    <a:pt x="77" y="83"/>
                  </a:lnTo>
                  <a:lnTo>
                    <a:pt x="77" y="85"/>
                  </a:lnTo>
                  <a:lnTo>
                    <a:pt x="78" y="89"/>
                  </a:lnTo>
                  <a:lnTo>
                    <a:pt x="79" y="93"/>
                  </a:lnTo>
                  <a:lnTo>
                    <a:pt x="86" y="97"/>
                  </a:lnTo>
                  <a:lnTo>
                    <a:pt x="88" y="97"/>
                  </a:lnTo>
                  <a:lnTo>
                    <a:pt x="93" y="101"/>
                  </a:lnTo>
                  <a:lnTo>
                    <a:pt x="109" y="103"/>
                  </a:lnTo>
                  <a:lnTo>
                    <a:pt x="116" y="105"/>
                  </a:lnTo>
                  <a:lnTo>
                    <a:pt x="121" y="106"/>
                  </a:lnTo>
                  <a:lnTo>
                    <a:pt x="129" y="106"/>
                  </a:lnTo>
                  <a:lnTo>
                    <a:pt x="144" y="107"/>
                  </a:lnTo>
                  <a:lnTo>
                    <a:pt x="149" y="104"/>
                  </a:lnTo>
                  <a:lnTo>
                    <a:pt x="153" y="99"/>
                  </a:lnTo>
                  <a:lnTo>
                    <a:pt x="160" y="97"/>
                  </a:lnTo>
                  <a:lnTo>
                    <a:pt x="170" y="99"/>
                  </a:lnTo>
                  <a:lnTo>
                    <a:pt x="172" y="95"/>
                  </a:lnTo>
                  <a:lnTo>
                    <a:pt x="175" y="95"/>
                  </a:lnTo>
                  <a:lnTo>
                    <a:pt x="184" y="96"/>
                  </a:lnTo>
                  <a:lnTo>
                    <a:pt x="185" y="92"/>
                  </a:lnTo>
                  <a:lnTo>
                    <a:pt x="189" y="90"/>
                  </a:lnTo>
                  <a:lnTo>
                    <a:pt x="194" y="84"/>
                  </a:lnTo>
                  <a:lnTo>
                    <a:pt x="200" y="83"/>
                  </a:lnTo>
                  <a:lnTo>
                    <a:pt x="199" y="77"/>
                  </a:lnTo>
                  <a:lnTo>
                    <a:pt x="200" y="72"/>
                  </a:lnTo>
                  <a:lnTo>
                    <a:pt x="204" y="62"/>
                  </a:lnTo>
                  <a:lnTo>
                    <a:pt x="201" y="58"/>
                  </a:lnTo>
                  <a:lnTo>
                    <a:pt x="203" y="54"/>
                  </a:lnTo>
                  <a:lnTo>
                    <a:pt x="216" y="54"/>
                  </a:lnTo>
                  <a:lnTo>
                    <a:pt x="219" y="49"/>
                  </a:lnTo>
                  <a:lnTo>
                    <a:pt x="219" y="39"/>
                  </a:lnTo>
                  <a:lnTo>
                    <a:pt x="215" y="32"/>
                  </a:lnTo>
                  <a:lnTo>
                    <a:pt x="212" y="21"/>
                  </a:lnTo>
                  <a:lnTo>
                    <a:pt x="212" y="13"/>
                  </a:lnTo>
                  <a:lnTo>
                    <a:pt x="208" y="8"/>
                  </a:lnTo>
                  <a:lnTo>
                    <a:pt x="190" y="10"/>
                  </a:lnTo>
                  <a:lnTo>
                    <a:pt x="182" y="3"/>
                  </a:lnTo>
                  <a:lnTo>
                    <a:pt x="178" y="1"/>
                  </a:lnTo>
                  <a:lnTo>
                    <a:pt x="160" y="0"/>
                  </a:lnTo>
                  <a:lnTo>
                    <a:pt x="157" y="5"/>
                  </a:lnTo>
                  <a:lnTo>
                    <a:pt x="155" y="10"/>
                  </a:lnTo>
                  <a:lnTo>
                    <a:pt x="150" y="14"/>
                  </a:lnTo>
                  <a:lnTo>
                    <a:pt x="146" y="16"/>
                  </a:lnTo>
                  <a:lnTo>
                    <a:pt x="140" y="17"/>
                  </a:lnTo>
                  <a:lnTo>
                    <a:pt x="134" y="16"/>
                  </a:lnTo>
                  <a:lnTo>
                    <a:pt x="130" y="13"/>
                  </a:lnTo>
                  <a:lnTo>
                    <a:pt x="124" y="1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22" name="Group 87"/>
          <p:cNvGrpSpPr>
            <a:grpSpLocks/>
          </p:cNvGrpSpPr>
          <p:nvPr/>
        </p:nvGrpSpPr>
        <p:grpSpPr bwMode="auto">
          <a:xfrm>
            <a:off x="4270375" y="4068763"/>
            <a:ext cx="14288" cy="25400"/>
            <a:chOff x="1932" y="2563"/>
            <a:chExt cx="9" cy="16"/>
          </a:xfrm>
        </p:grpSpPr>
        <p:sp>
          <p:nvSpPr>
            <p:cNvPr id="34420" name="Freeform 85"/>
            <p:cNvSpPr>
              <a:spLocks/>
            </p:cNvSpPr>
            <p:nvPr/>
          </p:nvSpPr>
          <p:spPr bwMode="auto">
            <a:xfrm>
              <a:off x="1932" y="2563"/>
              <a:ext cx="9" cy="16"/>
            </a:xfrm>
            <a:custGeom>
              <a:avLst/>
              <a:gdLst>
                <a:gd name="T0" fmla="*/ 9 w 9"/>
                <a:gd name="T1" fmla="*/ 6 h 16"/>
                <a:gd name="T2" fmla="*/ 9 w 9"/>
                <a:gd name="T3" fmla="*/ 0 h 16"/>
                <a:gd name="T4" fmla="*/ 9 w 9"/>
                <a:gd name="T5" fmla="*/ 1 h 16"/>
                <a:gd name="T6" fmla="*/ 6 w 9"/>
                <a:gd name="T7" fmla="*/ 6 h 16"/>
                <a:gd name="T8" fmla="*/ 2 w 9"/>
                <a:gd name="T9" fmla="*/ 12 h 16"/>
                <a:gd name="T10" fmla="*/ 0 w 9"/>
                <a:gd name="T11" fmla="*/ 16 h 16"/>
                <a:gd name="T12" fmla="*/ 5 w 9"/>
                <a:gd name="T13" fmla="*/ 13 h 16"/>
                <a:gd name="T14" fmla="*/ 6 w 9"/>
                <a:gd name="T15" fmla="*/ 8 h 16"/>
                <a:gd name="T16" fmla="*/ 9 w 9"/>
                <a:gd name="T17" fmla="*/ 6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16"/>
                <a:gd name="T29" fmla="*/ 9 w 9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16">
                  <a:moveTo>
                    <a:pt x="9" y="6"/>
                  </a:moveTo>
                  <a:lnTo>
                    <a:pt x="9" y="0"/>
                  </a:lnTo>
                  <a:lnTo>
                    <a:pt x="9" y="1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16"/>
                  </a:lnTo>
                  <a:lnTo>
                    <a:pt x="5" y="13"/>
                  </a:lnTo>
                  <a:lnTo>
                    <a:pt x="6" y="8"/>
                  </a:lnTo>
                  <a:lnTo>
                    <a:pt x="9" y="6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21" name="Freeform 86"/>
            <p:cNvSpPr>
              <a:spLocks/>
            </p:cNvSpPr>
            <p:nvPr/>
          </p:nvSpPr>
          <p:spPr bwMode="auto">
            <a:xfrm>
              <a:off x="1932" y="2563"/>
              <a:ext cx="9" cy="16"/>
            </a:xfrm>
            <a:custGeom>
              <a:avLst/>
              <a:gdLst>
                <a:gd name="T0" fmla="*/ 9 w 9"/>
                <a:gd name="T1" fmla="*/ 6 h 16"/>
                <a:gd name="T2" fmla="*/ 9 w 9"/>
                <a:gd name="T3" fmla="*/ 0 h 16"/>
                <a:gd name="T4" fmla="*/ 9 w 9"/>
                <a:gd name="T5" fmla="*/ 1 h 16"/>
                <a:gd name="T6" fmla="*/ 6 w 9"/>
                <a:gd name="T7" fmla="*/ 6 h 16"/>
                <a:gd name="T8" fmla="*/ 2 w 9"/>
                <a:gd name="T9" fmla="*/ 12 h 16"/>
                <a:gd name="T10" fmla="*/ 0 w 9"/>
                <a:gd name="T11" fmla="*/ 16 h 16"/>
                <a:gd name="T12" fmla="*/ 5 w 9"/>
                <a:gd name="T13" fmla="*/ 13 h 16"/>
                <a:gd name="T14" fmla="*/ 6 w 9"/>
                <a:gd name="T15" fmla="*/ 8 h 16"/>
                <a:gd name="T16" fmla="*/ 9 w 9"/>
                <a:gd name="T17" fmla="*/ 6 h 1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16"/>
                <a:gd name="T29" fmla="*/ 9 w 9"/>
                <a:gd name="T30" fmla="*/ 16 h 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16">
                  <a:moveTo>
                    <a:pt x="9" y="6"/>
                  </a:moveTo>
                  <a:lnTo>
                    <a:pt x="9" y="0"/>
                  </a:lnTo>
                  <a:lnTo>
                    <a:pt x="9" y="1"/>
                  </a:lnTo>
                  <a:lnTo>
                    <a:pt x="6" y="6"/>
                  </a:lnTo>
                  <a:lnTo>
                    <a:pt x="2" y="12"/>
                  </a:lnTo>
                  <a:lnTo>
                    <a:pt x="0" y="16"/>
                  </a:lnTo>
                  <a:lnTo>
                    <a:pt x="5" y="13"/>
                  </a:lnTo>
                  <a:lnTo>
                    <a:pt x="6" y="8"/>
                  </a:lnTo>
                  <a:lnTo>
                    <a:pt x="9" y="6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23" name="Group 90"/>
          <p:cNvGrpSpPr>
            <a:grpSpLocks/>
          </p:cNvGrpSpPr>
          <p:nvPr/>
        </p:nvGrpSpPr>
        <p:grpSpPr bwMode="auto">
          <a:xfrm>
            <a:off x="4238625" y="4178300"/>
            <a:ext cx="12700" cy="9525"/>
            <a:chOff x="1912" y="2632"/>
            <a:chExt cx="8" cy="6"/>
          </a:xfrm>
        </p:grpSpPr>
        <p:sp>
          <p:nvSpPr>
            <p:cNvPr id="34418" name="Freeform 88"/>
            <p:cNvSpPr>
              <a:spLocks/>
            </p:cNvSpPr>
            <p:nvPr/>
          </p:nvSpPr>
          <p:spPr bwMode="auto">
            <a:xfrm>
              <a:off x="1912" y="2632"/>
              <a:ext cx="8" cy="6"/>
            </a:xfrm>
            <a:custGeom>
              <a:avLst/>
              <a:gdLst>
                <a:gd name="T0" fmla="*/ 1 w 8"/>
                <a:gd name="T1" fmla="*/ 2 h 6"/>
                <a:gd name="T2" fmla="*/ 0 w 8"/>
                <a:gd name="T3" fmla="*/ 0 h 6"/>
                <a:gd name="T4" fmla="*/ 3 w 8"/>
                <a:gd name="T5" fmla="*/ 0 h 6"/>
                <a:gd name="T6" fmla="*/ 8 w 8"/>
                <a:gd name="T7" fmla="*/ 5 h 6"/>
                <a:gd name="T8" fmla="*/ 8 w 8"/>
                <a:gd name="T9" fmla="*/ 6 h 6"/>
                <a:gd name="T10" fmla="*/ 1 w 8"/>
                <a:gd name="T11" fmla="*/ 2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1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8" y="5"/>
                  </a:lnTo>
                  <a:lnTo>
                    <a:pt x="8" y="6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19" name="Freeform 89"/>
            <p:cNvSpPr>
              <a:spLocks/>
            </p:cNvSpPr>
            <p:nvPr/>
          </p:nvSpPr>
          <p:spPr bwMode="auto">
            <a:xfrm>
              <a:off x="1912" y="2632"/>
              <a:ext cx="8" cy="6"/>
            </a:xfrm>
            <a:custGeom>
              <a:avLst/>
              <a:gdLst>
                <a:gd name="T0" fmla="*/ 1 w 8"/>
                <a:gd name="T1" fmla="*/ 2 h 6"/>
                <a:gd name="T2" fmla="*/ 0 w 8"/>
                <a:gd name="T3" fmla="*/ 0 h 6"/>
                <a:gd name="T4" fmla="*/ 3 w 8"/>
                <a:gd name="T5" fmla="*/ 0 h 6"/>
                <a:gd name="T6" fmla="*/ 8 w 8"/>
                <a:gd name="T7" fmla="*/ 5 h 6"/>
                <a:gd name="T8" fmla="*/ 8 w 8"/>
                <a:gd name="T9" fmla="*/ 6 h 6"/>
                <a:gd name="T10" fmla="*/ 1 w 8"/>
                <a:gd name="T11" fmla="*/ 2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1" y="2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8" y="5"/>
                  </a:lnTo>
                  <a:lnTo>
                    <a:pt x="8" y="6"/>
                  </a:lnTo>
                  <a:lnTo>
                    <a:pt x="1" y="2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24" name="Group 93"/>
          <p:cNvGrpSpPr>
            <a:grpSpLocks/>
          </p:cNvGrpSpPr>
          <p:nvPr/>
        </p:nvGrpSpPr>
        <p:grpSpPr bwMode="auto">
          <a:xfrm>
            <a:off x="4227513" y="4184650"/>
            <a:ext cx="12700" cy="6350"/>
            <a:chOff x="1905" y="2636"/>
            <a:chExt cx="8" cy="4"/>
          </a:xfrm>
        </p:grpSpPr>
        <p:sp>
          <p:nvSpPr>
            <p:cNvPr id="34416" name="Freeform 91"/>
            <p:cNvSpPr>
              <a:spLocks/>
            </p:cNvSpPr>
            <p:nvPr/>
          </p:nvSpPr>
          <p:spPr bwMode="auto">
            <a:xfrm>
              <a:off x="1905" y="2636"/>
              <a:ext cx="8" cy="4"/>
            </a:xfrm>
            <a:custGeom>
              <a:avLst/>
              <a:gdLst>
                <a:gd name="T0" fmla="*/ 0 w 8"/>
                <a:gd name="T1" fmla="*/ 1 h 4"/>
                <a:gd name="T2" fmla="*/ 3 w 8"/>
                <a:gd name="T3" fmla="*/ 0 h 4"/>
                <a:gd name="T4" fmla="*/ 7 w 8"/>
                <a:gd name="T5" fmla="*/ 2 h 4"/>
                <a:gd name="T6" fmla="*/ 8 w 8"/>
                <a:gd name="T7" fmla="*/ 4 h 4"/>
                <a:gd name="T8" fmla="*/ 0 w 8"/>
                <a:gd name="T9" fmla="*/ 1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1"/>
                  </a:moveTo>
                  <a:lnTo>
                    <a:pt x="3" y="0"/>
                  </a:lnTo>
                  <a:lnTo>
                    <a:pt x="7" y="2"/>
                  </a:lnTo>
                  <a:lnTo>
                    <a:pt x="8" y="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17" name="Freeform 92"/>
            <p:cNvSpPr>
              <a:spLocks/>
            </p:cNvSpPr>
            <p:nvPr/>
          </p:nvSpPr>
          <p:spPr bwMode="auto">
            <a:xfrm>
              <a:off x="1905" y="2636"/>
              <a:ext cx="8" cy="4"/>
            </a:xfrm>
            <a:custGeom>
              <a:avLst/>
              <a:gdLst>
                <a:gd name="T0" fmla="*/ 0 w 8"/>
                <a:gd name="T1" fmla="*/ 1 h 4"/>
                <a:gd name="T2" fmla="*/ 3 w 8"/>
                <a:gd name="T3" fmla="*/ 0 h 4"/>
                <a:gd name="T4" fmla="*/ 7 w 8"/>
                <a:gd name="T5" fmla="*/ 2 h 4"/>
                <a:gd name="T6" fmla="*/ 8 w 8"/>
                <a:gd name="T7" fmla="*/ 4 h 4"/>
                <a:gd name="T8" fmla="*/ 0 w 8"/>
                <a:gd name="T9" fmla="*/ 1 h 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4"/>
                <a:gd name="T17" fmla="*/ 8 w 8"/>
                <a:gd name="T18" fmla="*/ 4 h 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4">
                  <a:moveTo>
                    <a:pt x="0" y="1"/>
                  </a:moveTo>
                  <a:lnTo>
                    <a:pt x="3" y="0"/>
                  </a:lnTo>
                  <a:lnTo>
                    <a:pt x="7" y="2"/>
                  </a:lnTo>
                  <a:lnTo>
                    <a:pt x="8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25" name="Group 96"/>
          <p:cNvGrpSpPr>
            <a:grpSpLocks/>
          </p:cNvGrpSpPr>
          <p:nvPr/>
        </p:nvGrpSpPr>
        <p:grpSpPr bwMode="auto">
          <a:xfrm>
            <a:off x="4219575" y="4197350"/>
            <a:ext cx="4763" cy="6350"/>
            <a:chOff x="1900" y="2644"/>
            <a:chExt cx="3" cy="4"/>
          </a:xfrm>
        </p:grpSpPr>
        <p:sp>
          <p:nvSpPr>
            <p:cNvPr id="34414" name="Freeform 94"/>
            <p:cNvSpPr>
              <a:spLocks/>
            </p:cNvSpPr>
            <p:nvPr/>
          </p:nvSpPr>
          <p:spPr bwMode="auto">
            <a:xfrm>
              <a:off x="1900" y="2644"/>
              <a:ext cx="3" cy="4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4 h 4"/>
                <a:gd name="T4" fmla="*/ 1 w 3"/>
                <a:gd name="T5" fmla="*/ 4 h 4"/>
                <a:gd name="T6" fmla="*/ 3 w 3"/>
                <a:gd name="T7" fmla="*/ 3 h 4"/>
                <a:gd name="T8" fmla="*/ 3 w 3"/>
                <a:gd name="T9" fmla="*/ 2 h 4"/>
                <a:gd name="T10" fmla="*/ 0 w 3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0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3" y="3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15" name="Freeform 95"/>
            <p:cNvSpPr>
              <a:spLocks/>
            </p:cNvSpPr>
            <p:nvPr/>
          </p:nvSpPr>
          <p:spPr bwMode="auto">
            <a:xfrm>
              <a:off x="1900" y="2644"/>
              <a:ext cx="3" cy="4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4 h 4"/>
                <a:gd name="T4" fmla="*/ 1 w 3"/>
                <a:gd name="T5" fmla="*/ 4 h 4"/>
                <a:gd name="T6" fmla="*/ 3 w 3"/>
                <a:gd name="T7" fmla="*/ 3 h 4"/>
                <a:gd name="T8" fmla="*/ 3 w 3"/>
                <a:gd name="T9" fmla="*/ 2 h 4"/>
                <a:gd name="T10" fmla="*/ 0 w 3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4"/>
                <a:gd name="T20" fmla="*/ 3 w 3"/>
                <a:gd name="T21" fmla="*/ 4 h 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4">
                  <a:moveTo>
                    <a:pt x="0" y="0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3" y="3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26" name="Group 99"/>
          <p:cNvGrpSpPr>
            <a:grpSpLocks/>
          </p:cNvGrpSpPr>
          <p:nvPr/>
        </p:nvGrpSpPr>
        <p:grpSpPr bwMode="auto">
          <a:xfrm>
            <a:off x="4213225" y="4056063"/>
            <a:ext cx="163513" cy="198437"/>
            <a:chOff x="1896" y="2555"/>
            <a:chExt cx="103" cy="125"/>
          </a:xfrm>
        </p:grpSpPr>
        <p:sp>
          <p:nvSpPr>
            <p:cNvPr id="34412" name="Freeform 97"/>
            <p:cNvSpPr>
              <a:spLocks/>
            </p:cNvSpPr>
            <p:nvPr/>
          </p:nvSpPr>
          <p:spPr bwMode="auto">
            <a:xfrm>
              <a:off x="1896" y="2555"/>
              <a:ext cx="103" cy="125"/>
            </a:xfrm>
            <a:custGeom>
              <a:avLst/>
              <a:gdLst>
                <a:gd name="T0" fmla="*/ 66 w 103"/>
                <a:gd name="T1" fmla="*/ 125 h 125"/>
                <a:gd name="T2" fmla="*/ 60 w 103"/>
                <a:gd name="T3" fmla="*/ 116 h 125"/>
                <a:gd name="T4" fmla="*/ 61 w 103"/>
                <a:gd name="T5" fmla="*/ 105 h 125"/>
                <a:gd name="T6" fmla="*/ 51 w 103"/>
                <a:gd name="T7" fmla="*/ 102 h 125"/>
                <a:gd name="T8" fmla="*/ 46 w 103"/>
                <a:gd name="T9" fmla="*/ 96 h 125"/>
                <a:gd name="T10" fmla="*/ 42 w 103"/>
                <a:gd name="T11" fmla="*/ 93 h 125"/>
                <a:gd name="T12" fmla="*/ 27 w 103"/>
                <a:gd name="T13" fmla="*/ 95 h 125"/>
                <a:gd name="T14" fmla="*/ 9 w 103"/>
                <a:gd name="T15" fmla="*/ 103 h 125"/>
                <a:gd name="T16" fmla="*/ 0 w 103"/>
                <a:gd name="T17" fmla="*/ 98 h 125"/>
                <a:gd name="T18" fmla="*/ 5 w 103"/>
                <a:gd name="T19" fmla="*/ 96 h 125"/>
                <a:gd name="T20" fmla="*/ 15 w 103"/>
                <a:gd name="T21" fmla="*/ 98 h 125"/>
                <a:gd name="T22" fmla="*/ 22 w 103"/>
                <a:gd name="T23" fmla="*/ 96 h 125"/>
                <a:gd name="T24" fmla="*/ 13 w 103"/>
                <a:gd name="T25" fmla="*/ 96 h 125"/>
                <a:gd name="T26" fmla="*/ 12 w 103"/>
                <a:gd name="T27" fmla="*/ 90 h 125"/>
                <a:gd name="T28" fmla="*/ 28 w 103"/>
                <a:gd name="T29" fmla="*/ 85 h 125"/>
                <a:gd name="T30" fmla="*/ 41 w 103"/>
                <a:gd name="T31" fmla="*/ 81 h 125"/>
                <a:gd name="T32" fmla="*/ 32 w 103"/>
                <a:gd name="T33" fmla="*/ 82 h 125"/>
                <a:gd name="T34" fmla="*/ 23 w 103"/>
                <a:gd name="T35" fmla="*/ 80 h 125"/>
                <a:gd name="T36" fmla="*/ 20 w 103"/>
                <a:gd name="T37" fmla="*/ 72 h 125"/>
                <a:gd name="T38" fmla="*/ 32 w 103"/>
                <a:gd name="T39" fmla="*/ 56 h 125"/>
                <a:gd name="T40" fmla="*/ 39 w 103"/>
                <a:gd name="T41" fmla="*/ 28 h 125"/>
                <a:gd name="T42" fmla="*/ 46 w 103"/>
                <a:gd name="T43" fmla="*/ 30 h 125"/>
                <a:gd name="T44" fmla="*/ 49 w 103"/>
                <a:gd name="T45" fmla="*/ 34 h 125"/>
                <a:gd name="T46" fmla="*/ 44 w 103"/>
                <a:gd name="T47" fmla="*/ 37 h 125"/>
                <a:gd name="T48" fmla="*/ 43 w 103"/>
                <a:gd name="T49" fmla="*/ 42 h 125"/>
                <a:gd name="T50" fmla="*/ 44 w 103"/>
                <a:gd name="T51" fmla="*/ 49 h 125"/>
                <a:gd name="T52" fmla="*/ 52 w 103"/>
                <a:gd name="T53" fmla="*/ 55 h 125"/>
                <a:gd name="T54" fmla="*/ 56 w 103"/>
                <a:gd name="T55" fmla="*/ 53 h 125"/>
                <a:gd name="T56" fmla="*/ 53 w 103"/>
                <a:gd name="T57" fmla="*/ 46 h 125"/>
                <a:gd name="T58" fmla="*/ 54 w 103"/>
                <a:gd name="T59" fmla="*/ 43 h 125"/>
                <a:gd name="T60" fmla="*/ 58 w 103"/>
                <a:gd name="T61" fmla="*/ 34 h 125"/>
                <a:gd name="T62" fmla="*/ 59 w 103"/>
                <a:gd name="T63" fmla="*/ 27 h 125"/>
                <a:gd name="T64" fmla="*/ 55 w 103"/>
                <a:gd name="T65" fmla="*/ 25 h 125"/>
                <a:gd name="T66" fmla="*/ 54 w 103"/>
                <a:gd name="T67" fmla="*/ 14 h 125"/>
                <a:gd name="T68" fmla="*/ 61 w 103"/>
                <a:gd name="T69" fmla="*/ 6 h 125"/>
                <a:gd name="T70" fmla="*/ 73 w 103"/>
                <a:gd name="T71" fmla="*/ 2 h 125"/>
                <a:gd name="T72" fmla="*/ 85 w 103"/>
                <a:gd name="T73" fmla="*/ 1 h 125"/>
                <a:gd name="T74" fmla="*/ 96 w 103"/>
                <a:gd name="T75" fmla="*/ 2 h 125"/>
                <a:gd name="T76" fmla="*/ 103 w 103"/>
                <a:gd name="T77" fmla="*/ 9 h 125"/>
                <a:gd name="T78" fmla="*/ 89 w 103"/>
                <a:gd name="T79" fmla="*/ 38 h 125"/>
                <a:gd name="T80" fmla="*/ 100 w 103"/>
                <a:gd name="T81" fmla="*/ 47 h 125"/>
                <a:gd name="T82" fmla="*/ 96 w 103"/>
                <a:gd name="T83" fmla="*/ 58 h 125"/>
                <a:gd name="T84" fmla="*/ 90 w 103"/>
                <a:gd name="T85" fmla="*/ 68 h 125"/>
                <a:gd name="T86" fmla="*/ 83 w 103"/>
                <a:gd name="T87" fmla="*/ 74 h 125"/>
                <a:gd name="T88" fmla="*/ 71 w 103"/>
                <a:gd name="T89" fmla="*/ 71 h 125"/>
                <a:gd name="T90" fmla="*/ 73 w 103"/>
                <a:gd name="T91" fmla="*/ 83 h 125"/>
                <a:gd name="T92" fmla="*/ 73 w 103"/>
                <a:gd name="T93" fmla="*/ 95 h 125"/>
                <a:gd name="T94" fmla="*/ 70 w 103"/>
                <a:gd name="T95" fmla="*/ 109 h 125"/>
                <a:gd name="T96" fmla="*/ 72 w 103"/>
                <a:gd name="T97" fmla="*/ 122 h 1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3"/>
                <a:gd name="T148" fmla="*/ 0 h 125"/>
                <a:gd name="T149" fmla="*/ 103 w 103"/>
                <a:gd name="T150" fmla="*/ 125 h 1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3" h="125">
                  <a:moveTo>
                    <a:pt x="72" y="125"/>
                  </a:moveTo>
                  <a:lnTo>
                    <a:pt x="66" y="125"/>
                  </a:lnTo>
                  <a:lnTo>
                    <a:pt x="61" y="121"/>
                  </a:lnTo>
                  <a:lnTo>
                    <a:pt x="60" y="116"/>
                  </a:lnTo>
                  <a:lnTo>
                    <a:pt x="61" y="110"/>
                  </a:lnTo>
                  <a:lnTo>
                    <a:pt x="61" y="105"/>
                  </a:lnTo>
                  <a:lnTo>
                    <a:pt x="57" y="102"/>
                  </a:lnTo>
                  <a:lnTo>
                    <a:pt x="51" y="102"/>
                  </a:lnTo>
                  <a:lnTo>
                    <a:pt x="47" y="99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2" y="93"/>
                  </a:lnTo>
                  <a:lnTo>
                    <a:pt x="33" y="93"/>
                  </a:lnTo>
                  <a:lnTo>
                    <a:pt x="27" y="95"/>
                  </a:lnTo>
                  <a:lnTo>
                    <a:pt x="19" y="100"/>
                  </a:lnTo>
                  <a:lnTo>
                    <a:pt x="9" y="103"/>
                  </a:lnTo>
                  <a:lnTo>
                    <a:pt x="0" y="98"/>
                  </a:lnTo>
                  <a:lnTo>
                    <a:pt x="1" y="97"/>
                  </a:lnTo>
                  <a:lnTo>
                    <a:pt x="5" y="96"/>
                  </a:lnTo>
                  <a:lnTo>
                    <a:pt x="10" y="100"/>
                  </a:lnTo>
                  <a:lnTo>
                    <a:pt x="15" y="98"/>
                  </a:lnTo>
                  <a:lnTo>
                    <a:pt x="20" y="97"/>
                  </a:lnTo>
                  <a:lnTo>
                    <a:pt x="22" y="96"/>
                  </a:lnTo>
                  <a:lnTo>
                    <a:pt x="18" y="95"/>
                  </a:lnTo>
                  <a:lnTo>
                    <a:pt x="13" y="96"/>
                  </a:lnTo>
                  <a:lnTo>
                    <a:pt x="10" y="95"/>
                  </a:lnTo>
                  <a:lnTo>
                    <a:pt x="12" y="90"/>
                  </a:lnTo>
                  <a:lnTo>
                    <a:pt x="23" y="88"/>
                  </a:lnTo>
                  <a:lnTo>
                    <a:pt x="28" y="85"/>
                  </a:lnTo>
                  <a:lnTo>
                    <a:pt x="37" y="83"/>
                  </a:lnTo>
                  <a:lnTo>
                    <a:pt x="41" y="81"/>
                  </a:lnTo>
                  <a:lnTo>
                    <a:pt x="38" y="79"/>
                  </a:lnTo>
                  <a:lnTo>
                    <a:pt x="32" y="82"/>
                  </a:lnTo>
                  <a:lnTo>
                    <a:pt x="27" y="81"/>
                  </a:lnTo>
                  <a:lnTo>
                    <a:pt x="23" y="80"/>
                  </a:lnTo>
                  <a:lnTo>
                    <a:pt x="20" y="77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32" y="56"/>
                  </a:lnTo>
                  <a:lnTo>
                    <a:pt x="36" y="36"/>
                  </a:lnTo>
                  <a:lnTo>
                    <a:pt x="39" y="28"/>
                  </a:lnTo>
                  <a:lnTo>
                    <a:pt x="44" y="26"/>
                  </a:lnTo>
                  <a:lnTo>
                    <a:pt x="46" y="30"/>
                  </a:lnTo>
                  <a:lnTo>
                    <a:pt x="49" y="32"/>
                  </a:lnTo>
                  <a:lnTo>
                    <a:pt x="49" y="34"/>
                  </a:lnTo>
                  <a:lnTo>
                    <a:pt x="49" y="35"/>
                  </a:lnTo>
                  <a:lnTo>
                    <a:pt x="44" y="37"/>
                  </a:lnTo>
                  <a:lnTo>
                    <a:pt x="44" y="38"/>
                  </a:lnTo>
                  <a:lnTo>
                    <a:pt x="43" y="42"/>
                  </a:lnTo>
                  <a:lnTo>
                    <a:pt x="44" y="48"/>
                  </a:lnTo>
                  <a:lnTo>
                    <a:pt x="44" y="49"/>
                  </a:lnTo>
                  <a:lnTo>
                    <a:pt x="47" y="52"/>
                  </a:lnTo>
                  <a:lnTo>
                    <a:pt x="52" y="55"/>
                  </a:lnTo>
                  <a:lnTo>
                    <a:pt x="55" y="55"/>
                  </a:lnTo>
                  <a:lnTo>
                    <a:pt x="56" y="53"/>
                  </a:lnTo>
                  <a:lnTo>
                    <a:pt x="55" y="49"/>
                  </a:lnTo>
                  <a:lnTo>
                    <a:pt x="53" y="46"/>
                  </a:lnTo>
                  <a:lnTo>
                    <a:pt x="52" y="44"/>
                  </a:lnTo>
                  <a:lnTo>
                    <a:pt x="54" y="43"/>
                  </a:lnTo>
                  <a:lnTo>
                    <a:pt x="58" y="40"/>
                  </a:lnTo>
                  <a:lnTo>
                    <a:pt x="58" y="34"/>
                  </a:lnTo>
                  <a:lnTo>
                    <a:pt x="60" y="28"/>
                  </a:lnTo>
                  <a:lnTo>
                    <a:pt x="59" y="27"/>
                  </a:lnTo>
                  <a:lnTo>
                    <a:pt x="55" y="27"/>
                  </a:lnTo>
                  <a:lnTo>
                    <a:pt x="55" y="25"/>
                  </a:lnTo>
                  <a:lnTo>
                    <a:pt x="54" y="17"/>
                  </a:lnTo>
                  <a:lnTo>
                    <a:pt x="54" y="14"/>
                  </a:lnTo>
                  <a:lnTo>
                    <a:pt x="57" y="10"/>
                  </a:lnTo>
                  <a:lnTo>
                    <a:pt x="61" y="6"/>
                  </a:lnTo>
                  <a:lnTo>
                    <a:pt x="67" y="4"/>
                  </a:lnTo>
                  <a:lnTo>
                    <a:pt x="73" y="2"/>
                  </a:lnTo>
                  <a:lnTo>
                    <a:pt x="79" y="4"/>
                  </a:lnTo>
                  <a:lnTo>
                    <a:pt x="85" y="1"/>
                  </a:lnTo>
                  <a:lnTo>
                    <a:pt x="91" y="0"/>
                  </a:lnTo>
                  <a:lnTo>
                    <a:pt x="96" y="2"/>
                  </a:lnTo>
                  <a:lnTo>
                    <a:pt x="101" y="6"/>
                  </a:lnTo>
                  <a:lnTo>
                    <a:pt x="103" y="9"/>
                  </a:lnTo>
                  <a:lnTo>
                    <a:pt x="97" y="33"/>
                  </a:lnTo>
                  <a:lnTo>
                    <a:pt x="89" y="38"/>
                  </a:lnTo>
                  <a:lnTo>
                    <a:pt x="91" y="43"/>
                  </a:lnTo>
                  <a:lnTo>
                    <a:pt x="100" y="47"/>
                  </a:lnTo>
                  <a:lnTo>
                    <a:pt x="100" y="53"/>
                  </a:lnTo>
                  <a:lnTo>
                    <a:pt x="96" y="58"/>
                  </a:lnTo>
                  <a:lnTo>
                    <a:pt x="91" y="62"/>
                  </a:lnTo>
                  <a:lnTo>
                    <a:pt x="90" y="68"/>
                  </a:lnTo>
                  <a:lnTo>
                    <a:pt x="87" y="73"/>
                  </a:lnTo>
                  <a:lnTo>
                    <a:pt x="83" y="74"/>
                  </a:lnTo>
                  <a:lnTo>
                    <a:pt x="76" y="71"/>
                  </a:lnTo>
                  <a:lnTo>
                    <a:pt x="71" y="71"/>
                  </a:lnTo>
                  <a:lnTo>
                    <a:pt x="71" y="76"/>
                  </a:lnTo>
                  <a:lnTo>
                    <a:pt x="73" y="83"/>
                  </a:lnTo>
                  <a:lnTo>
                    <a:pt x="73" y="89"/>
                  </a:lnTo>
                  <a:lnTo>
                    <a:pt x="73" y="95"/>
                  </a:lnTo>
                  <a:lnTo>
                    <a:pt x="73" y="105"/>
                  </a:lnTo>
                  <a:lnTo>
                    <a:pt x="70" y="109"/>
                  </a:lnTo>
                  <a:lnTo>
                    <a:pt x="69" y="113"/>
                  </a:lnTo>
                  <a:lnTo>
                    <a:pt x="72" y="122"/>
                  </a:lnTo>
                  <a:lnTo>
                    <a:pt x="72" y="125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13" name="Freeform 98"/>
            <p:cNvSpPr>
              <a:spLocks/>
            </p:cNvSpPr>
            <p:nvPr/>
          </p:nvSpPr>
          <p:spPr bwMode="auto">
            <a:xfrm>
              <a:off x="1896" y="2555"/>
              <a:ext cx="103" cy="125"/>
            </a:xfrm>
            <a:custGeom>
              <a:avLst/>
              <a:gdLst>
                <a:gd name="T0" fmla="*/ 66 w 103"/>
                <a:gd name="T1" fmla="*/ 125 h 125"/>
                <a:gd name="T2" fmla="*/ 60 w 103"/>
                <a:gd name="T3" fmla="*/ 116 h 125"/>
                <a:gd name="T4" fmla="*/ 61 w 103"/>
                <a:gd name="T5" fmla="*/ 105 h 125"/>
                <a:gd name="T6" fmla="*/ 51 w 103"/>
                <a:gd name="T7" fmla="*/ 102 h 125"/>
                <a:gd name="T8" fmla="*/ 46 w 103"/>
                <a:gd name="T9" fmla="*/ 96 h 125"/>
                <a:gd name="T10" fmla="*/ 42 w 103"/>
                <a:gd name="T11" fmla="*/ 93 h 125"/>
                <a:gd name="T12" fmla="*/ 27 w 103"/>
                <a:gd name="T13" fmla="*/ 95 h 125"/>
                <a:gd name="T14" fmla="*/ 9 w 103"/>
                <a:gd name="T15" fmla="*/ 103 h 125"/>
                <a:gd name="T16" fmla="*/ 0 w 103"/>
                <a:gd name="T17" fmla="*/ 98 h 125"/>
                <a:gd name="T18" fmla="*/ 5 w 103"/>
                <a:gd name="T19" fmla="*/ 96 h 125"/>
                <a:gd name="T20" fmla="*/ 15 w 103"/>
                <a:gd name="T21" fmla="*/ 98 h 125"/>
                <a:gd name="T22" fmla="*/ 22 w 103"/>
                <a:gd name="T23" fmla="*/ 96 h 125"/>
                <a:gd name="T24" fmla="*/ 13 w 103"/>
                <a:gd name="T25" fmla="*/ 96 h 125"/>
                <a:gd name="T26" fmla="*/ 12 w 103"/>
                <a:gd name="T27" fmla="*/ 90 h 125"/>
                <a:gd name="T28" fmla="*/ 28 w 103"/>
                <a:gd name="T29" fmla="*/ 85 h 125"/>
                <a:gd name="T30" fmla="*/ 41 w 103"/>
                <a:gd name="T31" fmla="*/ 81 h 125"/>
                <a:gd name="T32" fmla="*/ 32 w 103"/>
                <a:gd name="T33" fmla="*/ 82 h 125"/>
                <a:gd name="T34" fmla="*/ 23 w 103"/>
                <a:gd name="T35" fmla="*/ 80 h 125"/>
                <a:gd name="T36" fmla="*/ 20 w 103"/>
                <a:gd name="T37" fmla="*/ 72 h 125"/>
                <a:gd name="T38" fmla="*/ 32 w 103"/>
                <a:gd name="T39" fmla="*/ 56 h 125"/>
                <a:gd name="T40" fmla="*/ 39 w 103"/>
                <a:gd name="T41" fmla="*/ 28 h 125"/>
                <a:gd name="T42" fmla="*/ 46 w 103"/>
                <a:gd name="T43" fmla="*/ 30 h 125"/>
                <a:gd name="T44" fmla="*/ 49 w 103"/>
                <a:gd name="T45" fmla="*/ 34 h 125"/>
                <a:gd name="T46" fmla="*/ 44 w 103"/>
                <a:gd name="T47" fmla="*/ 37 h 125"/>
                <a:gd name="T48" fmla="*/ 43 w 103"/>
                <a:gd name="T49" fmla="*/ 42 h 125"/>
                <a:gd name="T50" fmla="*/ 44 w 103"/>
                <a:gd name="T51" fmla="*/ 49 h 125"/>
                <a:gd name="T52" fmla="*/ 52 w 103"/>
                <a:gd name="T53" fmla="*/ 55 h 125"/>
                <a:gd name="T54" fmla="*/ 56 w 103"/>
                <a:gd name="T55" fmla="*/ 53 h 125"/>
                <a:gd name="T56" fmla="*/ 53 w 103"/>
                <a:gd name="T57" fmla="*/ 46 h 125"/>
                <a:gd name="T58" fmla="*/ 54 w 103"/>
                <a:gd name="T59" fmla="*/ 43 h 125"/>
                <a:gd name="T60" fmla="*/ 58 w 103"/>
                <a:gd name="T61" fmla="*/ 34 h 125"/>
                <a:gd name="T62" fmla="*/ 59 w 103"/>
                <a:gd name="T63" fmla="*/ 27 h 125"/>
                <a:gd name="T64" fmla="*/ 55 w 103"/>
                <a:gd name="T65" fmla="*/ 25 h 125"/>
                <a:gd name="T66" fmla="*/ 54 w 103"/>
                <a:gd name="T67" fmla="*/ 14 h 125"/>
                <a:gd name="T68" fmla="*/ 61 w 103"/>
                <a:gd name="T69" fmla="*/ 6 h 125"/>
                <a:gd name="T70" fmla="*/ 73 w 103"/>
                <a:gd name="T71" fmla="*/ 2 h 125"/>
                <a:gd name="T72" fmla="*/ 85 w 103"/>
                <a:gd name="T73" fmla="*/ 1 h 125"/>
                <a:gd name="T74" fmla="*/ 96 w 103"/>
                <a:gd name="T75" fmla="*/ 2 h 125"/>
                <a:gd name="T76" fmla="*/ 103 w 103"/>
                <a:gd name="T77" fmla="*/ 9 h 125"/>
                <a:gd name="T78" fmla="*/ 89 w 103"/>
                <a:gd name="T79" fmla="*/ 38 h 125"/>
                <a:gd name="T80" fmla="*/ 100 w 103"/>
                <a:gd name="T81" fmla="*/ 47 h 125"/>
                <a:gd name="T82" fmla="*/ 96 w 103"/>
                <a:gd name="T83" fmla="*/ 58 h 125"/>
                <a:gd name="T84" fmla="*/ 90 w 103"/>
                <a:gd name="T85" fmla="*/ 68 h 125"/>
                <a:gd name="T86" fmla="*/ 83 w 103"/>
                <a:gd name="T87" fmla="*/ 74 h 125"/>
                <a:gd name="T88" fmla="*/ 71 w 103"/>
                <a:gd name="T89" fmla="*/ 71 h 125"/>
                <a:gd name="T90" fmla="*/ 73 w 103"/>
                <a:gd name="T91" fmla="*/ 83 h 125"/>
                <a:gd name="T92" fmla="*/ 73 w 103"/>
                <a:gd name="T93" fmla="*/ 95 h 125"/>
                <a:gd name="T94" fmla="*/ 70 w 103"/>
                <a:gd name="T95" fmla="*/ 109 h 125"/>
                <a:gd name="T96" fmla="*/ 72 w 103"/>
                <a:gd name="T97" fmla="*/ 122 h 12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03"/>
                <a:gd name="T148" fmla="*/ 0 h 125"/>
                <a:gd name="T149" fmla="*/ 103 w 103"/>
                <a:gd name="T150" fmla="*/ 125 h 125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03" h="125">
                  <a:moveTo>
                    <a:pt x="72" y="125"/>
                  </a:moveTo>
                  <a:lnTo>
                    <a:pt x="66" y="125"/>
                  </a:lnTo>
                  <a:lnTo>
                    <a:pt x="61" y="121"/>
                  </a:lnTo>
                  <a:lnTo>
                    <a:pt x="60" y="116"/>
                  </a:lnTo>
                  <a:lnTo>
                    <a:pt x="61" y="110"/>
                  </a:lnTo>
                  <a:lnTo>
                    <a:pt x="61" y="105"/>
                  </a:lnTo>
                  <a:lnTo>
                    <a:pt x="57" y="102"/>
                  </a:lnTo>
                  <a:lnTo>
                    <a:pt x="51" y="102"/>
                  </a:lnTo>
                  <a:lnTo>
                    <a:pt x="47" y="99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2" y="93"/>
                  </a:lnTo>
                  <a:lnTo>
                    <a:pt x="33" y="93"/>
                  </a:lnTo>
                  <a:lnTo>
                    <a:pt x="27" y="95"/>
                  </a:lnTo>
                  <a:lnTo>
                    <a:pt x="19" y="100"/>
                  </a:lnTo>
                  <a:lnTo>
                    <a:pt x="9" y="103"/>
                  </a:lnTo>
                  <a:lnTo>
                    <a:pt x="0" y="98"/>
                  </a:lnTo>
                  <a:lnTo>
                    <a:pt x="1" y="97"/>
                  </a:lnTo>
                  <a:lnTo>
                    <a:pt x="5" y="96"/>
                  </a:lnTo>
                  <a:lnTo>
                    <a:pt x="10" y="100"/>
                  </a:lnTo>
                  <a:lnTo>
                    <a:pt x="15" y="98"/>
                  </a:lnTo>
                  <a:lnTo>
                    <a:pt x="20" y="97"/>
                  </a:lnTo>
                  <a:lnTo>
                    <a:pt x="22" y="96"/>
                  </a:lnTo>
                  <a:lnTo>
                    <a:pt x="18" y="95"/>
                  </a:lnTo>
                  <a:lnTo>
                    <a:pt x="13" y="96"/>
                  </a:lnTo>
                  <a:lnTo>
                    <a:pt x="10" y="95"/>
                  </a:lnTo>
                  <a:lnTo>
                    <a:pt x="12" y="90"/>
                  </a:lnTo>
                  <a:lnTo>
                    <a:pt x="23" y="88"/>
                  </a:lnTo>
                  <a:lnTo>
                    <a:pt x="28" y="85"/>
                  </a:lnTo>
                  <a:lnTo>
                    <a:pt x="37" y="83"/>
                  </a:lnTo>
                  <a:lnTo>
                    <a:pt x="41" y="81"/>
                  </a:lnTo>
                  <a:lnTo>
                    <a:pt x="38" y="79"/>
                  </a:lnTo>
                  <a:lnTo>
                    <a:pt x="32" y="82"/>
                  </a:lnTo>
                  <a:lnTo>
                    <a:pt x="27" y="81"/>
                  </a:lnTo>
                  <a:lnTo>
                    <a:pt x="23" y="80"/>
                  </a:lnTo>
                  <a:lnTo>
                    <a:pt x="20" y="77"/>
                  </a:lnTo>
                  <a:lnTo>
                    <a:pt x="20" y="72"/>
                  </a:lnTo>
                  <a:lnTo>
                    <a:pt x="20" y="70"/>
                  </a:lnTo>
                  <a:lnTo>
                    <a:pt x="32" y="56"/>
                  </a:lnTo>
                  <a:lnTo>
                    <a:pt x="36" y="36"/>
                  </a:lnTo>
                  <a:lnTo>
                    <a:pt x="39" y="28"/>
                  </a:lnTo>
                  <a:lnTo>
                    <a:pt x="44" y="26"/>
                  </a:lnTo>
                  <a:lnTo>
                    <a:pt x="46" y="30"/>
                  </a:lnTo>
                  <a:lnTo>
                    <a:pt x="49" y="32"/>
                  </a:lnTo>
                  <a:lnTo>
                    <a:pt x="49" y="34"/>
                  </a:lnTo>
                  <a:lnTo>
                    <a:pt x="49" y="35"/>
                  </a:lnTo>
                  <a:lnTo>
                    <a:pt x="44" y="37"/>
                  </a:lnTo>
                  <a:lnTo>
                    <a:pt x="44" y="38"/>
                  </a:lnTo>
                  <a:lnTo>
                    <a:pt x="43" y="42"/>
                  </a:lnTo>
                  <a:lnTo>
                    <a:pt x="44" y="48"/>
                  </a:lnTo>
                  <a:lnTo>
                    <a:pt x="44" y="49"/>
                  </a:lnTo>
                  <a:lnTo>
                    <a:pt x="47" y="52"/>
                  </a:lnTo>
                  <a:lnTo>
                    <a:pt x="52" y="55"/>
                  </a:lnTo>
                  <a:lnTo>
                    <a:pt x="55" y="55"/>
                  </a:lnTo>
                  <a:lnTo>
                    <a:pt x="56" y="53"/>
                  </a:lnTo>
                  <a:lnTo>
                    <a:pt x="55" y="49"/>
                  </a:lnTo>
                  <a:lnTo>
                    <a:pt x="53" y="46"/>
                  </a:lnTo>
                  <a:lnTo>
                    <a:pt x="52" y="44"/>
                  </a:lnTo>
                  <a:lnTo>
                    <a:pt x="54" y="43"/>
                  </a:lnTo>
                  <a:lnTo>
                    <a:pt x="58" y="40"/>
                  </a:lnTo>
                  <a:lnTo>
                    <a:pt x="58" y="34"/>
                  </a:lnTo>
                  <a:lnTo>
                    <a:pt x="60" y="28"/>
                  </a:lnTo>
                  <a:lnTo>
                    <a:pt x="59" y="27"/>
                  </a:lnTo>
                  <a:lnTo>
                    <a:pt x="55" y="27"/>
                  </a:lnTo>
                  <a:lnTo>
                    <a:pt x="55" y="25"/>
                  </a:lnTo>
                  <a:lnTo>
                    <a:pt x="54" y="17"/>
                  </a:lnTo>
                  <a:lnTo>
                    <a:pt x="54" y="14"/>
                  </a:lnTo>
                  <a:lnTo>
                    <a:pt x="57" y="10"/>
                  </a:lnTo>
                  <a:lnTo>
                    <a:pt x="61" y="6"/>
                  </a:lnTo>
                  <a:lnTo>
                    <a:pt x="67" y="4"/>
                  </a:lnTo>
                  <a:lnTo>
                    <a:pt x="73" y="2"/>
                  </a:lnTo>
                  <a:lnTo>
                    <a:pt x="79" y="4"/>
                  </a:lnTo>
                  <a:lnTo>
                    <a:pt x="85" y="1"/>
                  </a:lnTo>
                  <a:lnTo>
                    <a:pt x="91" y="0"/>
                  </a:lnTo>
                  <a:lnTo>
                    <a:pt x="96" y="2"/>
                  </a:lnTo>
                  <a:lnTo>
                    <a:pt x="101" y="6"/>
                  </a:lnTo>
                  <a:lnTo>
                    <a:pt x="103" y="9"/>
                  </a:lnTo>
                  <a:lnTo>
                    <a:pt x="97" y="33"/>
                  </a:lnTo>
                  <a:lnTo>
                    <a:pt x="89" y="38"/>
                  </a:lnTo>
                  <a:lnTo>
                    <a:pt x="91" y="43"/>
                  </a:lnTo>
                  <a:lnTo>
                    <a:pt x="100" y="47"/>
                  </a:lnTo>
                  <a:lnTo>
                    <a:pt x="100" y="53"/>
                  </a:lnTo>
                  <a:lnTo>
                    <a:pt x="96" y="58"/>
                  </a:lnTo>
                  <a:lnTo>
                    <a:pt x="91" y="62"/>
                  </a:lnTo>
                  <a:lnTo>
                    <a:pt x="90" y="68"/>
                  </a:lnTo>
                  <a:lnTo>
                    <a:pt x="87" y="73"/>
                  </a:lnTo>
                  <a:lnTo>
                    <a:pt x="83" y="74"/>
                  </a:lnTo>
                  <a:lnTo>
                    <a:pt x="76" y="71"/>
                  </a:lnTo>
                  <a:lnTo>
                    <a:pt x="71" y="71"/>
                  </a:lnTo>
                  <a:lnTo>
                    <a:pt x="71" y="76"/>
                  </a:lnTo>
                  <a:lnTo>
                    <a:pt x="73" y="83"/>
                  </a:lnTo>
                  <a:lnTo>
                    <a:pt x="73" y="89"/>
                  </a:lnTo>
                  <a:lnTo>
                    <a:pt x="73" y="95"/>
                  </a:lnTo>
                  <a:lnTo>
                    <a:pt x="73" y="105"/>
                  </a:lnTo>
                  <a:lnTo>
                    <a:pt x="70" y="109"/>
                  </a:lnTo>
                  <a:lnTo>
                    <a:pt x="69" y="113"/>
                  </a:lnTo>
                  <a:lnTo>
                    <a:pt x="72" y="122"/>
                  </a:lnTo>
                  <a:lnTo>
                    <a:pt x="72" y="125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27" name="Group 102"/>
          <p:cNvGrpSpPr>
            <a:grpSpLocks/>
          </p:cNvGrpSpPr>
          <p:nvPr/>
        </p:nvGrpSpPr>
        <p:grpSpPr bwMode="auto">
          <a:xfrm>
            <a:off x="4445000" y="4767263"/>
            <a:ext cx="42863" cy="100012"/>
            <a:chOff x="2042" y="3003"/>
            <a:chExt cx="27" cy="63"/>
          </a:xfrm>
        </p:grpSpPr>
        <p:sp>
          <p:nvSpPr>
            <p:cNvPr id="34410" name="Freeform 100"/>
            <p:cNvSpPr>
              <a:spLocks/>
            </p:cNvSpPr>
            <p:nvPr/>
          </p:nvSpPr>
          <p:spPr bwMode="auto">
            <a:xfrm>
              <a:off x="2042" y="3003"/>
              <a:ext cx="27" cy="63"/>
            </a:xfrm>
            <a:custGeom>
              <a:avLst/>
              <a:gdLst>
                <a:gd name="T0" fmla="*/ 21 w 27"/>
                <a:gd name="T1" fmla="*/ 0 h 63"/>
                <a:gd name="T2" fmla="*/ 24 w 27"/>
                <a:gd name="T3" fmla="*/ 1 h 63"/>
                <a:gd name="T4" fmla="*/ 25 w 27"/>
                <a:gd name="T5" fmla="*/ 17 h 63"/>
                <a:gd name="T6" fmla="*/ 27 w 27"/>
                <a:gd name="T7" fmla="*/ 31 h 63"/>
                <a:gd name="T8" fmla="*/ 27 w 27"/>
                <a:gd name="T9" fmla="*/ 37 h 63"/>
                <a:gd name="T10" fmla="*/ 25 w 27"/>
                <a:gd name="T11" fmla="*/ 41 h 63"/>
                <a:gd name="T12" fmla="*/ 24 w 27"/>
                <a:gd name="T13" fmla="*/ 47 h 63"/>
                <a:gd name="T14" fmla="*/ 21 w 27"/>
                <a:gd name="T15" fmla="*/ 54 h 63"/>
                <a:gd name="T16" fmla="*/ 18 w 27"/>
                <a:gd name="T17" fmla="*/ 60 h 63"/>
                <a:gd name="T18" fmla="*/ 18 w 27"/>
                <a:gd name="T19" fmla="*/ 63 h 63"/>
                <a:gd name="T20" fmla="*/ 15 w 27"/>
                <a:gd name="T21" fmla="*/ 60 h 63"/>
                <a:gd name="T22" fmla="*/ 12 w 27"/>
                <a:gd name="T23" fmla="*/ 59 h 63"/>
                <a:gd name="T24" fmla="*/ 9 w 27"/>
                <a:gd name="T25" fmla="*/ 57 h 63"/>
                <a:gd name="T26" fmla="*/ 7 w 27"/>
                <a:gd name="T27" fmla="*/ 54 h 63"/>
                <a:gd name="T28" fmla="*/ 7 w 27"/>
                <a:gd name="T29" fmla="*/ 50 h 63"/>
                <a:gd name="T30" fmla="*/ 4 w 27"/>
                <a:gd name="T31" fmla="*/ 48 h 63"/>
                <a:gd name="T32" fmla="*/ 3 w 27"/>
                <a:gd name="T33" fmla="*/ 45 h 63"/>
                <a:gd name="T34" fmla="*/ 2 w 27"/>
                <a:gd name="T35" fmla="*/ 34 h 63"/>
                <a:gd name="T36" fmla="*/ 0 w 27"/>
                <a:gd name="T37" fmla="*/ 31 h 63"/>
                <a:gd name="T38" fmla="*/ 0 w 27"/>
                <a:gd name="T39" fmla="*/ 23 h 63"/>
                <a:gd name="T40" fmla="*/ 3 w 27"/>
                <a:gd name="T41" fmla="*/ 16 h 63"/>
                <a:gd name="T42" fmla="*/ 5 w 27"/>
                <a:gd name="T43" fmla="*/ 17 h 63"/>
                <a:gd name="T44" fmla="*/ 9 w 27"/>
                <a:gd name="T45" fmla="*/ 15 h 63"/>
                <a:gd name="T46" fmla="*/ 14 w 27"/>
                <a:gd name="T47" fmla="*/ 11 h 63"/>
                <a:gd name="T48" fmla="*/ 19 w 27"/>
                <a:gd name="T49" fmla="*/ 10 h 63"/>
                <a:gd name="T50" fmla="*/ 21 w 27"/>
                <a:gd name="T51" fmla="*/ 7 h 63"/>
                <a:gd name="T52" fmla="*/ 21 w 27"/>
                <a:gd name="T53" fmla="*/ 0 h 6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7"/>
                <a:gd name="T82" fmla="*/ 0 h 63"/>
                <a:gd name="T83" fmla="*/ 27 w 27"/>
                <a:gd name="T84" fmla="*/ 63 h 6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7" h="63">
                  <a:moveTo>
                    <a:pt x="21" y="0"/>
                  </a:moveTo>
                  <a:lnTo>
                    <a:pt x="24" y="1"/>
                  </a:lnTo>
                  <a:lnTo>
                    <a:pt x="25" y="17"/>
                  </a:lnTo>
                  <a:lnTo>
                    <a:pt x="27" y="31"/>
                  </a:lnTo>
                  <a:lnTo>
                    <a:pt x="27" y="37"/>
                  </a:lnTo>
                  <a:lnTo>
                    <a:pt x="25" y="41"/>
                  </a:lnTo>
                  <a:lnTo>
                    <a:pt x="24" y="47"/>
                  </a:lnTo>
                  <a:lnTo>
                    <a:pt x="21" y="54"/>
                  </a:lnTo>
                  <a:lnTo>
                    <a:pt x="18" y="60"/>
                  </a:lnTo>
                  <a:lnTo>
                    <a:pt x="18" y="63"/>
                  </a:lnTo>
                  <a:lnTo>
                    <a:pt x="15" y="60"/>
                  </a:lnTo>
                  <a:lnTo>
                    <a:pt x="12" y="59"/>
                  </a:lnTo>
                  <a:lnTo>
                    <a:pt x="9" y="57"/>
                  </a:lnTo>
                  <a:lnTo>
                    <a:pt x="7" y="54"/>
                  </a:lnTo>
                  <a:lnTo>
                    <a:pt x="7" y="50"/>
                  </a:lnTo>
                  <a:lnTo>
                    <a:pt x="4" y="48"/>
                  </a:lnTo>
                  <a:lnTo>
                    <a:pt x="3" y="45"/>
                  </a:lnTo>
                  <a:lnTo>
                    <a:pt x="2" y="34"/>
                  </a:lnTo>
                  <a:lnTo>
                    <a:pt x="0" y="31"/>
                  </a:lnTo>
                  <a:lnTo>
                    <a:pt x="0" y="23"/>
                  </a:lnTo>
                  <a:lnTo>
                    <a:pt x="3" y="16"/>
                  </a:lnTo>
                  <a:lnTo>
                    <a:pt x="5" y="17"/>
                  </a:lnTo>
                  <a:lnTo>
                    <a:pt x="9" y="15"/>
                  </a:lnTo>
                  <a:lnTo>
                    <a:pt x="14" y="11"/>
                  </a:lnTo>
                  <a:lnTo>
                    <a:pt x="19" y="10"/>
                  </a:lnTo>
                  <a:lnTo>
                    <a:pt x="21" y="7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11" name="Freeform 101"/>
            <p:cNvSpPr>
              <a:spLocks/>
            </p:cNvSpPr>
            <p:nvPr/>
          </p:nvSpPr>
          <p:spPr bwMode="auto">
            <a:xfrm>
              <a:off x="2042" y="3003"/>
              <a:ext cx="27" cy="63"/>
            </a:xfrm>
            <a:custGeom>
              <a:avLst/>
              <a:gdLst>
                <a:gd name="T0" fmla="*/ 21 w 27"/>
                <a:gd name="T1" fmla="*/ 0 h 63"/>
                <a:gd name="T2" fmla="*/ 24 w 27"/>
                <a:gd name="T3" fmla="*/ 1 h 63"/>
                <a:gd name="T4" fmla="*/ 25 w 27"/>
                <a:gd name="T5" fmla="*/ 17 h 63"/>
                <a:gd name="T6" fmla="*/ 27 w 27"/>
                <a:gd name="T7" fmla="*/ 31 h 63"/>
                <a:gd name="T8" fmla="*/ 27 w 27"/>
                <a:gd name="T9" fmla="*/ 37 h 63"/>
                <a:gd name="T10" fmla="*/ 25 w 27"/>
                <a:gd name="T11" fmla="*/ 41 h 63"/>
                <a:gd name="T12" fmla="*/ 24 w 27"/>
                <a:gd name="T13" fmla="*/ 47 h 63"/>
                <a:gd name="T14" fmla="*/ 21 w 27"/>
                <a:gd name="T15" fmla="*/ 54 h 63"/>
                <a:gd name="T16" fmla="*/ 18 w 27"/>
                <a:gd name="T17" fmla="*/ 60 h 63"/>
                <a:gd name="T18" fmla="*/ 18 w 27"/>
                <a:gd name="T19" fmla="*/ 63 h 63"/>
                <a:gd name="T20" fmla="*/ 15 w 27"/>
                <a:gd name="T21" fmla="*/ 60 h 63"/>
                <a:gd name="T22" fmla="*/ 12 w 27"/>
                <a:gd name="T23" fmla="*/ 59 h 63"/>
                <a:gd name="T24" fmla="*/ 9 w 27"/>
                <a:gd name="T25" fmla="*/ 57 h 63"/>
                <a:gd name="T26" fmla="*/ 7 w 27"/>
                <a:gd name="T27" fmla="*/ 54 h 63"/>
                <a:gd name="T28" fmla="*/ 7 w 27"/>
                <a:gd name="T29" fmla="*/ 50 h 63"/>
                <a:gd name="T30" fmla="*/ 4 w 27"/>
                <a:gd name="T31" fmla="*/ 48 h 63"/>
                <a:gd name="T32" fmla="*/ 3 w 27"/>
                <a:gd name="T33" fmla="*/ 45 h 63"/>
                <a:gd name="T34" fmla="*/ 2 w 27"/>
                <a:gd name="T35" fmla="*/ 34 h 63"/>
                <a:gd name="T36" fmla="*/ 0 w 27"/>
                <a:gd name="T37" fmla="*/ 31 h 63"/>
                <a:gd name="T38" fmla="*/ 0 w 27"/>
                <a:gd name="T39" fmla="*/ 23 h 63"/>
                <a:gd name="T40" fmla="*/ 3 w 27"/>
                <a:gd name="T41" fmla="*/ 16 h 63"/>
                <a:gd name="T42" fmla="*/ 5 w 27"/>
                <a:gd name="T43" fmla="*/ 17 h 63"/>
                <a:gd name="T44" fmla="*/ 9 w 27"/>
                <a:gd name="T45" fmla="*/ 15 h 63"/>
                <a:gd name="T46" fmla="*/ 14 w 27"/>
                <a:gd name="T47" fmla="*/ 11 h 63"/>
                <a:gd name="T48" fmla="*/ 19 w 27"/>
                <a:gd name="T49" fmla="*/ 10 h 63"/>
                <a:gd name="T50" fmla="*/ 21 w 27"/>
                <a:gd name="T51" fmla="*/ 7 h 63"/>
                <a:gd name="T52" fmla="*/ 21 w 27"/>
                <a:gd name="T53" fmla="*/ 0 h 6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7"/>
                <a:gd name="T82" fmla="*/ 0 h 63"/>
                <a:gd name="T83" fmla="*/ 27 w 27"/>
                <a:gd name="T84" fmla="*/ 63 h 6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7" h="63">
                  <a:moveTo>
                    <a:pt x="21" y="0"/>
                  </a:moveTo>
                  <a:lnTo>
                    <a:pt x="24" y="1"/>
                  </a:lnTo>
                  <a:lnTo>
                    <a:pt x="25" y="17"/>
                  </a:lnTo>
                  <a:lnTo>
                    <a:pt x="27" y="31"/>
                  </a:lnTo>
                  <a:lnTo>
                    <a:pt x="27" y="37"/>
                  </a:lnTo>
                  <a:lnTo>
                    <a:pt x="25" y="41"/>
                  </a:lnTo>
                  <a:lnTo>
                    <a:pt x="24" y="47"/>
                  </a:lnTo>
                  <a:lnTo>
                    <a:pt x="21" y="54"/>
                  </a:lnTo>
                  <a:lnTo>
                    <a:pt x="18" y="60"/>
                  </a:lnTo>
                  <a:lnTo>
                    <a:pt x="18" y="63"/>
                  </a:lnTo>
                  <a:lnTo>
                    <a:pt x="15" y="60"/>
                  </a:lnTo>
                  <a:lnTo>
                    <a:pt x="12" y="59"/>
                  </a:lnTo>
                  <a:lnTo>
                    <a:pt x="9" y="57"/>
                  </a:lnTo>
                  <a:lnTo>
                    <a:pt x="7" y="54"/>
                  </a:lnTo>
                  <a:lnTo>
                    <a:pt x="7" y="50"/>
                  </a:lnTo>
                  <a:lnTo>
                    <a:pt x="4" y="48"/>
                  </a:lnTo>
                  <a:lnTo>
                    <a:pt x="3" y="45"/>
                  </a:lnTo>
                  <a:lnTo>
                    <a:pt x="2" y="34"/>
                  </a:lnTo>
                  <a:lnTo>
                    <a:pt x="0" y="31"/>
                  </a:lnTo>
                  <a:lnTo>
                    <a:pt x="0" y="23"/>
                  </a:lnTo>
                  <a:lnTo>
                    <a:pt x="3" y="16"/>
                  </a:lnTo>
                  <a:lnTo>
                    <a:pt x="5" y="17"/>
                  </a:lnTo>
                  <a:lnTo>
                    <a:pt x="9" y="15"/>
                  </a:lnTo>
                  <a:lnTo>
                    <a:pt x="14" y="11"/>
                  </a:lnTo>
                  <a:lnTo>
                    <a:pt x="19" y="10"/>
                  </a:lnTo>
                  <a:lnTo>
                    <a:pt x="21" y="7"/>
                  </a:lnTo>
                  <a:lnTo>
                    <a:pt x="21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28" name="Group 105"/>
          <p:cNvGrpSpPr>
            <a:grpSpLocks/>
          </p:cNvGrpSpPr>
          <p:nvPr/>
        </p:nvGrpSpPr>
        <p:grpSpPr bwMode="auto">
          <a:xfrm>
            <a:off x="3629025" y="4826000"/>
            <a:ext cx="147638" cy="296863"/>
            <a:chOff x="1528" y="3040"/>
            <a:chExt cx="93" cy="187"/>
          </a:xfrm>
        </p:grpSpPr>
        <p:sp>
          <p:nvSpPr>
            <p:cNvPr id="34408" name="Freeform 103"/>
            <p:cNvSpPr>
              <a:spLocks/>
            </p:cNvSpPr>
            <p:nvPr/>
          </p:nvSpPr>
          <p:spPr bwMode="auto">
            <a:xfrm>
              <a:off x="1528" y="3040"/>
              <a:ext cx="93" cy="187"/>
            </a:xfrm>
            <a:custGeom>
              <a:avLst/>
              <a:gdLst>
                <a:gd name="T0" fmla="*/ 57 w 93"/>
                <a:gd name="T1" fmla="*/ 172 h 187"/>
                <a:gd name="T2" fmla="*/ 61 w 93"/>
                <a:gd name="T3" fmla="*/ 161 h 187"/>
                <a:gd name="T4" fmla="*/ 71 w 93"/>
                <a:gd name="T5" fmla="*/ 151 h 187"/>
                <a:gd name="T6" fmla="*/ 65 w 93"/>
                <a:gd name="T7" fmla="*/ 139 h 187"/>
                <a:gd name="T8" fmla="*/ 64 w 93"/>
                <a:gd name="T9" fmla="*/ 125 h 187"/>
                <a:gd name="T10" fmla="*/ 69 w 93"/>
                <a:gd name="T11" fmla="*/ 114 h 187"/>
                <a:gd name="T12" fmla="*/ 62 w 93"/>
                <a:gd name="T13" fmla="*/ 102 h 187"/>
                <a:gd name="T14" fmla="*/ 65 w 93"/>
                <a:gd name="T15" fmla="*/ 90 h 187"/>
                <a:gd name="T16" fmla="*/ 75 w 93"/>
                <a:gd name="T17" fmla="*/ 83 h 187"/>
                <a:gd name="T18" fmla="*/ 72 w 93"/>
                <a:gd name="T19" fmla="*/ 72 h 187"/>
                <a:gd name="T20" fmla="*/ 75 w 93"/>
                <a:gd name="T21" fmla="*/ 61 h 187"/>
                <a:gd name="T22" fmla="*/ 77 w 93"/>
                <a:gd name="T23" fmla="*/ 46 h 187"/>
                <a:gd name="T24" fmla="*/ 89 w 93"/>
                <a:gd name="T25" fmla="*/ 29 h 187"/>
                <a:gd name="T26" fmla="*/ 93 w 93"/>
                <a:gd name="T27" fmla="*/ 18 h 187"/>
                <a:gd name="T28" fmla="*/ 86 w 93"/>
                <a:gd name="T29" fmla="*/ 8 h 187"/>
                <a:gd name="T30" fmla="*/ 69 w 93"/>
                <a:gd name="T31" fmla="*/ 6 h 187"/>
                <a:gd name="T32" fmla="*/ 49 w 93"/>
                <a:gd name="T33" fmla="*/ 8 h 187"/>
                <a:gd name="T34" fmla="*/ 38 w 93"/>
                <a:gd name="T35" fmla="*/ 7 h 187"/>
                <a:gd name="T36" fmla="*/ 30 w 93"/>
                <a:gd name="T37" fmla="*/ 1 h 187"/>
                <a:gd name="T38" fmla="*/ 18 w 93"/>
                <a:gd name="T39" fmla="*/ 10 h 187"/>
                <a:gd name="T40" fmla="*/ 24 w 93"/>
                <a:gd name="T41" fmla="*/ 39 h 187"/>
                <a:gd name="T42" fmla="*/ 20 w 93"/>
                <a:gd name="T43" fmla="*/ 55 h 187"/>
                <a:gd name="T44" fmla="*/ 16 w 93"/>
                <a:gd name="T45" fmla="*/ 68 h 187"/>
                <a:gd name="T46" fmla="*/ 15 w 93"/>
                <a:gd name="T47" fmla="*/ 81 h 187"/>
                <a:gd name="T48" fmla="*/ 8 w 93"/>
                <a:gd name="T49" fmla="*/ 97 h 187"/>
                <a:gd name="T50" fmla="*/ 2 w 93"/>
                <a:gd name="T51" fmla="*/ 116 h 187"/>
                <a:gd name="T52" fmla="*/ 0 w 93"/>
                <a:gd name="T53" fmla="*/ 125 h 187"/>
                <a:gd name="T54" fmla="*/ 9 w 93"/>
                <a:gd name="T55" fmla="*/ 136 h 187"/>
                <a:gd name="T56" fmla="*/ 21 w 93"/>
                <a:gd name="T57" fmla="*/ 133 h 187"/>
                <a:gd name="T58" fmla="*/ 19 w 93"/>
                <a:gd name="T59" fmla="*/ 138 h 187"/>
                <a:gd name="T60" fmla="*/ 18 w 93"/>
                <a:gd name="T61" fmla="*/ 152 h 187"/>
                <a:gd name="T62" fmla="*/ 19 w 93"/>
                <a:gd name="T63" fmla="*/ 167 h 187"/>
                <a:gd name="T64" fmla="*/ 15 w 93"/>
                <a:gd name="T65" fmla="*/ 179 h 187"/>
                <a:gd name="T66" fmla="*/ 16 w 93"/>
                <a:gd name="T67" fmla="*/ 186 h 187"/>
                <a:gd name="T68" fmla="*/ 28 w 93"/>
                <a:gd name="T69" fmla="*/ 185 h 187"/>
                <a:gd name="T70" fmla="*/ 40 w 93"/>
                <a:gd name="T71" fmla="*/ 187 h 187"/>
                <a:gd name="T72" fmla="*/ 50 w 93"/>
                <a:gd name="T73" fmla="*/ 185 h 187"/>
                <a:gd name="T74" fmla="*/ 59 w 93"/>
                <a:gd name="T75" fmla="*/ 181 h 18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3"/>
                <a:gd name="T115" fmla="*/ 0 h 187"/>
                <a:gd name="T116" fmla="*/ 93 w 93"/>
                <a:gd name="T117" fmla="*/ 187 h 18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3" h="187">
                  <a:moveTo>
                    <a:pt x="59" y="181"/>
                  </a:moveTo>
                  <a:lnTo>
                    <a:pt x="57" y="172"/>
                  </a:lnTo>
                  <a:lnTo>
                    <a:pt x="57" y="166"/>
                  </a:lnTo>
                  <a:lnTo>
                    <a:pt x="61" y="161"/>
                  </a:lnTo>
                  <a:lnTo>
                    <a:pt x="68" y="155"/>
                  </a:lnTo>
                  <a:lnTo>
                    <a:pt x="71" y="151"/>
                  </a:lnTo>
                  <a:lnTo>
                    <a:pt x="70" y="145"/>
                  </a:lnTo>
                  <a:lnTo>
                    <a:pt x="65" y="139"/>
                  </a:lnTo>
                  <a:lnTo>
                    <a:pt x="63" y="133"/>
                  </a:lnTo>
                  <a:lnTo>
                    <a:pt x="64" y="125"/>
                  </a:lnTo>
                  <a:lnTo>
                    <a:pt x="67" y="119"/>
                  </a:lnTo>
                  <a:lnTo>
                    <a:pt x="69" y="114"/>
                  </a:lnTo>
                  <a:lnTo>
                    <a:pt x="68" y="111"/>
                  </a:lnTo>
                  <a:lnTo>
                    <a:pt x="62" y="102"/>
                  </a:lnTo>
                  <a:lnTo>
                    <a:pt x="60" y="94"/>
                  </a:lnTo>
                  <a:lnTo>
                    <a:pt x="65" y="90"/>
                  </a:lnTo>
                  <a:lnTo>
                    <a:pt x="70" y="88"/>
                  </a:lnTo>
                  <a:lnTo>
                    <a:pt x="75" y="83"/>
                  </a:lnTo>
                  <a:lnTo>
                    <a:pt x="75" y="78"/>
                  </a:lnTo>
                  <a:lnTo>
                    <a:pt x="72" y="72"/>
                  </a:lnTo>
                  <a:lnTo>
                    <a:pt x="72" y="68"/>
                  </a:lnTo>
                  <a:lnTo>
                    <a:pt x="75" y="61"/>
                  </a:lnTo>
                  <a:lnTo>
                    <a:pt x="77" y="53"/>
                  </a:lnTo>
                  <a:lnTo>
                    <a:pt x="77" y="46"/>
                  </a:lnTo>
                  <a:lnTo>
                    <a:pt x="77" y="41"/>
                  </a:lnTo>
                  <a:lnTo>
                    <a:pt x="89" y="29"/>
                  </a:lnTo>
                  <a:lnTo>
                    <a:pt x="93" y="22"/>
                  </a:lnTo>
                  <a:lnTo>
                    <a:pt x="93" y="18"/>
                  </a:lnTo>
                  <a:lnTo>
                    <a:pt x="89" y="13"/>
                  </a:lnTo>
                  <a:lnTo>
                    <a:pt x="86" y="8"/>
                  </a:lnTo>
                  <a:lnTo>
                    <a:pt x="77" y="6"/>
                  </a:lnTo>
                  <a:lnTo>
                    <a:pt x="69" y="6"/>
                  </a:lnTo>
                  <a:lnTo>
                    <a:pt x="62" y="9"/>
                  </a:lnTo>
                  <a:lnTo>
                    <a:pt x="49" y="8"/>
                  </a:lnTo>
                  <a:lnTo>
                    <a:pt x="42" y="9"/>
                  </a:lnTo>
                  <a:lnTo>
                    <a:pt x="38" y="7"/>
                  </a:lnTo>
                  <a:lnTo>
                    <a:pt x="38" y="0"/>
                  </a:lnTo>
                  <a:lnTo>
                    <a:pt x="30" y="1"/>
                  </a:lnTo>
                  <a:lnTo>
                    <a:pt x="23" y="5"/>
                  </a:lnTo>
                  <a:lnTo>
                    <a:pt x="18" y="10"/>
                  </a:lnTo>
                  <a:lnTo>
                    <a:pt x="23" y="33"/>
                  </a:lnTo>
                  <a:lnTo>
                    <a:pt x="24" y="39"/>
                  </a:lnTo>
                  <a:lnTo>
                    <a:pt x="22" y="43"/>
                  </a:lnTo>
                  <a:lnTo>
                    <a:pt x="20" y="55"/>
                  </a:lnTo>
                  <a:lnTo>
                    <a:pt x="18" y="59"/>
                  </a:lnTo>
                  <a:lnTo>
                    <a:pt x="16" y="68"/>
                  </a:lnTo>
                  <a:lnTo>
                    <a:pt x="16" y="76"/>
                  </a:lnTo>
                  <a:lnTo>
                    <a:pt x="15" y="81"/>
                  </a:lnTo>
                  <a:lnTo>
                    <a:pt x="11" y="91"/>
                  </a:lnTo>
                  <a:lnTo>
                    <a:pt x="8" y="97"/>
                  </a:lnTo>
                  <a:lnTo>
                    <a:pt x="2" y="106"/>
                  </a:lnTo>
                  <a:lnTo>
                    <a:pt x="2" y="116"/>
                  </a:lnTo>
                  <a:lnTo>
                    <a:pt x="0" y="123"/>
                  </a:lnTo>
                  <a:lnTo>
                    <a:pt x="0" y="125"/>
                  </a:lnTo>
                  <a:lnTo>
                    <a:pt x="4" y="128"/>
                  </a:lnTo>
                  <a:lnTo>
                    <a:pt x="9" y="136"/>
                  </a:lnTo>
                  <a:lnTo>
                    <a:pt x="13" y="134"/>
                  </a:lnTo>
                  <a:lnTo>
                    <a:pt x="21" y="133"/>
                  </a:lnTo>
                  <a:lnTo>
                    <a:pt x="21" y="135"/>
                  </a:lnTo>
                  <a:lnTo>
                    <a:pt x="19" y="138"/>
                  </a:lnTo>
                  <a:lnTo>
                    <a:pt x="19" y="146"/>
                  </a:lnTo>
                  <a:lnTo>
                    <a:pt x="18" y="152"/>
                  </a:lnTo>
                  <a:lnTo>
                    <a:pt x="19" y="156"/>
                  </a:lnTo>
                  <a:lnTo>
                    <a:pt x="19" y="167"/>
                  </a:lnTo>
                  <a:lnTo>
                    <a:pt x="18" y="172"/>
                  </a:lnTo>
                  <a:lnTo>
                    <a:pt x="15" y="179"/>
                  </a:lnTo>
                  <a:lnTo>
                    <a:pt x="15" y="184"/>
                  </a:lnTo>
                  <a:lnTo>
                    <a:pt x="16" y="186"/>
                  </a:lnTo>
                  <a:lnTo>
                    <a:pt x="22" y="185"/>
                  </a:lnTo>
                  <a:lnTo>
                    <a:pt x="28" y="185"/>
                  </a:lnTo>
                  <a:lnTo>
                    <a:pt x="35" y="185"/>
                  </a:lnTo>
                  <a:lnTo>
                    <a:pt x="40" y="187"/>
                  </a:lnTo>
                  <a:lnTo>
                    <a:pt x="46" y="187"/>
                  </a:lnTo>
                  <a:lnTo>
                    <a:pt x="50" y="185"/>
                  </a:lnTo>
                  <a:lnTo>
                    <a:pt x="54" y="183"/>
                  </a:lnTo>
                  <a:lnTo>
                    <a:pt x="59" y="18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09" name="Freeform 104"/>
            <p:cNvSpPr>
              <a:spLocks/>
            </p:cNvSpPr>
            <p:nvPr/>
          </p:nvSpPr>
          <p:spPr bwMode="auto">
            <a:xfrm>
              <a:off x="1528" y="3040"/>
              <a:ext cx="93" cy="187"/>
            </a:xfrm>
            <a:custGeom>
              <a:avLst/>
              <a:gdLst>
                <a:gd name="T0" fmla="*/ 57 w 93"/>
                <a:gd name="T1" fmla="*/ 172 h 187"/>
                <a:gd name="T2" fmla="*/ 61 w 93"/>
                <a:gd name="T3" fmla="*/ 161 h 187"/>
                <a:gd name="T4" fmla="*/ 71 w 93"/>
                <a:gd name="T5" fmla="*/ 151 h 187"/>
                <a:gd name="T6" fmla="*/ 65 w 93"/>
                <a:gd name="T7" fmla="*/ 139 h 187"/>
                <a:gd name="T8" fmla="*/ 64 w 93"/>
                <a:gd name="T9" fmla="*/ 125 h 187"/>
                <a:gd name="T10" fmla="*/ 69 w 93"/>
                <a:gd name="T11" fmla="*/ 114 h 187"/>
                <a:gd name="T12" fmla="*/ 62 w 93"/>
                <a:gd name="T13" fmla="*/ 102 h 187"/>
                <a:gd name="T14" fmla="*/ 65 w 93"/>
                <a:gd name="T15" fmla="*/ 90 h 187"/>
                <a:gd name="T16" fmla="*/ 75 w 93"/>
                <a:gd name="T17" fmla="*/ 83 h 187"/>
                <a:gd name="T18" fmla="*/ 72 w 93"/>
                <a:gd name="T19" fmla="*/ 72 h 187"/>
                <a:gd name="T20" fmla="*/ 75 w 93"/>
                <a:gd name="T21" fmla="*/ 61 h 187"/>
                <a:gd name="T22" fmla="*/ 77 w 93"/>
                <a:gd name="T23" fmla="*/ 46 h 187"/>
                <a:gd name="T24" fmla="*/ 89 w 93"/>
                <a:gd name="T25" fmla="*/ 29 h 187"/>
                <a:gd name="T26" fmla="*/ 93 w 93"/>
                <a:gd name="T27" fmla="*/ 18 h 187"/>
                <a:gd name="T28" fmla="*/ 86 w 93"/>
                <a:gd name="T29" fmla="*/ 8 h 187"/>
                <a:gd name="T30" fmla="*/ 69 w 93"/>
                <a:gd name="T31" fmla="*/ 6 h 187"/>
                <a:gd name="T32" fmla="*/ 49 w 93"/>
                <a:gd name="T33" fmla="*/ 8 h 187"/>
                <a:gd name="T34" fmla="*/ 38 w 93"/>
                <a:gd name="T35" fmla="*/ 7 h 187"/>
                <a:gd name="T36" fmla="*/ 30 w 93"/>
                <a:gd name="T37" fmla="*/ 1 h 187"/>
                <a:gd name="T38" fmla="*/ 18 w 93"/>
                <a:gd name="T39" fmla="*/ 10 h 187"/>
                <a:gd name="T40" fmla="*/ 24 w 93"/>
                <a:gd name="T41" fmla="*/ 39 h 187"/>
                <a:gd name="T42" fmla="*/ 20 w 93"/>
                <a:gd name="T43" fmla="*/ 55 h 187"/>
                <a:gd name="T44" fmla="*/ 16 w 93"/>
                <a:gd name="T45" fmla="*/ 68 h 187"/>
                <a:gd name="T46" fmla="*/ 15 w 93"/>
                <a:gd name="T47" fmla="*/ 81 h 187"/>
                <a:gd name="T48" fmla="*/ 8 w 93"/>
                <a:gd name="T49" fmla="*/ 97 h 187"/>
                <a:gd name="T50" fmla="*/ 2 w 93"/>
                <a:gd name="T51" fmla="*/ 116 h 187"/>
                <a:gd name="T52" fmla="*/ 0 w 93"/>
                <a:gd name="T53" fmla="*/ 125 h 187"/>
                <a:gd name="T54" fmla="*/ 9 w 93"/>
                <a:gd name="T55" fmla="*/ 136 h 187"/>
                <a:gd name="T56" fmla="*/ 21 w 93"/>
                <a:gd name="T57" fmla="*/ 133 h 187"/>
                <a:gd name="T58" fmla="*/ 19 w 93"/>
                <a:gd name="T59" fmla="*/ 138 h 187"/>
                <a:gd name="T60" fmla="*/ 18 w 93"/>
                <a:gd name="T61" fmla="*/ 152 h 187"/>
                <a:gd name="T62" fmla="*/ 19 w 93"/>
                <a:gd name="T63" fmla="*/ 167 h 187"/>
                <a:gd name="T64" fmla="*/ 15 w 93"/>
                <a:gd name="T65" fmla="*/ 179 h 187"/>
                <a:gd name="T66" fmla="*/ 16 w 93"/>
                <a:gd name="T67" fmla="*/ 186 h 187"/>
                <a:gd name="T68" fmla="*/ 28 w 93"/>
                <a:gd name="T69" fmla="*/ 185 h 187"/>
                <a:gd name="T70" fmla="*/ 40 w 93"/>
                <a:gd name="T71" fmla="*/ 187 h 187"/>
                <a:gd name="T72" fmla="*/ 50 w 93"/>
                <a:gd name="T73" fmla="*/ 185 h 187"/>
                <a:gd name="T74" fmla="*/ 59 w 93"/>
                <a:gd name="T75" fmla="*/ 181 h 18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93"/>
                <a:gd name="T115" fmla="*/ 0 h 187"/>
                <a:gd name="T116" fmla="*/ 93 w 93"/>
                <a:gd name="T117" fmla="*/ 187 h 18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93" h="187">
                  <a:moveTo>
                    <a:pt x="59" y="181"/>
                  </a:moveTo>
                  <a:lnTo>
                    <a:pt x="57" y="172"/>
                  </a:lnTo>
                  <a:lnTo>
                    <a:pt x="57" y="166"/>
                  </a:lnTo>
                  <a:lnTo>
                    <a:pt x="61" y="161"/>
                  </a:lnTo>
                  <a:lnTo>
                    <a:pt x="68" y="155"/>
                  </a:lnTo>
                  <a:lnTo>
                    <a:pt x="71" y="151"/>
                  </a:lnTo>
                  <a:lnTo>
                    <a:pt x="70" y="145"/>
                  </a:lnTo>
                  <a:lnTo>
                    <a:pt x="65" y="139"/>
                  </a:lnTo>
                  <a:lnTo>
                    <a:pt x="63" y="133"/>
                  </a:lnTo>
                  <a:lnTo>
                    <a:pt x="64" y="125"/>
                  </a:lnTo>
                  <a:lnTo>
                    <a:pt x="67" y="119"/>
                  </a:lnTo>
                  <a:lnTo>
                    <a:pt x="69" y="114"/>
                  </a:lnTo>
                  <a:lnTo>
                    <a:pt x="68" y="111"/>
                  </a:lnTo>
                  <a:lnTo>
                    <a:pt x="62" y="102"/>
                  </a:lnTo>
                  <a:lnTo>
                    <a:pt x="60" y="94"/>
                  </a:lnTo>
                  <a:lnTo>
                    <a:pt x="65" y="90"/>
                  </a:lnTo>
                  <a:lnTo>
                    <a:pt x="70" y="88"/>
                  </a:lnTo>
                  <a:lnTo>
                    <a:pt x="75" y="83"/>
                  </a:lnTo>
                  <a:lnTo>
                    <a:pt x="75" y="78"/>
                  </a:lnTo>
                  <a:lnTo>
                    <a:pt x="72" y="72"/>
                  </a:lnTo>
                  <a:lnTo>
                    <a:pt x="72" y="68"/>
                  </a:lnTo>
                  <a:lnTo>
                    <a:pt x="75" y="61"/>
                  </a:lnTo>
                  <a:lnTo>
                    <a:pt x="77" y="53"/>
                  </a:lnTo>
                  <a:lnTo>
                    <a:pt x="77" y="46"/>
                  </a:lnTo>
                  <a:lnTo>
                    <a:pt x="77" y="41"/>
                  </a:lnTo>
                  <a:lnTo>
                    <a:pt x="89" y="29"/>
                  </a:lnTo>
                  <a:lnTo>
                    <a:pt x="93" y="22"/>
                  </a:lnTo>
                  <a:lnTo>
                    <a:pt x="93" y="18"/>
                  </a:lnTo>
                  <a:lnTo>
                    <a:pt x="89" y="13"/>
                  </a:lnTo>
                  <a:lnTo>
                    <a:pt x="86" y="8"/>
                  </a:lnTo>
                  <a:lnTo>
                    <a:pt x="77" y="6"/>
                  </a:lnTo>
                  <a:lnTo>
                    <a:pt x="69" y="6"/>
                  </a:lnTo>
                  <a:lnTo>
                    <a:pt x="62" y="9"/>
                  </a:lnTo>
                  <a:lnTo>
                    <a:pt x="49" y="8"/>
                  </a:lnTo>
                  <a:lnTo>
                    <a:pt x="42" y="9"/>
                  </a:lnTo>
                  <a:lnTo>
                    <a:pt x="38" y="7"/>
                  </a:lnTo>
                  <a:lnTo>
                    <a:pt x="38" y="0"/>
                  </a:lnTo>
                  <a:lnTo>
                    <a:pt x="30" y="1"/>
                  </a:lnTo>
                  <a:lnTo>
                    <a:pt x="23" y="5"/>
                  </a:lnTo>
                  <a:lnTo>
                    <a:pt x="18" y="10"/>
                  </a:lnTo>
                  <a:lnTo>
                    <a:pt x="23" y="33"/>
                  </a:lnTo>
                  <a:lnTo>
                    <a:pt x="24" y="39"/>
                  </a:lnTo>
                  <a:lnTo>
                    <a:pt x="22" y="43"/>
                  </a:lnTo>
                  <a:lnTo>
                    <a:pt x="20" y="55"/>
                  </a:lnTo>
                  <a:lnTo>
                    <a:pt x="18" y="59"/>
                  </a:lnTo>
                  <a:lnTo>
                    <a:pt x="16" y="68"/>
                  </a:lnTo>
                  <a:lnTo>
                    <a:pt x="16" y="76"/>
                  </a:lnTo>
                  <a:lnTo>
                    <a:pt x="15" y="81"/>
                  </a:lnTo>
                  <a:lnTo>
                    <a:pt x="11" y="91"/>
                  </a:lnTo>
                  <a:lnTo>
                    <a:pt x="8" y="97"/>
                  </a:lnTo>
                  <a:lnTo>
                    <a:pt x="2" y="106"/>
                  </a:lnTo>
                  <a:lnTo>
                    <a:pt x="2" y="116"/>
                  </a:lnTo>
                  <a:lnTo>
                    <a:pt x="0" y="123"/>
                  </a:lnTo>
                  <a:lnTo>
                    <a:pt x="0" y="125"/>
                  </a:lnTo>
                  <a:lnTo>
                    <a:pt x="4" y="128"/>
                  </a:lnTo>
                  <a:lnTo>
                    <a:pt x="9" y="136"/>
                  </a:lnTo>
                  <a:lnTo>
                    <a:pt x="13" y="134"/>
                  </a:lnTo>
                  <a:lnTo>
                    <a:pt x="21" y="133"/>
                  </a:lnTo>
                  <a:lnTo>
                    <a:pt x="21" y="135"/>
                  </a:lnTo>
                  <a:lnTo>
                    <a:pt x="19" y="138"/>
                  </a:lnTo>
                  <a:lnTo>
                    <a:pt x="19" y="146"/>
                  </a:lnTo>
                  <a:lnTo>
                    <a:pt x="18" y="152"/>
                  </a:lnTo>
                  <a:lnTo>
                    <a:pt x="19" y="156"/>
                  </a:lnTo>
                  <a:lnTo>
                    <a:pt x="19" y="167"/>
                  </a:lnTo>
                  <a:lnTo>
                    <a:pt x="18" y="172"/>
                  </a:lnTo>
                  <a:lnTo>
                    <a:pt x="15" y="179"/>
                  </a:lnTo>
                  <a:lnTo>
                    <a:pt x="15" y="184"/>
                  </a:lnTo>
                  <a:lnTo>
                    <a:pt x="16" y="186"/>
                  </a:lnTo>
                  <a:lnTo>
                    <a:pt x="22" y="185"/>
                  </a:lnTo>
                  <a:lnTo>
                    <a:pt x="28" y="185"/>
                  </a:lnTo>
                  <a:lnTo>
                    <a:pt x="35" y="185"/>
                  </a:lnTo>
                  <a:lnTo>
                    <a:pt x="40" y="187"/>
                  </a:lnTo>
                  <a:lnTo>
                    <a:pt x="46" y="187"/>
                  </a:lnTo>
                  <a:lnTo>
                    <a:pt x="50" y="185"/>
                  </a:lnTo>
                  <a:lnTo>
                    <a:pt x="54" y="183"/>
                  </a:lnTo>
                  <a:lnTo>
                    <a:pt x="59" y="18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29" name="Group 108"/>
          <p:cNvGrpSpPr>
            <a:grpSpLocks/>
          </p:cNvGrpSpPr>
          <p:nvPr/>
        </p:nvGrpSpPr>
        <p:grpSpPr bwMode="auto">
          <a:xfrm>
            <a:off x="4487863" y="4486275"/>
            <a:ext cx="9525" cy="25400"/>
            <a:chOff x="2069" y="2826"/>
            <a:chExt cx="6" cy="16"/>
          </a:xfrm>
        </p:grpSpPr>
        <p:sp>
          <p:nvSpPr>
            <p:cNvPr id="34406" name="Freeform 106"/>
            <p:cNvSpPr>
              <a:spLocks/>
            </p:cNvSpPr>
            <p:nvPr/>
          </p:nvSpPr>
          <p:spPr bwMode="auto">
            <a:xfrm>
              <a:off x="2069" y="2826"/>
              <a:ext cx="6" cy="16"/>
            </a:xfrm>
            <a:custGeom>
              <a:avLst/>
              <a:gdLst>
                <a:gd name="T0" fmla="*/ 3 w 6"/>
                <a:gd name="T1" fmla="*/ 16 h 16"/>
                <a:gd name="T2" fmla="*/ 6 w 6"/>
                <a:gd name="T3" fmla="*/ 12 h 16"/>
                <a:gd name="T4" fmla="*/ 6 w 6"/>
                <a:gd name="T5" fmla="*/ 6 h 16"/>
                <a:gd name="T6" fmla="*/ 6 w 6"/>
                <a:gd name="T7" fmla="*/ 3 h 16"/>
                <a:gd name="T8" fmla="*/ 2 w 6"/>
                <a:gd name="T9" fmla="*/ 0 h 16"/>
                <a:gd name="T10" fmla="*/ 0 w 6"/>
                <a:gd name="T11" fmla="*/ 5 h 16"/>
                <a:gd name="T12" fmla="*/ 0 w 6"/>
                <a:gd name="T13" fmla="*/ 10 h 16"/>
                <a:gd name="T14" fmla="*/ 3 w 6"/>
                <a:gd name="T15" fmla="*/ 16 h 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16"/>
                <a:gd name="T26" fmla="*/ 6 w 6"/>
                <a:gd name="T27" fmla="*/ 16 h 1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16">
                  <a:moveTo>
                    <a:pt x="3" y="16"/>
                  </a:moveTo>
                  <a:lnTo>
                    <a:pt x="6" y="12"/>
                  </a:lnTo>
                  <a:lnTo>
                    <a:pt x="6" y="6"/>
                  </a:lnTo>
                  <a:lnTo>
                    <a:pt x="6" y="3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10"/>
                  </a:lnTo>
                  <a:lnTo>
                    <a:pt x="3" y="16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07" name="Freeform 107"/>
            <p:cNvSpPr>
              <a:spLocks/>
            </p:cNvSpPr>
            <p:nvPr/>
          </p:nvSpPr>
          <p:spPr bwMode="auto">
            <a:xfrm>
              <a:off x="2069" y="2826"/>
              <a:ext cx="6" cy="16"/>
            </a:xfrm>
            <a:custGeom>
              <a:avLst/>
              <a:gdLst>
                <a:gd name="T0" fmla="*/ 3 w 6"/>
                <a:gd name="T1" fmla="*/ 16 h 16"/>
                <a:gd name="T2" fmla="*/ 6 w 6"/>
                <a:gd name="T3" fmla="*/ 12 h 16"/>
                <a:gd name="T4" fmla="*/ 6 w 6"/>
                <a:gd name="T5" fmla="*/ 6 h 16"/>
                <a:gd name="T6" fmla="*/ 6 w 6"/>
                <a:gd name="T7" fmla="*/ 3 h 16"/>
                <a:gd name="T8" fmla="*/ 2 w 6"/>
                <a:gd name="T9" fmla="*/ 0 h 16"/>
                <a:gd name="T10" fmla="*/ 0 w 6"/>
                <a:gd name="T11" fmla="*/ 5 h 16"/>
                <a:gd name="T12" fmla="*/ 0 w 6"/>
                <a:gd name="T13" fmla="*/ 10 h 16"/>
                <a:gd name="T14" fmla="*/ 3 w 6"/>
                <a:gd name="T15" fmla="*/ 16 h 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16"/>
                <a:gd name="T26" fmla="*/ 6 w 6"/>
                <a:gd name="T27" fmla="*/ 16 h 1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16">
                  <a:moveTo>
                    <a:pt x="3" y="16"/>
                  </a:moveTo>
                  <a:lnTo>
                    <a:pt x="6" y="12"/>
                  </a:lnTo>
                  <a:lnTo>
                    <a:pt x="6" y="6"/>
                  </a:lnTo>
                  <a:lnTo>
                    <a:pt x="6" y="3"/>
                  </a:lnTo>
                  <a:lnTo>
                    <a:pt x="2" y="0"/>
                  </a:lnTo>
                  <a:lnTo>
                    <a:pt x="0" y="5"/>
                  </a:lnTo>
                  <a:lnTo>
                    <a:pt x="0" y="10"/>
                  </a:lnTo>
                  <a:lnTo>
                    <a:pt x="3" y="16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30" name="Group 111"/>
          <p:cNvGrpSpPr>
            <a:grpSpLocks/>
          </p:cNvGrpSpPr>
          <p:nvPr/>
        </p:nvGrpSpPr>
        <p:grpSpPr bwMode="auto">
          <a:xfrm>
            <a:off x="4768850" y="4618038"/>
            <a:ext cx="180975" cy="180975"/>
            <a:chOff x="2246" y="2909"/>
            <a:chExt cx="114" cy="114"/>
          </a:xfrm>
        </p:grpSpPr>
        <p:sp>
          <p:nvSpPr>
            <p:cNvPr id="34404" name="Freeform 109"/>
            <p:cNvSpPr>
              <a:spLocks/>
            </p:cNvSpPr>
            <p:nvPr/>
          </p:nvSpPr>
          <p:spPr bwMode="auto">
            <a:xfrm>
              <a:off x="2246" y="2909"/>
              <a:ext cx="114" cy="114"/>
            </a:xfrm>
            <a:custGeom>
              <a:avLst/>
              <a:gdLst>
                <a:gd name="T0" fmla="*/ 77 w 114"/>
                <a:gd name="T1" fmla="*/ 110 h 114"/>
                <a:gd name="T2" fmla="*/ 68 w 114"/>
                <a:gd name="T3" fmla="*/ 102 h 114"/>
                <a:gd name="T4" fmla="*/ 60 w 114"/>
                <a:gd name="T5" fmla="*/ 96 h 114"/>
                <a:gd name="T6" fmla="*/ 52 w 114"/>
                <a:gd name="T7" fmla="*/ 95 h 114"/>
                <a:gd name="T8" fmla="*/ 43 w 114"/>
                <a:gd name="T9" fmla="*/ 74 h 114"/>
                <a:gd name="T10" fmla="*/ 27 w 114"/>
                <a:gd name="T11" fmla="*/ 60 h 114"/>
                <a:gd name="T12" fmla="*/ 19 w 114"/>
                <a:gd name="T13" fmla="*/ 50 h 114"/>
                <a:gd name="T14" fmla="*/ 12 w 114"/>
                <a:gd name="T15" fmla="*/ 39 h 114"/>
                <a:gd name="T16" fmla="*/ 11 w 114"/>
                <a:gd name="T17" fmla="*/ 32 h 114"/>
                <a:gd name="T18" fmla="*/ 4 w 114"/>
                <a:gd name="T19" fmla="*/ 22 h 114"/>
                <a:gd name="T20" fmla="*/ 2 w 114"/>
                <a:gd name="T21" fmla="*/ 16 h 114"/>
                <a:gd name="T22" fmla="*/ 4 w 114"/>
                <a:gd name="T23" fmla="*/ 1 h 114"/>
                <a:gd name="T24" fmla="*/ 16 w 114"/>
                <a:gd name="T25" fmla="*/ 11 h 114"/>
                <a:gd name="T26" fmla="*/ 32 w 114"/>
                <a:gd name="T27" fmla="*/ 3 h 114"/>
                <a:gd name="T28" fmla="*/ 42 w 114"/>
                <a:gd name="T29" fmla="*/ 5 h 114"/>
                <a:gd name="T30" fmla="*/ 47 w 114"/>
                <a:gd name="T31" fmla="*/ 6 h 114"/>
                <a:gd name="T32" fmla="*/ 57 w 114"/>
                <a:gd name="T33" fmla="*/ 6 h 114"/>
                <a:gd name="T34" fmla="*/ 66 w 114"/>
                <a:gd name="T35" fmla="*/ 6 h 114"/>
                <a:gd name="T36" fmla="*/ 71 w 114"/>
                <a:gd name="T37" fmla="*/ 9 h 114"/>
                <a:gd name="T38" fmla="*/ 80 w 114"/>
                <a:gd name="T39" fmla="*/ 10 h 114"/>
                <a:gd name="T40" fmla="*/ 85 w 114"/>
                <a:gd name="T41" fmla="*/ 8 h 114"/>
                <a:gd name="T42" fmla="*/ 88 w 114"/>
                <a:gd name="T43" fmla="*/ 16 h 114"/>
                <a:gd name="T44" fmla="*/ 99 w 114"/>
                <a:gd name="T45" fmla="*/ 15 h 114"/>
                <a:gd name="T46" fmla="*/ 105 w 114"/>
                <a:gd name="T47" fmla="*/ 19 h 114"/>
                <a:gd name="T48" fmla="*/ 100 w 114"/>
                <a:gd name="T49" fmla="*/ 31 h 114"/>
                <a:gd name="T50" fmla="*/ 100 w 114"/>
                <a:gd name="T51" fmla="*/ 34 h 114"/>
                <a:gd name="T52" fmla="*/ 101 w 114"/>
                <a:gd name="T53" fmla="*/ 41 h 114"/>
                <a:gd name="T54" fmla="*/ 105 w 114"/>
                <a:gd name="T55" fmla="*/ 43 h 114"/>
                <a:gd name="T56" fmla="*/ 109 w 114"/>
                <a:gd name="T57" fmla="*/ 46 h 114"/>
                <a:gd name="T58" fmla="*/ 112 w 114"/>
                <a:gd name="T59" fmla="*/ 50 h 114"/>
                <a:gd name="T60" fmla="*/ 111 w 114"/>
                <a:gd name="T61" fmla="*/ 54 h 114"/>
                <a:gd name="T62" fmla="*/ 103 w 114"/>
                <a:gd name="T63" fmla="*/ 52 h 114"/>
                <a:gd name="T64" fmla="*/ 106 w 114"/>
                <a:gd name="T65" fmla="*/ 58 h 114"/>
                <a:gd name="T66" fmla="*/ 110 w 114"/>
                <a:gd name="T67" fmla="*/ 67 h 114"/>
                <a:gd name="T68" fmla="*/ 107 w 114"/>
                <a:gd name="T69" fmla="*/ 68 h 114"/>
                <a:gd name="T70" fmla="*/ 102 w 114"/>
                <a:gd name="T71" fmla="*/ 71 h 114"/>
                <a:gd name="T72" fmla="*/ 97 w 114"/>
                <a:gd name="T73" fmla="*/ 72 h 114"/>
                <a:gd name="T74" fmla="*/ 93 w 114"/>
                <a:gd name="T75" fmla="*/ 73 h 114"/>
                <a:gd name="T76" fmla="*/ 96 w 114"/>
                <a:gd name="T77" fmla="*/ 78 h 114"/>
                <a:gd name="T78" fmla="*/ 97 w 114"/>
                <a:gd name="T79" fmla="*/ 83 h 114"/>
                <a:gd name="T80" fmla="*/ 94 w 114"/>
                <a:gd name="T81" fmla="*/ 79 h 114"/>
                <a:gd name="T82" fmla="*/ 86 w 114"/>
                <a:gd name="T83" fmla="*/ 83 h 114"/>
                <a:gd name="T84" fmla="*/ 84 w 114"/>
                <a:gd name="T85" fmla="*/ 90 h 114"/>
                <a:gd name="T86" fmla="*/ 80 w 114"/>
                <a:gd name="T87" fmla="*/ 93 h 114"/>
                <a:gd name="T88" fmla="*/ 79 w 114"/>
                <a:gd name="T89" fmla="*/ 100 h 114"/>
                <a:gd name="T90" fmla="*/ 82 w 114"/>
                <a:gd name="T91" fmla="*/ 106 h 11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4"/>
                <a:gd name="T139" fmla="*/ 0 h 114"/>
                <a:gd name="T140" fmla="*/ 114 w 114"/>
                <a:gd name="T141" fmla="*/ 114 h 11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4" h="114">
                  <a:moveTo>
                    <a:pt x="79" y="114"/>
                  </a:moveTo>
                  <a:lnTo>
                    <a:pt x="79" y="111"/>
                  </a:lnTo>
                  <a:lnTo>
                    <a:pt x="77" y="110"/>
                  </a:lnTo>
                  <a:lnTo>
                    <a:pt x="77" y="108"/>
                  </a:lnTo>
                  <a:lnTo>
                    <a:pt x="72" y="107"/>
                  </a:lnTo>
                  <a:lnTo>
                    <a:pt x="68" y="102"/>
                  </a:lnTo>
                  <a:lnTo>
                    <a:pt x="64" y="102"/>
                  </a:lnTo>
                  <a:lnTo>
                    <a:pt x="60" y="98"/>
                  </a:lnTo>
                  <a:lnTo>
                    <a:pt x="60" y="96"/>
                  </a:lnTo>
                  <a:lnTo>
                    <a:pt x="56" y="95"/>
                  </a:lnTo>
                  <a:lnTo>
                    <a:pt x="53" y="97"/>
                  </a:lnTo>
                  <a:lnTo>
                    <a:pt x="52" y="95"/>
                  </a:lnTo>
                  <a:lnTo>
                    <a:pt x="56" y="93"/>
                  </a:lnTo>
                  <a:lnTo>
                    <a:pt x="44" y="80"/>
                  </a:lnTo>
                  <a:lnTo>
                    <a:pt x="43" y="74"/>
                  </a:lnTo>
                  <a:lnTo>
                    <a:pt x="41" y="72"/>
                  </a:lnTo>
                  <a:lnTo>
                    <a:pt x="38" y="71"/>
                  </a:lnTo>
                  <a:lnTo>
                    <a:pt x="27" y="60"/>
                  </a:lnTo>
                  <a:lnTo>
                    <a:pt x="27" y="58"/>
                  </a:lnTo>
                  <a:lnTo>
                    <a:pt x="22" y="51"/>
                  </a:lnTo>
                  <a:lnTo>
                    <a:pt x="19" y="50"/>
                  </a:lnTo>
                  <a:lnTo>
                    <a:pt x="14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3" y="38"/>
                  </a:lnTo>
                  <a:lnTo>
                    <a:pt x="11" y="35"/>
                  </a:lnTo>
                  <a:lnTo>
                    <a:pt x="11" y="32"/>
                  </a:lnTo>
                  <a:lnTo>
                    <a:pt x="8" y="29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1" y="4"/>
                  </a:lnTo>
                  <a:lnTo>
                    <a:pt x="4" y="1"/>
                  </a:lnTo>
                  <a:lnTo>
                    <a:pt x="9" y="2"/>
                  </a:lnTo>
                  <a:lnTo>
                    <a:pt x="9" y="3"/>
                  </a:lnTo>
                  <a:lnTo>
                    <a:pt x="16" y="11"/>
                  </a:lnTo>
                  <a:lnTo>
                    <a:pt x="18" y="11"/>
                  </a:lnTo>
                  <a:lnTo>
                    <a:pt x="23" y="2"/>
                  </a:lnTo>
                  <a:lnTo>
                    <a:pt x="32" y="3"/>
                  </a:lnTo>
                  <a:lnTo>
                    <a:pt x="35" y="0"/>
                  </a:lnTo>
                  <a:lnTo>
                    <a:pt x="42" y="5"/>
                  </a:lnTo>
                  <a:lnTo>
                    <a:pt x="44" y="5"/>
                  </a:lnTo>
                  <a:lnTo>
                    <a:pt x="45" y="4"/>
                  </a:lnTo>
                  <a:lnTo>
                    <a:pt x="47" y="6"/>
                  </a:lnTo>
                  <a:lnTo>
                    <a:pt x="55" y="7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6" y="6"/>
                  </a:lnTo>
                  <a:lnTo>
                    <a:pt x="68" y="6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3" y="6"/>
                  </a:lnTo>
                  <a:lnTo>
                    <a:pt x="78" y="7"/>
                  </a:lnTo>
                  <a:lnTo>
                    <a:pt x="80" y="10"/>
                  </a:lnTo>
                  <a:lnTo>
                    <a:pt x="82" y="9"/>
                  </a:lnTo>
                  <a:lnTo>
                    <a:pt x="82" y="8"/>
                  </a:lnTo>
                  <a:lnTo>
                    <a:pt x="85" y="8"/>
                  </a:lnTo>
                  <a:lnTo>
                    <a:pt x="89" y="12"/>
                  </a:lnTo>
                  <a:lnTo>
                    <a:pt x="88" y="15"/>
                  </a:lnTo>
                  <a:lnTo>
                    <a:pt x="88" y="16"/>
                  </a:lnTo>
                  <a:lnTo>
                    <a:pt x="91" y="18"/>
                  </a:lnTo>
                  <a:lnTo>
                    <a:pt x="95" y="18"/>
                  </a:lnTo>
                  <a:lnTo>
                    <a:pt x="99" y="15"/>
                  </a:lnTo>
                  <a:lnTo>
                    <a:pt x="105" y="16"/>
                  </a:lnTo>
                  <a:lnTo>
                    <a:pt x="106" y="17"/>
                  </a:lnTo>
                  <a:lnTo>
                    <a:pt x="105" y="19"/>
                  </a:lnTo>
                  <a:lnTo>
                    <a:pt x="105" y="21"/>
                  </a:lnTo>
                  <a:lnTo>
                    <a:pt x="103" y="25"/>
                  </a:lnTo>
                  <a:lnTo>
                    <a:pt x="100" y="31"/>
                  </a:lnTo>
                  <a:lnTo>
                    <a:pt x="99" y="31"/>
                  </a:lnTo>
                  <a:lnTo>
                    <a:pt x="99" y="33"/>
                  </a:lnTo>
                  <a:lnTo>
                    <a:pt x="100" y="34"/>
                  </a:lnTo>
                  <a:lnTo>
                    <a:pt x="98" y="37"/>
                  </a:lnTo>
                  <a:lnTo>
                    <a:pt x="99" y="40"/>
                  </a:lnTo>
                  <a:lnTo>
                    <a:pt x="101" y="41"/>
                  </a:lnTo>
                  <a:lnTo>
                    <a:pt x="102" y="42"/>
                  </a:lnTo>
                  <a:lnTo>
                    <a:pt x="104" y="41"/>
                  </a:lnTo>
                  <a:lnTo>
                    <a:pt x="105" y="43"/>
                  </a:lnTo>
                  <a:lnTo>
                    <a:pt x="106" y="45"/>
                  </a:lnTo>
                  <a:lnTo>
                    <a:pt x="108" y="47"/>
                  </a:lnTo>
                  <a:lnTo>
                    <a:pt x="109" y="46"/>
                  </a:lnTo>
                  <a:lnTo>
                    <a:pt x="110" y="47"/>
                  </a:lnTo>
                  <a:lnTo>
                    <a:pt x="110" y="48"/>
                  </a:lnTo>
                  <a:lnTo>
                    <a:pt x="112" y="50"/>
                  </a:lnTo>
                  <a:lnTo>
                    <a:pt x="113" y="50"/>
                  </a:lnTo>
                  <a:lnTo>
                    <a:pt x="114" y="52"/>
                  </a:lnTo>
                  <a:lnTo>
                    <a:pt x="111" y="54"/>
                  </a:lnTo>
                  <a:lnTo>
                    <a:pt x="107" y="54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3" y="54"/>
                  </a:lnTo>
                  <a:lnTo>
                    <a:pt x="106" y="58"/>
                  </a:lnTo>
                  <a:lnTo>
                    <a:pt x="110" y="63"/>
                  </a:lnTo>
                  <a:lnTo>
                    <a:pt x="111" y="63"/>
                  </a:lnTo>
                  <a:lnTo>
                    <a:pt x="110" y="67"/>
                  </a:lnTo>
                  <a:lnTo>
                    <a:pt x="110" y="69"/>
                  </a:lnTo>
                  <a:lnTo>
                    <a:pt x="108" y="69"/>
                  </a:lnTo>
                  <a:lnTo>
                    <a:pt x="107" y="68"/>
                  </a:lnTo>
                  <a:lnTo>
                    <a:pt x="105" y="68"/>
                  </a:lnTo>
                  <a:lnTo>
                    <a:pt x="104" y="70"/>
                  </a:lnTo>
                  <a:lnTo>
                    <a:pt x="102" y="71"/>
                  </a:lnTo>
                  <a:lnTo>
                    <a:pt x="100" y="71"/>
                  </a:lnTo>
                  <a:lnTo>
                    <a:pt x="99" y="72"/>
                  </a:lnTo>
                  <a:lnTo>
                    <a:pt x="97" y="72"/>
                  </a:lnTo>
                  <a:lnTo>
                    <a:pt x="97" y="71"/>
                  </a:lnTo>
                  <a:lnTo>
                    <a:pt x="95" y="71"/>
                  </a:lnTo>
                  <a:lnTo>
                    <a:pt x="93" y="73"/>
                  </a:lnTo>
                  <a:lnTo>
                    <a:pt x="94" y="74"/>
                  </a:lnTo>
                  <a:lnTo>
                    <a:pt x="96" y="75"/>
                  </a:lnTo>
                  <a:lnTo>
                    <a:pt x="96" y="78"/>
                  </a:lnTo>
                  <a:lnTo>
                    <a:pt x="97" y="79"/>
                  </a:lnTo>
                  <a:lnTo>
                    <a:pt x="97" y="82"/>
                  </a:lnTo>
                  <a:lnTo>
                    <a:pt x="97" y="83"/>
                  </a:lnTo>
                  <a:lnTo>
                    <a:pt x="95" y="83"/>
                  </a:lnTo>
                  <a:lnTo>
                    <a:pt x="94" y="82"/>
                  </a:lnTo>
                  <a:lnTo>
                    <a:pt x="94" y="79"/>
                  </a:lnTo>
                  <a:lnTo>
                    <a:pt x="93" y="79"/>
                  </a:lnTo>
                  <a:lnTo>
                    <a:pt x="90" y="79"/>
                  </a:lnTo>
                  <a:lnTo>
                    <a:pt x="86" y="83"/>
                  </a:lnTo>
                  <a:lnTo>
                    <a:pt x="85" y="85"/>
                  </a:lnTo>
                  <a:lnTo>
                    <a:pt x="84" y="86"/>
                  </a:lnTo>
                  <a:lnTo>
                    <a:pt x="84" y="90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80" y="93"/>
                  </a:lnTo>
                  <a:lnTo>
                    <a:pt x="79" y="98"/>
                  </a:lnTo>
                  <a:lnTo>
                    <a:pt x="79" y="100"/>
                  </a:lnTo>
                  <a:lnTo>
                    <a:pt x="80" y="103"/>
                  </a:lnTo>
                  <a:lnTo>
                    <a:pt x="82" y="104"/>
                  </a:lnTo>
                  <a:lnTo>
                    <a:pt x="82" y="106"/>
                  </a:lnTo>
                  <a:lnTo>
                    <a:pt x="79" y="111"/>
                  </a:lnTo>
                  <a:lnTo>
                    <a:pt x="79" y="114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05" name="Freeform 110"/>
            <p:cNvSpPr>
              <a:spLocks/>
            </p:cNvSpPr>
            <p:nvPr/>
          </p:nvSpPr>
          <p:spPr bwMode="auto">
            <a:xfrm>
              <a:off x="2246" y="2909"/>
              <a:ext cx="114" cy="114"/>
            </a:xfrm>
            <a:custGeom>
              <a:avLst/>
              <a:gdLst>
                <a:gd name="T0" fmla="*/ 77 w 114"/>
                <a:gd name="T1" fmla="*/ 110 h 114"/>
                <a:gd name="T2" fmla="*/ 68 w 114"/>
                <a:gd name="T3" fmla="*/ 102 h 114"/>
                <a:gd name="T4" fmla="*/ 60 w 114"/>
                <a:gd name="T5" fmla="*/ 96 h 114"/>
                <a:gd name="T6" fmla="*/ 52 w 114"/>
                <a:gd name="T7" fmla="*/ 95 h 114"/>
                <a:gd name="T8" fmla="*/ 43 w 114"/>
                <a:gd name="T9" fmla="*/ 74 h 114"/>
                <a:gd name="T10" fmla="*/ 27 w 114"/>
                <a:gd name="T11" fmla="*/ 60 h 114"/>
                <a:gd name="T12" fmla="*/ 19 w 114"/>
                <a:gd name="T13" fmla="*/ 50 h 114"/>
                <a:gd name="T14" fmla="*/ 12 w 114"/>
                <a:gd name="T15" fmla="*/ 39 h 114"/>
                <a:gd name="T16" fmla="*/ 11 w 114"/>
                <a:gd name="T17" fmla="*/ 32 h 114"/>
                <a:gd name="T18" fmla="*/ 4 w 114"/>
                <a:gd name="T19" fmla="*/ 22 h 114"/>
                <a:gd name="T20" fmla="*/ 2 w 114"/>
                <a:gd name="T21" fmla="*/ 16 h 114"/>
                <a:gd name="T22" fmla="*/ 4 w 114"/>
                <a:gd name="T23" fmla="*/ 1 h 114"/>
                <a:gd name="T24" fmla="*/ 16 w 114"/>
                <a:gd name="T25" fmla="*/ 11 h 114"/>
                <a:gd name="T26" fmla="*/ 32 w 114"/>
                <a:gd name="T27" fmla="*/ 3 h 114"/>
                <a:gd name="T28" fmla="*/ 42 w 114"/>
                <a:gd name="T29" fmla="*/ 5 h 114"/>
                <a:gd name="T30" fmla="*/ 47 w 114"/>
                <a:gd name="T31" fmla="*/ 6 h 114"/>
                <a:gd name="T32" fmla="*/ 57 w 114"/>
                <a:gd name="T33" fmla="*/ 6 h 114"/>
                <a:gd name="T34" fmla="*/ 66 w 114"/>
                <a:gd name="T35" fmla="*/ 6 h 114"/>
                <a:gd name="T36" fmla="*/ 71 w 114"/>
                <a:gd name="T37" fmla="*/ 9 h 114"/>
                <a:gd name="T38" fmla="*/ 80 w 114"/>
                <a:gd name="T39" fmla="*/ 10 h 114"/>
                <a:gd name="T40" fmla="*/ 85 w 114"/>
                <a:gd name="T41" fmla="*/ 8 h 114"/>
                <a:gd name="T42" fmla="*/ 88 w 114"/>
                <a:gd name="T43" fmla="*/ 16 h 114"/>
                <a:gd name="T44" fmla="*/ 99 w 114"/>
                <a:gd name="T45" fmla="*/ 15 h 114"/>
                <a:gd name="T46" fmla="*/ 105 w 114"/>
                <a:gd name="T47" fmla="*/ 19 h 114"/>
                <a:gd name="T48" fmla="*/ 100 w 114"/>
                <a:gd name="T49" fmla="*/ 31 h 114"/>
                <a:gd name="T50" fmla="*/ 100 w 114"/>
                <a:gd name="T51" fmla="*/ 34 h 114"/>
                <a:gd name="T52" fmla="*/ 101 w 114"/>
                <a:gd name="T53" fmla="*/ 41 h 114"/>
                <a:gd name="T54" fmla="*/ 105 w 114"/>
                <a:gd name="T55" fmla="*/ 43 h 114"/>
                <a:gd name="T56" fmla="*/ 109 w 114"/>
                <a:gd name="T57" fmla="*/ 46 h 114"/>
                <a:gd name="T58" fmla="*/ 112 w 114"/>
                <a:gd name="T59" fmla="*/ 50 h 114"/>
                <a:gd name="T60" fmla="*/ 111 w 114"/>
                <a:gd name="T61" fmla="*/ 54 h 114"/>
                <a:gd name="T62" fmla="*/ 103 w 114"/>
                <a:gd name="T63" fmla="*/ 52 h 114"/>
                <a:gd name="T64" fmla="*/ 106 w 114"/>
                <a:gd name="T65" fmla="*/ 58 h 114"/>
                <a:gd name="T66" fmla="*/ 110 w 114"/>
                <a:gd name="T67" fmla="*/ 67 h 114"/>
                <a:gd name="T68" fmla="*/ 107 w 114"/>
                <a:gd name="T69" fmla="*/ 68 h 114"/>
                <a:gd name="T70" fmla="*/ 102 w 114"/>
                <a:gd name="T71" fmla="*/ 71 h 114"/>
                <a:gd name="T72" fmla="*/ 97 w 114"/>
                <a:gd name="T73" fmla="*/ 72 h 114"/>
                <a:gd name="T74" fmla="*/ 93 w 114"/>
                <a:gd name="T75" fmla="*/ 73 h 114"/>
                <a:gd name="T76" fmla="*/ 96 w 114"/>
                <a:gd name="T77" fmla="*/ 78 h 114"/>
                <a:gd name="T78" fmla="*/ 97 w 114"/>
                <a:gd name="T79" fmla="*/ 83 h 114"/>
                <a:gd name="T80" fmla="*/ 94 w 114"/>
                <a:gd name="T81" fmla="*/ 79 h 114"/>
                <a:gd name="T82" fmla="*/ 86 w 114"/>
                <a:gd name="T83" fmla="*/ 83 h 114"/>
                <a:gd name="T84" fmla="*/ 84 w 114"/>
                <a:gd name="T85" fmla="*/ 90 h 114"/>
                <a:gd name="T86" fmla="*/ 80 w 114"/>
                <a:gd name="T87" fmla="*/ 93 h 114"/>
                <a:gd name="T88" fmla="*/ 79 w 114"/>
                <a:gd name="T89" fmla="*/ 100 h 114"/>
                <a:gd name="T90" fmla="*/ 82 w 114"/>
                <a:gd name="T91" fmla="*/ 106 h 11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4"/>
                <a:gd name="T139" fmla="*/ 0 h 114"/>
                <a:gd name="T140" fmla="*/ 114 w 114"/>
                <a:gd name="T141" fmla="*/ 114 h 11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4" h="114">
                  <a:moveTo>
                    <a:pt x="79" y="114"/>
                  </a:moveTo>
                  <a:lnTo>
                    <a:pt x="79" y="111"/>
                  </a:lnTo>
                  <a:lnTo>
                    <a:pt x="77" y="110"/>
                  </a:lnTo>
                  <a:lnTo>
                    <a:pt x="77" y="108"/>
                  </a:lnTo>
                  <a:lnTo>
                    <a:pt x="72" y="107"/>
                  </a:lnTo>
                  <a:lnTo>
                    <a:pt x="68" y="102"/>
                  </a:lnTo>
                  <a:lnTo>
                    <a:pt x="64" y="102"/>
                  </a:lnTo>
                  <a:lnTo>
                    <a:pt x="60" y="98"/>
                  </a:lnTo>
                  <a:lnTo>
                    <a:pt x="60" y="96"/>
                  </a:lnTo>
                  <a:lnTo>
                    <a:pt x="56" y="95"/>
                  </a:lnTo>
                  <a:lnTo>
                    <a:pt x="53" y="97"/>
                  </a:lnTo>
                  <a:lnTo>
                    <a:pt x="52" y="95"/>
                  </a:lnTo>
                  <a:lnTo>
                    <a:pt x="56" y="93"/>
                  </a:lnTo>
                  <a:lnTo>
                    <a:pt x="44" y="80"/>
                  </a:lnTo>
                  <a:lnTo>
                    <a:pt x="43" y="74"/>
                  </a:lnTo>
                  <a:lnTo>
                    <a:pt x="41" y="72"/>
                  </a:lnTo>
                  <a:lnTo>
                    <a:pt x="38" y="71"/>
                  </a:lnTo>
                  <a:lnTo>
                    <a:pt x="27" y="60"/>
                  </a:lnTo>
                  <a:lnTo>
                    <a:pt x="27" y="58"/>
                  </a:lnTo>
                  <a:lnTo>
                    <a:pt x="22" y="51"/>
                  </a:lnTo>
                  <a:lnTo>
                    <a:pt x="19" y="50"/>
                  </a:lnTo>
                  <a:lnTo>
                    <a:pt x="14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3" y="38"/>
                  </a:lnTo>
                  <a:lnTo>
                    <a:pt x="11" y="35"/>
                  </a:lnTo>
                  <a:lnTo>
                    <a:pt x="11" y="32"/>
                  </a:lnTo>
                  <a:lnTo>
                    <a:pt x="8" y="29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1" y="4"/>
                  </a:lnTo>
                  <a:lnTo>
                    <a:pt x="4" y="1"/>
                  </a:lnTo>
                  <a:lnTo>
                    <a:pt x="9" y="2"/>
                  </a:lnTo>
                  <a:lnTo>
                    <a:pt x="9" y="3"/>
                  </a:lnTo>
                  <a:lnTo>
                    <a:pt x="16" y="11"/>
                  </a:lnTo>
                  <a:lnTo>
                    <a:pt x="18" y="11"/>
                  </a:lnTo>
                  <a:lnTo>
                    <a:pt x="23" y="2"/>
                  </a:lnTo>
                  <a:lnTo>
                    <a:pt x="32" y="3"/>
                  </a:lnTo>
                  <a:lnTo>
                    <a:pt x="35" y="0"/>
                  </a:lnTo>
                  <a:lnTo>
                    <a:pt x="42" y="5"/>
                  </a:lnTo>
                  <a:lnTo>
                    <a:pt x="44" y="5"/>
                  </a:lnTo>
                  <a:lnTo>
                    <a:pt x="45" y="4"/>
                  </a:lnTo>
                  <a:lnTo>
                    <a:pt x="47" y="6"/>
                  </a:lnTo>
                  <a:lnTo>
                    <a:pt x="55" y="7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6" y="6"/>
                  </a:lnTo>
                  <a:lnTo>
                    <a:pt x="68" y="6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3" y="6"/>
                  </a:lnTo>
                  <a:lnTo>
                    <a:pt x="78" y="7"/>
                  </a:lnTo>
                  <a:lnTo>
                    <a:pt x="80" y="10"/>
                  </a:lnTo>
                  <a:lnTo>
                    <a:pt x="82" y="9"/>
                  </a:lnTo>
                  <a:lnTo>
                    <a:pt x="82" y="8"/>
                  </a:lnTo>
                  <a:lnTo>
                    <a:pt x="85" y="8"/>
                  </a:lnTo>
                  <a:lnTo>
                    <a:pt x="89" y="12"/>
                  </a:lnTo>
                  <a:lnTo>
                    <a:pt x="88" y="15"/>
                  </a:lnTo>
                  <a:lnTo>
                    <a:pt x="88" y="16"/>
                  </a:lnTo>
                  <a:lnTo>
                    <a:pt x="91" y="18"/>
                  </a:lnTo>
                  <a:lnTo>
                    <a:pt x="95" y="18"/>
                  </a:lnTo>
                  <a:lnTo>
                    <a:pt x="99" y="15"/>
                  </a:lnTo>
                  <a:lnTo>
                    <a:pt x="105" y="16"/>
                  </a:lnTo>
                  <a:lnTo>
                    <a:pt x="106" y="17"/>
                  </a:lnTo>
                  <a:lnTo>
                    <a:pt x="105" y="19"/>
                  </a:lnTo>
                  <a:lnTo>
                    <a:pt x="105" y="21"/>
                  </a:lnTo>
                  <a:lnTo>
                    <a:pt x="103" y="25"/>
                  </a:lnTo>
                  <a:lnTo>
                    <a:pt x="100" y="31"/>
                  </a:lnTo>
                  <a:lnTo>
                    <a:pt x="99" y="31"/>
                  </a:lnTo>
                  <a:lnTo>
                    <a:pt x="99" y="33"/>
                  </a:lnTo>
                  <a:lnTo>
                    <a:pt x="100" y="34"/>
                  </a:lnTo>
                  <a:lnTo>
                    <a:pt x="98" y="37"/>
                  </a:lnTo>
                  <a:lnTo>
                    <a:pt x="99" y="40"/>
                  </a:lnTo>
                  <a:lnTo>
                    <a:pt x="101" y="41"/>
                  </a:lnTo>
                  <a:lnTo>
                    <a:pt x="102" y="42"/>
                  </a:lnTo>
                  <a:lnTo>
                    <a:pt x="104" y="41"/>
                  </a:lnTo>
                  <a:lnTo>
                    <a:pt x="105" y="43"/>
                  </a:lnTo>
                  <a:lnTo>
                    <a:pt x="106" y="45"/>
                  </a:lnTo>
                  <a:lnTo>
                    <a:pt x="108" y="47"/>
                  </a:lnTo>
                  <a:lnTo>
                    <a:pt x="109" y="46"/>
                  </a:lnTo>
                  <a:lnTo>
                    <a:pt x="110" y="47"/>
                  </a:lnTo>
                  <a:lnTo>
                    <a:pt x="110" y="48"/>
                  </a:lnTo>
                  <a:lnTo>
                    <a:pt x="112" y="50"/>
                  </a:lnTo>
                  <a:lnTo>
                    <a:pt x="113" y="50"/>
                  </a:lnTo>
                  <a:lnTo>
                    <a:pt x="114" y="52"/>
                  </a:lnTo>
                  <a:lnTo>
                    <a:pt x="111" y="54"/>
                  </a:lnTo>
                  <a:lnTo>
                    <a:pt x="107" y="54"/>
                  </a:lnTo>
                  <a:lnTo>
                    <a:pt x="104" y="52"/>
                  </a:lnTo>
                  <a:lnTo>
                    <a:pt x="103" y="52"/>
                  </a:lnTo>
                  <a:lnTo>
                    <a:pt x="102" y="53"/>
                  </a:lnTo>
                  <a:lnTo>
                    <a:pt x="103" y="54"/>
                  </a:lnTo>
                  <a:lnTo>
                    <a:pt x="106" y="58"/>
                  </a:lnTo>
                  <a:lnTo>
                    <a:pt x="110" y="63"/>
                  </a:lnTo>
                  <a:lnTo>
                    <a:pt x="111" y="63"/>
                  </a:lnTo>
                  <a:lnTo>
                    <a:pt x="110" y="67"/>
                  </a:lnTo>
                  <a:lnTo>
                    <a:pt x="110" y="69"/>
                  </a:lnTo>
                  <a:lnTo>
                    <a:pt x="108" y="69"/>
                  </a:lnTo>
                  <a:lnTo>
                    <a:pt x="107" y="68"/>
                  </a:lnTo>
                  <a:lnTo>
                    <a:pt x="105" y="68"/>
                  </a:lnTo>
                  <a:lnTo>
                    <a:pt x="104" y="70"/>
                  </a:lnTo>
                  <a:lnTo>
                    <a:pt x="102" y="71"/>
                  </a:lnTo>
                  <a:lnTo>
                    <a:pt x="100" y="71"/>
                  </a:lnTo>
                  <a:lnTo>
                    <a:pt x="99" y="72"/>
                  </a:lnTo>
                  <a:lnTo>
                    <a:pt x="97" y="72"/>
                  </a:lnTo>
                  <a:lnTo>
                    <a:pt x="97" y="71"/>
                  </a:lnTo>
                  <a:lnTo>
                    <a:pt x="95" y="71"/>
                  </a:lnTo>
                  <a:lnTo>
                    <a:pt x="93" y="73"/>
                  </a:lnTo>
                  <a:lnTo>
                    <a:pt x="94" y="74"/>
                  </a:lnTo>
                  <a:lnTo>
                    <a:pt x="96" y="75"/>
                  </a:lnTo>
                  <a:lnTo>
                    <a:pt x="96" y="78"/>
                  </a:lnTo>
                  <a:lnTo>
                    <a:pt x="97" y="79"/>
                  </a:lnTo>
                  <a:lnTo>
                    <a:pt x="97" y="82"/>
                  </a:lnTo>
                  <a:lnTo>
                    <a:pt x="97" y="83"/>
                  </a:lnTo>
                  <a:lnTo>
                    <a:pt x="95" y="83"/>
                  </a:lnTo>
                  <a:lnTo>
                    <a:pt x="94" y="82"/>
                  </a:lnTo>
                  <a:lnTo>
                    <a:pt x="94" y="79"/>
                  </a:lnTo>
                  <a:lnTo>
                    <a:pt x="93" y="79"/>
                  </a:lnTo>
                  <a:lnTo>
                    <a:pt x="90" y="79"/>
                  </a:lnTo>
                  <a:lnTo>
                    <a:pt x="86" y="83"/>
                  </a:lnTo>
                  <a:lnTo>
                    <a:pt x="85" y="85"/>
                  </a:lnTo>
                  <a:lnTo>
                    <a:pt x="84" y="86"/>
                  </a:lnTo>
                  <a:lnTo>
                    <a:pt x="84" y="90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80" y="93"/>
                  </a:lnTo>
                  <a:lnTo>
                    <a:pt x="79" y="98"/>
                  </a:lnTo>
                  <a:lnTo>
                    <a:pt x="79" y="100"/>
                  </a:lnTo>
                  <a:lnTo>
                    <a:pt x="80" y="103"/>
                  </a:lnTo>
                  <a:lnTo>
                    <a:pt x="82" y="104"/>
                  </a:lnTo>
                  <a:lnTo>
                    <a:pt x="82" y="106"/>
                  </a:lnTo>
                  <a:lnTo>
                    <a:pt x="79" y="111"/>
                  </a:lnTo>
                  <a:lnTo>
                    <a:pt x="79" y="114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31" name="Group 114"/>
          <p:cNvGrpSpPr>
            <a:grpSpLocks/>
          </p:cNvGrpSpPr>
          <p:nvPr/>
        </p:nvGrpSpPr>
        <p:grpSpPr bwMode="auto">
          <a:xfrm>
            <a:off x="4786313" y="4406900"/>
            <a:ext cx="306387" cy="185738"/>
            <a:chOff x="2257" y="2776"/>
            <a:chExt cx="193" cy="117"/>
          </a:xfrm>
        </p:grpSpPr>
        <p:sp>
          <p:nvSpPr>
            <p:cNvPr id="34402" name="Freeform 112"/>
            <p:cNvSpPr>
              <a:spLocks/>
            </p:cNvSpPr>
            <p:nvPr/>
          </p:nvSpPr>
          <p:spPr bwMode="auto">
            <a:xfrm>
              <a:off x="2257" y="2776"/>
              <a:ext cx="193" cy="117"/>
            </a:xfrm>
            <a:custGeom>
              <a:avLst/>
              <a:gdLst>
                <a:gd name="T0" fmla="*/ 37 w 193"/>
                <a:gd name="T1" fmla="*/ 24 h 117"/>
                <a:gd name="T2" fmla="*/ 67 w 193"/>
                <a:gd name="T3" fmla="*/ 34 h 117"/>
                <a:gd name="T4" fmla="*/ 77 w 193"/>
                <a:gd name="T5" fmla="*/ 23 h 117"/>
                <a:gd name="T6" fmla="*/ 101 w 193"/>
                <a:gd name="T7" fmla="*/ 14 h 117"/>
                <a:gd name="T8" fmla="*/ 117 w 193"/>
                <a:gd name="T9" fmla="*/ 13 h 117"/>
                <a:gd name="T10" fmla="*/ 125 w 193"/>
                <a:gd name="T11" fmla="*/ 6 h 117"/>
                <a:gd name="T12" fmla="*/ 142 w 193"/>
                <a:gd name="T13" fmla="*/ 2 h 117"/>
                <a:gd name="T14" fmla="*/ 157 w 193"/>
                <a:gd name="T15" fmla="*/ 3 h 117"/>
                <a:gd name="T16" fmla="*/ 172 w 193"/>
                <a:gd name="T17" fmla="*/ 7 h 117"/>
                <a:gd name="T18" fmla="*/ 186 w 193"/>
                <a:gd name="T19" fmla="*/ 15 h 117"/>
                <a:gd name="T20" fmla="*/ 193 w 193"/>
                <a:gd name="T21" fmla="*/ 25 h 117"/>
                <a:gd name="T22" fmla="*/ 187 w 193"/>
                <a:gd name="T23" fmla="*/ 33 h 117"/>
                <a:gd name="T24" fmla="*/ 175 w 193"/>
                <a:gd name="T25" fmla="*/ 36 h 117"/>
                <a:gd name="T26" fmla="*/ 170 w 193"/>
                <a:gd name="T27" fmla="*/ 45 h 117"/>
                <a:gd name="T28" fmla="*/ 165 w 193"/>
                <a:gd name="T29" fmla="*/ 57 h 117"/>
                <a:gd name="T30" fmla="*/ 156 w 193"/>
                <a:gd name="T31" fmla="*/ 70 h 117"/>
                <a:gd name="T32" fmla="*/ 148 w 193"/>
                <a:gd name="T33" fmla="*/ 84 h 117"/>
                <a:gd name="T34" fmla="*/ 136 w 193"/>
                <a:gd name="T35" fmla="*/ 97 h 117"/>
                <a:gd name="T36" fmla="*/ 118 w 193"/>
                <a:gd name="T37" fmla="*/ 102 h 117"/>
                <a:gd name="T38" fmla="*/ 109 w 193"/>
                <a:gd name="T39" fmla="*/ 100 h 117"/>
                <a:gd name="T40" fmla="*/ 94 w 193"/>
                <a:gd name="T41" fmla="*/ 106 h 117"/>
                <a:gd name="T42" fmla="*/ 83 w 193"/>
                <a:gd name="T43" fmla="*/ 109 h 117"/>
                <a:gd name="T44" fmla="*/ 69 w 193"/>
                <a:gd name="T45" fmla="*/ 114 h 117"/>
                <a:gd name="T46" fmla="*/ 53 w 193"/>
                <a:gd name="T47" fmla="*/ 117 h 117"/>
                <a:gd name="T48" fmla="*/ 40 w 193"/>
                <a:gd name="T49" fmla="*/ 110 h 117"/>
                <a:gd name="T50" fmla="*/ 26 w 193"/>
                <a:gd name="T51" fmla="*/ 98 h 117"/>
                <a:gd name="T52" fmla="*/ 15 w 193"/>
                <a:gd name="T53" fmla="*/ 87 h 117"/>
                <a:gd name="T54" fmla="*/ 7 w 193"/>
                <a:gd name="T55" fmla="*/ 73 h 117"/>
                <a:gd name="T56" fmla="*/ 0 w 193"/>
                <a:gd name="T57" fmla="*/ 71 h 117"/>
                <a:gd name="T58" fmla="*/ 11 w 193"/>
                <a:gd name="T59" fmla="*/ 64 h 117"/>
                <a:gd name="T60" fmla="*/ 10 w 193"/>
                <a:gd name="T61" fmla="*/ 53 h 117"/>
                <a:gd name="T62" fmla="*/ 11 w 193"/>
                <a:gd name="T63" fmla="*/ 40 h 117"/>
                <a:gd name="T64" fmla="*/ 27 w 193"/>
                <a:gd name="T65" fmla="*/ 35 h 117"/>
                <a:gd name="T66" fmla="*/ 30 w 193"/>
                <a:gd name="T67" fmla="*/ 21 h 11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93"/>
                <a:gd name="T103" fmla="*/ 0 h 117"/>
                <a:gd name="T104" fmla="*/ 193 w 193"/>
                <a:gd name="T105" fmla="*/ 117 h 11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93" h="117">
                  <a:moveTo>
                    <a:pt x="30" y="21"/>
                  </a:moveTo>
                  <a:lnTo>
                    <a:pt x="37" y="24"/>
                  </a:lnTo>
                  <a:lnTo>
                    <a:pt x="49" y="34"/>
                  </a:lnTo>
                  <a:lnTo>
                    <a:pt x="67" y="34"/>
                  </a:lnTo>
                  <a:lnTo>
                    <a:pt x="70" y="33"/>
                  </a:lnTo>
                  <a:lnTo>
                    <a:pt x="77" y="23"/>
                  </a:lnTo>
                  <a:lnTo>
                    <a:pt x="93" y="18"/>
                  </a:lnTo>
                  <a:lnTo>
                    <a:pt x="101" y="14"/>
                  </a:lnTo>
                  <a:lnTo>
                    <a:pt x="110" y="17"/>
                  </a:lnTo>
                  <a:lnTo>
                    <a:pt x="117" y="13"/>
                  </a:lnTo>
                  <a:lnTo>
                    <a:pt x="123" y="12"/>
                  </a:lnTo>
                  <a:lnTo>
                    <a:pt x="125" y="6"/>
                  </a:lnTo>
                  <a:lnTo>
                    <a:pt x="134" y="1"/>
                  </a:lnTo>
                  <a:lnTo>
                    <a:pt x="142" y="2"/>
                  </a:lnTo>
                  <a:lnTo>
                    <a:pt x="149" y="0"/>
                  </a:lnTo>
                  <a:lnTo>
                    <a:pt x="157" y="3"/>
                  </a:lnTo>
                  <a:lnTo>
                    <a:pt x="165" y="8"/>
                  </a:lnTo>
                  <a:lnTo>
                    <a:pt x="172" y="7"/>
                  </a:lnTo>
                  <a:lnTo>
                    <a:pt x="180" y="11"/>
                  </a:lnTo>
                  <a:lnTo>
                    <a:pt x="186" y="15"/>
                  </a:lnTo>
                  <a:lnTo>
                    <a:pt x="191" y="20"/>
                  </a:lnTo>
                  <a:lnTo>
                    <a:pt x="193" y="25"/>
                  </a:lnTo>
                  <a:lnTo>
                    <a:pt x="191" y="29"/>
                  </a:lnTo>
                  <a:lnTo>
                    <a:pt x="187" y="33"/>
                  </a:lnTo>
                  <a:lnTo>
                    <a:pt x="183" y="33"/>
                  </a:lnTo>
                  <a:lnTo>
                    <a:pt x="175" y="36"/>
                  </a:lnTo>
                  <a:lnTo>
                    <a:pt x="170" y="42"/>
                  </a:lnTo>
                  <a:lnTo>
                    <a:pt x="170" y="45"/>
                  </a:lnTo>
                  <a:lnTo>
                    <a:pt x="166" y="51"/>
                  </a:lnTo>
                  <a:lnTo>
                    <a:pt x="165" y="57"/>
                  </a:lnTo>
                  <a:lnTo>
                    <a:pt x="159" y="64"/>
                  </a:lnTo>
                  <a:lnTo>
                    <a:pt x="156" y="70"/>
                  </a:lnTo>
                  <a:lnTo>
                    <a:pt x="152" y="79"/>
                  </a:lnTo>
                  <a:lnTo>
                    <a:pt x="148" y="84"/>
                  </a:lnTo>
                  <a:lnTo>
                    <a:pt x="144" y="93"/>
                  </a:lnTo>
                  <a:lnTo>
                    <a:pt x="136" y="97"/>
                  </a:lnTo>
                  <a:lnTo>
                    <a:pt x="119" y="102"/>
                  </a:lnTo>
                  <a:lnTo>
                    <a:pt x="118" y="102"/>
                  </a:lnTo>
                  <a:lnTo>
                    <a:pt x="115" y="98"/>
                  </a:lnTo>
                  <a:lnTo>
                    <a:pt x="109" y="100"/>
                  </a:lnTo>
                  <a:lnTo>
                    <a:pt x="103" y="101"/>
                  </a:lnTo>
                  <a:lnTo>
                    <a:pt x="94" y="106"/>
                  </a:lnTo>
                  <a:lnTo>
                    <a:pt x="87" y="106"/>
                  </a:lnTo>
                  <a:lnTo>
                    <a:pt x="83" y="109"/>
                  </a:lnTo>
                  <a:lnTo>
                    <a:pt x="76" y="110"/>
                  </a:lnTo>
                  <a:lnTo>
                    <a:pt x="69" y="114"/>
                  </a:lnTo>
                  <a:lnTo>
                    <a:pt x="62" y="116"/>
                  </a:lnTo>
                  <a:lnTo>
                    <a:pt x="53" y="117"/>
                  </a:lnTo>
                  <a:lnTo>
                    <a:pt x="46" y="111"/>
                  </a:lnTo>
                  <a:lnTo>
                    <a:pt x="40" y="110"/>
                  </a:lnTo>
                  <a:lnTo>
                    <a:pt x="34" y="102"/>
                  </a:lnTo>
                  <a:lnTo>
                    <a:pt x="26" y="98"/>
                  </a:lnTo>
                  <a:lnTo>
                    <a:pt x="21" y="90"/>
                  </a:lnTo>
                  <a:lnTo>
                    <a:pt x="15" y="87"/>
                  </a:lnTo>
                  <a:lnTo>
                    <a:pt x="10" y="80"/>
                  </a:lnTo>
                  <a:lnTo>
                    <a:pt x="7" y="73"/>
                  </a:lnTo>
                  <a:lnTo>
                    <a:pt x="3" y="71"/>
                  </a:lnTo>
                  <a:lnTo>
                    <a:pt x="0" y="71"/>
                  </a:lnTo>
                  <a:lnTo>
                    <a:pt x="5" y="65"/>
                  </a:lnTo>
                  <a:lnTo>
                    <a:pt x="11" y="64"/>
                  </a:lnTo>
                  <a:lnTo>
                    <a:pt x="10" y="58"/>
                  </a:lnTo>
                  <a:lnTo>
                    <a:pt x="10" y="53"/>
                  </a:lnTo>
                  <a:lnTo>
                    <a:pt x="15" y="44"/>
                  </a:lnTo>
                  <a:lnTo>
                    <a:pt x="11" y="40"/>
                  </a:lnTo>
                  <a:lnTo>
                    <a:pt x="14" y="36"/>
                  </a:lnTo>
                  <a:lnTo>
                    <a:pt x="27" y="35"/>
                  </a:lnTo>
                  <a:lnTo>
                    <a:pt x="30" y="31"/>
                  </a:lnTo>
                  <a:lnTo>
                    <a:pt x="30" y="2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03" name="Freeform 113"/>
            <p:cNvSpPr>
              <a:spLocks/>
            </p:cNvSpPr>
            <p:nvPr/>
          </p:nvSpPr>
          <p:spPr bwMode="auto">
            <a:xfrm>
              <a:off x="2257" y="2776"/>
              <a:ext cx="193" cy="117"/>
            </a:xfrm>
            <a:custGeom>
              <a:avLst/>
              <a:gdLst>
                <a:gd name="T0" fmla="*/ 37 w 193"/>
                <a:gd name="T1" fmla="*/ 24 h 117"/>
                <a:gd name="T2" fmla="*/ 67 w 193"/>
                <a:gd name="T3" fmla="*/ 34 h 117"/>
                <a:gd name="T4" fmla="*/ 77 w 193"/>
                <a:gd name="T5" fmla="*/ 23 h 117"/>
                <a:gd name="T6" fmla="*/ 101 w 193"/>
                <a:gd name="T7" fmla="*/ 14 h 117"/>
                <a:gd name="T8" fmla="*/ 117 w 193"/>
                <a:gd name="T9" fmla="*/ 13 h 117"/>
                <a:gd name="T10" fmla="*/ 125 w 193"/>
                <a:gd name="T11" fmla="*/ 6 h 117"/>
                <a:gd name="T12" fmla="*/ 142 w 193"/>
                <a:gd name="T13" fmla="*/ 2 h 117"/>
                <a:gd name="T14" fmla="*/ 157 w 193"/>
                <a:gd name="T15" fmla="*/ 3 h 117"/>
                <a:gd name="T16" fmla="*/ 172 w 193"/>
                <a:gd name="T17" fmla="*/ 7 h 117"/>
                <a:gd name="T18" fmla="*/ 186 w 193"/>
                <a:gd name="T19" fmla="*/ 15 h 117"/>
                <a:gd name="T20" fmla="*/ 193 w 193"/>
                <a:gd name="T21" fmla="*/ 25 h 117"/>
                <a:gd name="T22" fmla="*/ 187 w 193"/>
                <a:gd name="T23" fmla="*/ 33 h 117"/>
                <a:gd name="T24" fmla="*/ 175 w 193"/>
                <a:gd name="T25" fmla="*/ 36 h 117"/>
                <a:gd name="T26" fmla="*/ 170 w 193"/>
                <a:gd name="T27" fmla="*/ 45 h 117"/>
                <a:gd name="T28" fmla="*/ 165 w 193"/>
                <a:gd name="T29" fmla="*/ 57 h 117"/>
                <a:gd name="T30" fmla="*/ 156 w 193"/>
                <a:gd name="T31" fmla="*/ 70 h 117"/>
                <a:gd name="T32" fmla="*/ 148 w 193"/>
                <a:gd name="T33" fmla="*/ 84 h 117"/>
                <a:gd name="T34" fmla="*/ 136 w 193"/>
                <a:gd name="T35" fmla="*/ 97 h 117"/>
                <a:gd name="T36" fmla="*/ 118 w 193"/>
                <a:gd name="T37" fmla="*/ 102 h 117"/>
                <a:gd name="T38" fmla="*/ 109 w 193"/>
                <a:gd name="T39" fmla="*/ 100 h 117"/>
                <a:gd name="T40" fmla="*/ 94 w 193"/>
                <a:gd name="T41" fmla="*/ 106 h 117"/>
                <a:gd name="T42" fmla="*/ 83 w 193"/>
                <a:gd name="T43" fmla="*/ 109 h 117"/>
                <a:gd name="T44" fmla="*/ 69 w 193"/>
                <a:gd name="T45" fmla="*/ 114 h 117"/>
                <a:gd name="T46" fmla="*/ 53 w 193"/>
                <a:gd name="T47" fmla="*/ 117 h 117"/>
                <a:gd name="T48" fmla="*/ 40 w 193"/>
                <a:gd name="T49" fmla="*/ 110 h 117"/>
                <a:gd name="T50" fmla="*/ 26 w 193"/>
                <a:gd name="T51" fmla="*/ 98 h 117"/>
                <a:gd name="T52" fmla="*/ 15 w 193"/>
                <a:gd name="T53" fmla="*/ 87 h 117"/>
                <a:gd name="T54" fmla="*/ 7 w 193"/>
                <a:gd name="T55" fmla="*/ 73 h 117"/>
                <a:gd name="T56" fmla="*/ 0 w 193"/>
                <a:gd name="T57" fmla="*/ 71 h 117"/>
                <a:gd name="T58" fmla="*/ 11 w 193"/>
                <a:gd name="T59" fmla="*/ 64 h 117"/>
                <a:gd name="T60" fmla="*/ 10 w 193"/>
                <a:gd name="T61" fmla="*/ 53 h 117"/>
                <a:gd name="T62" fmla="*/ 11 w 193"/>
                <a:gd name="T63" fmla="*/ 40 h 117"/>
                <a:gd name="T64" fmla="*/ 27 w 193"/>
                <a:gd name="T65" fmla="*/ 35 h 117"/>
                <a:gd name="T66" fmla="*/ 30 w 193"/>
                <a:gd name="T67" fmla="*/ 21 h 11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93"/>
                <a:gd name="T103" fmla="*/ 0 h 117"/>
                <a:gd name="T104" fmla="*/ 193 w 193"/>
                <a:gd name="T105" fmla="*/ 117 h 117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93" h="117">
                  <a:moveTo>
                    <a:pt x="30" y="21"/>
                  </a:moveTo>
                  <a:lnTo>
                    <a:pt x="37" y="24"/>
                  </a:lnTo>
                  <a:lnTo>
                    <a:pt x="49" y="34"/>
                  </a:lnTo>
                  <a:lnTo>
                    <a:pt x="67" y="34"/>
                  </a:lnTo>
                  <a:lnTo>
                    <a:pt x="70" y="33"/>
                  </a:lnTo>
                  <a:lnTo>
                    <a:pt x="77" y="23"/>
                  </a:lnTo>
                  <a:lnTo>
                    <a:pt x="93" y="18"/>
                  </a:lnTo>
                  <a:lnTo>
                    <a:pt x="101" y="14"/>
                  </a:lnTo>
                  <a:lnTo>
                    <a:pt x="110" y="17"/>
                  </a:lnTo>
                  <a:lnTo>
                    <a:pt x="117" y="13"/>
                  </a:lnTo>
                  <a:lnTo>
                    <a:pt x="123" y="12"/>
                  </a:lnTo>
                  <a:lnTo>
                    <a:pt x="125" y="6"/>
                  </a:lnTo>
                  <a:lnTo>
                    <a:pt x="134" y="1"/>
                  </a:lnTo>
                  <a:lnTo>
                    <a:pt x="142" y="2"/>
                  </a:lnTo>
                  <a:lnTo>
                    <a:pt x="149" y="0"/>
                  </a:lnTo>
                  <a:lnTo>
                    <a:pt x="157" y="3"/>
                  </a:lnTo>
                  <a:lnTo>
                    <a:pt x="165" y="8"/>
                  </a:lnTo>
                  <a:lnTo>
                    <a:pt x="172" y="7"/>
                  </a:lnTo>
                  <a:lnTo>
                    <a:pt x="180" y="11"/>
                  </a:lnTo>
                  <a:lnTo>
                    <a:pt x="186" y="15"/>
                  </a:lnTo>
                  <a:lnTo>
                    <a:pt x="191" y="20"/>
                  </a:lnTo>
                  <a:lnTo>
                    <a:pt x="193" y="25"/>
                  </a:lnTo>
                  <a:lnTo>
                    <a:pt x="191" y="29"/>
                  </a:lnTo>
                  <a:lnTo>
                    <a:pt x="187" y="33"/>
                  </a:lnTo>
                  <a:lnTo>
                    <a:pt x="183" y="33"/>
                  </a:lnTo>
                  <a:lnTo>
                    <a:pt x="175" y="36"/>
                  </a:lnTo>
                  <a:lnTo>
                    <a:pt x="170" y="42"/>
                  </a:lnTo>
                  <a:lnTo>
                    <a:pt x="170" y="45"/>
                  </a:lnTo>
                  <a:lnTo>
                    <a:pt x="166" y="51"/>
                  </a:lnTo>
                  <a:lnTo>
                    <a:pt x="165" y="57"/>
                  </a:lnTo>
                  <a:lnTo>
                    <a:pt x="159" y="64"/>
                  </a:lnTo>
                  <a:lnTo>
                    <a:pt x="156" y="70"/>
                  </a:lnTo>
                  <a:lnTo>
                    <a:pt x="152" y="79"/>
                  </a:lnTo>
                  <a:lnTo>
                    <a:pt x="148" y="84"/>
                  </a:lnTo>
                  <a:lnTo>
                    <a:pt x="144" y="93"/>
                  </a:lnTo>
                  <a:lnTo>
                    <a:pt x="136" y="97"/>
                  </a:lnTo>
                  <a:lnTo>
                    <a:pt x="119" y="102"/>
                  </a:lnTo>
                  <a:lnTo>
                    <a:pt x="118" y="102"/>
                  </a:lnTo>
                  <a:lnTo>
                    <a:pt x="115" y="98"/>
                  </a:lnTo>
                  <a:lnTo>
                    <a:pt x="109" y="100"/>
                  </a:lnTo>
                  <a:lnTo>
                    <a:pt x="103" y="101"/>
                  </a:lnTo>
                  <a:lnTo>
                    <a:pt x="94" y="106"/>
                  </a:lnTo>
                  <a:lnTo>
                    <a:pt x="87" y="106"/>
                  </a:lnTo>
                  <a:lnTo>
                    <a:pt x="83" y="109"/>
                  </a:lnTo>
                  <a:lnTo>
                    <a:pt x="76" y="110"/>
                  </a:lnTo>
                  <a:lnTo>
                    <a:pt x="69" y="114"/>
                  </a:lnTo>
                  <a:lnTo>
                    <a:pt x="62" y="116"/>
                  </a:lnTo>
                  <a:lnTo>
                    <a:pt x="53" y="117"/>
                  </a:lnTo>
                  <a:lnTo>
                    <a:pt x="46" y="111"/>
                  </a:lnTo>
                  <a:lnTo>
                    <a:pt x="40" y="110"/>
                  </a:lnTo>
                  <a:lnTo>
                    <a:pt x="34" y="102"/>
                  </a:lnTo>
                  <a:lnTo>
                    <a:pt x="26" y="98"/>
                  </a:lnTo>
                  <a:lnTo>
                    <a:pt x="21" y="90"/>
                  </a:lnTo>
                  <a:lnTo>
                    <a:pt x="15" y="87"/>
                  </a:lnTo>
                  <a:lnTo>
                    <a:pt x="10" y="80"/>
                  </a:lnTo>
                  <a:lnTo>
                    <a:pt x="7" y="73"/>
                  </a:lnTo>
                  <a:lnTo>
                    <a:pt x="3" y="71"/>
                  </a:lnTo>
                  <a:lnTo>
                    <a:pt x="0" y="71"/>
                  </a:lnTo>
                  <a:lnTo>
                    <a:pt x="5" y="65"/>
                  </a:lnTo>
                  <a:lnTo>
                    <a:pt x="11" y="64"/>
                  </a:lnTo>
                  <a:lnTo>
                    <a:pt x="10" y="58"/>
                  </a:lnTo>
                  <a:lnTo>
                    <a:pt x="10" y="53"/>
                  </a:lnTo>
                  <a:lnTo>
                    <a:pt x="15" y="44"/>
                  </a:lnTo>
                  <a:lnTo>
                    <a:pt x="11" y="40"/>
                  </a:lnTo>
                  <a:lnTo>
                    <a:pt x="14" y="36"/>
                  </a:lnTo>
                  <a:lnTo>
                    <a:pt x="27" y="35"/>
                  </a:lnTo>
                  <a:lnTo>
                    <a:pt x="30" y="31"/>
                  </a:lnTo>
                  <a:lnTo>
                    <a:pt x="30" y="2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32" name="Group 117"/>
          <p:cNvGrpSpPr>
            <a:grpSpLocks/>
          </p:cNvGrpSpPr>
          <p:nvPr/>
        </p:nvGrpSpPr>
        <p:grpSpPr bwMode="auto">
          <a:xfrm>
            <a:off x="4695825" y="3943350"/>
            <a:ext cx="454025" cy="425450"/>
            <a:chOff x="2200" y="2484"/>
            <a:chExt cx="286" cy="268"/>
          </a:xfrm>
        </p:grpSpPr>
        <p:sp>
          <p:nvSpPr>
            <p:cNvPr id="34400" name="Freeform 115"/>
            <p:cNvSpPr>
              <a:spLocks/>
            </p:cNvSpPr>
            <p:nvPr/>
          </p:nvSpPr>
          <p:spPr bwMode="auto">
            <a:xfrm>
              <a:off x="2200" y="2484"/>
              <a:ext cx="286" cy="268"/>
            </a:xfrm>
            <a:custGeom>
              <a:avLst/>
              <a:gdLst>
                <a:gd name="T0" fmla="*/ 273 w 286"/>
                <a:gd name="T1" fmla="*/ 170 h 268"/>
                <a:gd name="T2" fmla="*/ 283 w 286"/>
                <a:gd name="T3" fmla="*/ 187 h 268"/>
                <a:gd name="T4" fmla="*/ 283 w 286"/>
                <a:gd name="T5" fmla="*/ 208 h 268"/>
                <a:gd name="T6" fmla="*/ 256 w 286"/>
                <a:gd name="T7" fmla="*/ 233 h 268"/>
                <a:gd name="T8" fmla="*/ 247 w 286"/>
                <a:gd name="T9" fmla="*/ 267 h 268"/>
                <a:gd name="T10" fmla="*/ 234 w 286"/>
                <a:gd name="T11" fmla="*/ 266 h 268"/>
                <a:gd name="T12" fmla="*/ 218 w 286"/>
                <a:gd name="T13" fmla="*/ 253 h 268"/>
                <a:gd name="T14" fmla="*/ 199 w 286"/>
                <a:gd name="T15" fmla="*/ 256 h 268"/>
                <a:gd name="T16" fmla="*/ 180 w 286"/>
                <a:gd name="T17" fmla="*/ 255 h 268"/>
                <a:gd name="T18" fmla="*/ 166 w 286"/>
                <a:gd name="T19" fmla="*/ 261 h 268"/>
                <a:gd name="T20" fmla="*/ 153 w 286"/>
                <a:gd name="T21" fmla="*/ 248 h 268"/>
                <a:gd name="T22" fmla="*/ 136 w 286"/>
                <a:gd name="T23" fmla="*/ 249 h 268"/>
                <a:gd name="T24" fmla="*/ 111 w 286"/>
                <a:gd name="T25" fmla="*/ 227 h 268"/>
                <a:gd name="T26" fmla="*/ 103 w 286"/>
                <a:gd name="T27" fmla="*/ 216 h 268"/>
                <a:gd name="T28" fmla="*/ 79 w 286"/>
                <a:gd name="T29" fmla="*/ 213 h 268"/>
                <a:gd name="T30" fmla="*/ 71 w 286"/>
                <a:gd name="T31" fmla="*/ 219 h 268"/>
                <a:gd name="T32" fmla="*/ 64 w 286"/>
                <a:gd name="T33" fmla="*/ 202 h 268"/>
                <a:gd name="T34" fmla="*/ 52 w 286"/>
                <a:gd name="T35" fmla="*/ 194 h 268"/>
                <a:gd name="T36" fmla="*/ 34 w 286"/>
                <a:gd name="T37" fmla="*/ 187 h 268"/>
                <a:gd name="T38" fmla="*/ 17 w 286"/>
                <a:gd name="T39" fmla="*/ 190 h 268"/>
                <a:gd name="T40" fmla="*/ 22 w 286"/>
                <a:gd name="T41" fmla="*/ 166 h 268"/>
                <a:gd name="T42" fmla="*/ 12 w 286"/>
                <a:gd name="T43" fmla="*/ 141 h 268"/>
                <a:gd name="T44" fmla="*/ 10 w 286"/>
                <a:gd name="T45" fmla="*/ 122 h 268"/>
                <a:gd name="T46" fmla="*/ 0 w 286"/>
                <a:gd name="T47" fmla="*/ 99 h 268"/>
                <a:gd name="T48" fmla="*/ 5 w 286"/>
                <a:gd name="T49" fmla="*/ 83 h 268"/>
                <a:gd name="T50" fmla="*/ 2 w 286"/>
                <a:gd name="T51" fmla="*/ 59 h 268"/>
                <a:gd name="T52" fmla="*/ 10 w 286"/>
                <a:gd name="T53" fmla="*/ 55 h 268"/>
                <a:gd name="T54" fmla="*/ 8 w 286"/>
                <a:gd name="T55" fmla="*/ 45 h 268"/>
                <a:gd name="T56" fmla="*/ 20 w 286"/>
                <a:gd name="T57" fmla="*/ 39 h 268"/>
                <a:gd name="T58" fmla="*/ 53 w 286"/>
                <a:gd name="T59" fmla="*/ 28 h 268"/>
                <a:gd name="T60" fmla="*/ 90 w 286"/>
                <a:gd name="T61" fmla="*/ 5 h 268"/>
                <a:gd name="T62" fmla="*/ 126 w 286"/>
                <a:gd name="T63" fmla="*/ 2 h 268"/>
                <a:gd name="T64" fmla="*/ 133 w 286"/>
                <a:gd name="T65" fmla="*/ 11 h 268"/>
                <a:gd name="T66" fmla="*/ 131 w 286"/>
                <a:gd name="T67" fmla="*/ 26 h 268"/>
                <a:gd name="T68" fmla="*/ 137 w 286"/>
                <a:gd name="T69" fmla="*/ 24 h 268"/>
                <a:gd name="T70" fmla="*/ 152 w 286"/>
                <a:gd name="T71" fmla="*/ 22 h 268"/>
                <a:gd name="T72" fmla="*/ 198 w 286"/>
                <a:gd name="T73" fmla="*/ 27 h 268"/>
                <a:gd name="T74" fmla="*/ 250 w 286"/>
                <a:gd name="T75" fmla="*/ 22 h 268"/>
                <a:gd name="T76" fmla="*/ 270 w 286"/>
                <a:gd name="T77" fmla="*/ 39 h 268"/>
                <a:gd name="T78" fmla="*/ 280 w 286"/>
                <a:gd name="T79" fmla="*/ 85 h 268"/>
                <a:gd name="T80" fmla="*/ 274 w 286"/>
                <a:gd name="T81" fmla="*/ 111 h 268"/>
                <a:gd name="T82" fmla="*/ 263 w 286"/>
                <a:gd name="T83" fmla="*/ 128 h 26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86"/>
                <a:gd name="T127" fmla="*/ 0 h 268"/>
                <a:gd name="T128" fmla="*/ 286 w 286"/>
                <a:gd name="T129" fmla="*/ 268 h 26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86" h="268">
                  <a:moveTo>
                    <a:pt x="269" y="156"/>
                  </a:moveTo>
                  <a:lnTo>
                    <a:pt x="272" y="163"/>
                  </a:lnTo>
                  <a:lnTo>
                    <a:pt x="273" y="170"/>
                  </a:lnTo>
                  <a:lnTo>
                    <a:pt x="277" y="179"/>
                  </a:lnTo>
                  <a:lnTo>
                    <a:pt x="278" y="181"/>
                  </a:lnTo>
                  <a:lnTo>
                    <a:pt x="283" y="187"/>
                  </a:lnTo>
                  <a:lnTo>
                    <a:pt x="283" y="193"/>
                  </a:lnTo>
                  <a:lnTo>
                    <a:pt x="286" y="201"/>
                  </a:lnTo>
                  <a:lnTo>
                    <a:pt x="283" y="208"/>
                  </a:lnTo>
                  <a:lnTo>
                    <a:pt x="274" y="216"/>
                  </a:lnTo>
                  <a:lnTo>
                    <a:pt x="264" y="223"/>
                  </a:lnTo>
                  <a:lnTo>
                    <a:pt x="256" y="233"/>
                  </a:lnTo>
                  <a:lnTo>
                    <a:pt x="247" y="253"/>
                  </a:lnTo>
                  <a:lnTo>
                    <a:pt x="245" y="260"/>
                  </a:lnTo>
                  <a:lnTo>
                    <a:pt x="247" y="267"/>
                  </a:lnTo>
                  <a:lnTo>
                    <a:pt x="241" y="268"/>
                  </a:lnTo>
                  <a:lnTo>
                    <a:pt x="239" y="267"/>
                  </a:lnTo>
                  <a:lnTo>
                    <a:pt x="234" y="266"/>
                  </a:lnTo>
                  <a:lnTo>
                    <a:pt x="228" y="261"/>
                  </a:lnTo>
                  <a:lnTo>
                    <a:pt x="224" y="257"/>
                  </a:lnTo>
                  <a:lnTo>
                    <a:pt x="218" y="253"/>
                  </a:lnTo>
                  <a:lnTo>
                    <a:pt x="211" y="253"/>
                  </a:lnTo>
                  <a:lnTo>
                    <a:pt x="205" y="253"/>
                  </a:lnTo>
                  <a:lnTo>
                    <a:pt x="199" y="256"/>
                  </a:lnTo>
                  <a:lnTo>
                    <a:pt x="195" y="259"/>
                  </a:lnTo>
                  <a:lnTo>
                    <a:pt x="190" y="255"/>
                  </a:lnTo>
                  <a:lnTo>
                    <a:pt x="180" y="255"/>
                  </a:lnTo>
                  <a:lnTo>
                    <a:pt x="175" y="260"/>
                  </a:lnTo>
                  <a:lnTo>
                    <a:pt x="170" y="262"/>
                  </a:lnTo>
                  <a:lnTo>
                    <a:pt x="166" y="261"/>
                  </a:lnTo>
                  <a:lnTo>
                    <a:pt x="162" y="256"/>
                  </a:lnTo>
                  <a:lnTo>
                    <a:pt x="157" y="251"/>
                  </a:lnTo>
                  <a:lnTo>
                    <a:pt x="153" y="248"/>
                  </a:lnTo>
                  <a:lnTo>
                    <a:pt x="148" y="250"/>
                  </a:lnTo>
                  <a:lnTo>
                    <a:pt x="142" y="252"/>
                  </a:lnTo>
                  <a:lnTo>
                    <a:pt x="136" y="249"/>
                  </a:lnTo>
                  <a:lnTo>
                    <a:pt x="126" y="244"/>
                  </a:lnTo>
                  <a:lnTo>
                    <a:pt x="116" y="230"/>
                  </a:lnTo>
                  <a:lnTo>
                    <a:pt x="111" y="227"/>
                  </a:lnTo>
                  <a:lnTo>
                    <a:pt x="108" y="228"/>
                  </a:lnTo>
                  <a:lnTo>
                    <a:pt x="104" y="224"/>
                  </a:lnTo>
                  <a:lnTo>
                    <a:pt x="103" y="216"/>
                  </a:lnTo>
                  <a:lnTo>
                    <a:pt x="93" y="215"/>
                  </a:lnTo>
                  <a:lnTo>
                    <a:pt x="80" y="210"/>
                  </a:lnTo>
                  <a:lnTo>
                    <a:pt x="79" y="213"/>
                  </a:lnTo>
                  <a:lnTo>
                    <a:pt x="81" y="216"/>
                  </a:lnTo>
                  <a:lnTo>
                    <a:pt x="75" y="221"/>
                  </a:lnTo>
                  <a:lnTo>
                    <a:pt x="71" y="219"/>
                  </a:lnTo>
                  <a:lnTo>
                    <a:pt x="61" y="209"/>
                  </a:lnTo>
                  <a:lnTo>
                    <a:pt x="64" y="204"/>
                  </a:lnTo>
                  <a:lnTo>
                    <a:pt x="64" y="202"/>
                  </a:lnTo>
                  <a:lnTo>
                    <a:pt x="63" y="201"/>
                  </a:lnTo>
                  <a:lnTo>
                    <a:pt x="57" y="200"/>
                  </a:lnTo>
                  <a:lnTo>
                    <a:pt x="52" y="194"/>
                  </a:lnTo>
                  <a:lnTo>
                    <a:pt x="41" y="192"/>
                  </a:lnTo>
                  <a:lnTo>
                    <a:pt x="37" y="192"/>
                  </a:lnTo>
                  <a:lnTo>
                    <a:pt x="34" y="187"/>
                  </a:lnTo>
                  <a:lnTo>
                    <a:pt x="29" y="184"/>
                  </a:lnTo>
                  <a:lnTo>
                    <a:pt x="21" y="192"/>
                  </a:lnTo>
                  <a:lnTo>
                    <a:pt x="17" y="190"/>
                  </a:lnTo>
                  <a:lnTo>
                    <a:pt x="19" y="186"/>
                  </a:lnTo>
                  <a:lnTo>
                    <a:pt x="21" y="176"/>
                  </a:lnTo>
                  <a:lnTo>
                    <a:pt x="22" y="166"/>
                  </a:lnTo>
                  <a:lnTo>
                    <a:pt x="21" y="163"/>
                  </a:lnTo>
                  <a:lnTo>
                    <a:pt x="13" y="154"/>
                  </a:lnTo>
                  <a:lnTo>
                    <a:pt x="12" y="141"/>
                  </a:lnTo>
                  <a:lnTo>
                    <a:pt x="12" y="136"/>
                  </a:lnTo>
                  <a:lnTo>
                    <a:pt x="11" y="127"/>
                  </a:lnTo>
                  <a:lnTo>
                    <a:pt x="10" y="122"/>
                  </a:lnTo>
                  <a:lnTo>
                    <a:pt x="9" y="109"/>
                  </a:lnTo>
                  <a:lnTo>
                    <a:pt x="8" y="105"/>
                  </a:lnTo>
                  <a:lnTo>
                    <a:pt x="0" y="99"/>
                  </a:lnTo>
                  <a:lnTo>
                    <a:pt x="0" y="96"/>
                  </a:lnTo>
                  <a:lnTo>
                    <a:pt x="2" y="89"/>
                  </a:lnTo>
                  <a:lnTo>
                    <a:pt x="5" y="83"/>
                  </a:lnTo>
                  <a:lnTo>
                    <a:pt x="6" y="76"/>
                  </a:lnTo>
                  <a:lnTo>
                    <a:pt x="6" y="67"/>
                  </a:lnTo>
                  <a:lnTo>
                    <a:pt x="2" y="59"/>
                  </a:lnTo>
                  <a:lnTo>
                    <a:pt x="0" y="54"/>
                  </a:lnTo>
                  <a:lnTo>
                    <a:pt x="9" y="58"/>
                  </a:lnTo>
                  <a:lnTo>
                    <a:pt x="10" y="55"/>
                  </a:lnTo>
                  <a:lnTo>
                    <a:pt x="10" y="51"/>
                  </a:lnTo>
                  <a:lnTo>
                    <a:pt x="4" y="48"/>
                  </a:lnTo>
                  <a:lnTo>
                    <a:pt x="8" y="45"/>
                  </a:lnTo>
                  <a:lnTo>
                    <a:pt x="13" y="43"/>
                  </a:lnTo>
                  <a:lnTo>
                    <a:pt x="14" y="45"/>
                  </a:lnTo>
                  <a:lnTo>
                    <a:pt x="20" y="39"/>
                  </a:lnTo>
                  <a:lnTo>
                    <a:pt x="27" y="35"/>
                  </a:lnTo>
                  <a:lnTo>
                    <a:pt x="36" y="34"/>
                  </a:lnTo>
                  <a:lnTo>
                    <a:pt x="53" y="28"/>
                  </a:lnTo>
                  <a:lnTo>
                    <a:pt x="70" y="14"/>
                  </a:lnTo>
                  <a:lnTo>
                    <a:pt x="77" y="11"/>
                  </a:lnTo>
                  <a:lnTo>
                    <a:pt x="90" y="5"/>
                  </a:lnTo>
                  <a:lnTo>
                    <a:pt x="112" y="0"/>
                  </a:lnTo>
                  <a:lnTo>
                    <a:pt x="119" y="0"/>
                  </a:lnTo>
                  <a:lnTo>
                    <a:pt x="126" y="2"/>
                  </a:lnTo>
                  <a:lnTo>
                    <a:pt x="130" y="4"/>
                  </a:lnTo>
                  <a:lnTo>
                    <a:pt x="134" y="8"/>
                  </a:lnTo>
                  <a:lnTo>
                    <a:pt x="133" y="11"/>
                  </a:lnTo>
                  <a:lnTo>
                    <a:pt x="124" y="5"/>
                  </a:lnTo>
                  <a:lnTo>
                    <a:pt x="124" y="9"/>
                  </a:lnTo>
                  <a:lnTo>
                    <a:pt x="131" y="26"/>
                  </a:lnTo>
                  <a:lnTo>
                    <a:pt x="134" y="28"/>
                  </a:lnTo>
                  <a:lnTo>
                    <a:pt x="135" y="26"/>
                  </a:lnTo>
                  <a:lnTo>
                    <a:pt x="137" y="24"/>
                  </a:lnTo>
                  <a:lnTo>
                    <a:pt x="139" y="25"/>
                  </a:lnTo>
                  <a:lnTo>
                    <a:pt x="145" y="24"/>
                  </a:lnTo>
                  <a:lnTo>
                    <a:pt x="152" y="22"/>
                  </a:lnTo>
                  <a:lnTo>
                    <a:pt x="157" y="19"/>
                  </a:lnTo>
                  <a:lnTo>
                    <a:pt x="165" y="22"/>
                  </a:lnTo>
                  <a:lnTo>
                    <a:pt x="198" y="27"/>
                  </a:lnTo>
                  <a:lnTo>
                    <a:pt x="224" y="27"/>
                  </a:lnTo>
                  <a:lnTo>
                    <a:pt x="238" y="24"/>
                  </a:lnTo>
                  <a:lnTo>
                    <a:pt x="250" y="22"/>
                  </a:lnTo>
                  <a:lnTo>
                    <a:pt x="258" y="26"/>
                  </a:lnTo>
                  <a:lnTo>
                    <a:pt x="267" y="33"/>
                  </a:lnTo>
                  <a:lnTo>
                    <a:pt x="270" y="39"/>
                  </a:lnTo>
                  <a:lnTo>
                    <a:pt x="270" y="43"/>
                  </a:lnTo>
                  <a:lnTo>
                    <a:pt x="271" y="48"/>
                  </a:lnTo>
                  <a:lnTo>
                    <a:pt x="280" y="85"/>
                  </a:lnTo>
                  <a:lnTo>
                    <a:pt x="280" y="94"/>
                  </a:lnTo>
                  <a:lnTo>
                    <a:pt x="280" y="103"/>
                  </a:lnTo>
                  <a:lnTo>
                    <a:pt x="274" y="111"/>
                  </a:lnTo>
                  <a:lnTo>
                    <a:pt x="266" y="116"/>
                  </a:lnTo>
                  <a:lnTo>
                    <a:pt x="261" y="122"/>
                  </a:lnTo>
                  <a:lnTo>
                    <a:pt x="263" y="128"/>
                  </a:lnTo>
                  <a:lnTo>
                    <a:pt x="271" y="135"/>
                  </a:lnTo>
                  <a:lnTo>
                    <a:pt x="269" y="156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401" name="Freeform 116"/>
            <p:cNvSpPr>
              <a:spLocks/>
            </p:cNvSpPr>
            <p:nvPr/>
          </p:nvSpPr>
          <p:spPr bwMode="auto">
            <a:xfrm>
              <a:off x="2200" y="2484"/>
              <a:ext cx="286" cy="268"/>
            </a:xfrm>
            <a:custGeom>
              <a:avLst/>
              <a:gdLst>
                <a:gd name="T0" fmla="*/ 273 w 286"/>
                <a:gd name="T1" fmla="*/ 170 h 268"/>
                <a:gd name="T2" fmla="*/ 283 w 286"/>
                <a:gd name="T3" fmla="*/ 187 h 268"/>
                <a:gd name="T4" fmla="*/ 283 w 286"/>
                <a:gd name="T5" fmla="*/ 208 h 268"/>
                <a:gd name="T6" fmla="*/ 256 w 286"/>
                <a:gd name="T7" fmla="*/ 233 h 268"/>
                <a:gd name="T8" fmla="*/ 247 w 286"/>
                <a:gd name="T9" fmla="*/ 267 h 268"/>
                <a:gd name="T10" fmla="*/ 234 w 286"/>
                <a:gd name="T11" fmla="*/ 266 h 268"/>
                <a:gd name="T12" fmla="*/ 218 w 286"/>
                <a:gd name="T13" fmla="*/ 253 h 268"/>
                <a:gd name="T14" fmla="*/ 199 w 286"/>
                <a:gd name="T15" fmla="*/ 256 h 268"/>
                <a:gd name="T16" fmla="*/ 180 w 286"/>
                <a:gd name="T17" fmla="*/ 255 h 268"/>
                <a:gd name="T18" fmla="*/ 166 w 286"/>
                <a:gd name="T19" fmla="*/ 261 h 268"/>
                <a:gd name="T20" fmla="*/ 153 w 286"/>
                <a:gd name="T21" fmla="*/ 248 h 268"/>
                <a:gd name="T22" fmla="*/ 136 w 286"/>
                <a:gd name="T23" fmla="*/ 249 h 268"/>
                <a:gd name="T24" fmla="*/ 111 w 286"/>
                <a:gd name="T25" fmla="*/ 227 h 268"/>
                <a:gd name="T26" fmla="*/ 103 w 286"/>
                <a:gd name="T27" fmla="*/ 216 h 268"/>
                <a:gd name="T28" fmla="*/ 79 w 286"/>
                <a:gd name="T29" fmla="*/ 213 h 268"/>
                <a:gd name="T30" fmla="*/ 71 w 286"/>
                <a:gd name="T31" fmla="*/ 219 h 268"/>
                <a:gd name="T32" fmla="*/ 64 w 286"/>
                <a:gd name="T33" fmla="*/ 202 h 268"/>
                <a:gd name="T34" fmla="*/ 52 w 286"/>
                <a:gd name="T35" fmla="*/ 194 h 268"/>
                <a:gd name="T36" fmla="*/ 34 w 286"/>
                <a:gd name="T37" fmla="*/ 187 h 268"/>
                <a:gd name="T38" fmla="*/ 17 w 286"/>
                <a:gd name="T39" fmla="*/ 190 h 268"/>
                <a:gd name="T40" fmla="*/ 22 w 286"/>
                <a:gd name="T41" fmla="*/ 166 h 268"/>
                <a:gd name="T42" fmla="*/ 12 w 286"/>
                <a:gd name="T43" fmla="*/ 141 h 268"/>
                <a:gd name="T44" fmla="*/ 10 w 286"/>
                <a:gd name="T45" fmla="*/ 122 h 268"/>
                <a:gd name="T46" fmla="*/ 0 w 286"/>
                <a:gd name="T47" fmla="*/ 99 h 268"/>
                <a:gd name="T48" fmla="*/ 5 w 286"/>
                <a:gd name="T49" fmla="*/ 83 h 268"/>
                <a:gd name="T50" fmla="*/ 2 w 286"/>
                <a:gd name="T51" fmla="*/ 59 h 268"/>
                <a:gd name="T52" fmla="*/ 10 w 286"/>
                <a:gd name="T53" fmla="*/ 55 h 268"/>
                <a:gd name="T54" fmla="*/ 8 w 286"/>
                <a:gd name="T55" fmla="*/ 45 h 268"/>
                <a:gd name="T56" fmla="*/ 20 w 286"/>
                <a:gd name="T57" fmla="*/ 39 h 268"/>
                <a:gd name="T58" fmla="*/ 53 w 286"/>
                <a:gd name="T59" fmla="*/ 28 h 268"/>
                <a:gd name="T60" fmla="*/ 90 w 286"/>
                <a:gd name="T61" fmla="*/ 5 h 268"/>
                <a:gd name="T62" fmla="*/ 126 w 286"/>
                <a:gd name="T63" fmla="*/ 2 h 268"/>
                <a:gd name="T64" fmla="*/ 133 w 286"/>
                <a:gd name="T65" fmla="*/ 11 h 268"/>
                <a:gd name="T66" fmla="*/ 131 w 286"/>
                <a:gd name="T67" fmla="*/ 26 h 268"/>
                <a:gd name="T68" fmla="*/ 137 w 286"/>
                <a:gd name="T69" fmla="*/ 24 h 268"/>
                <a:gd name="T70" fmla="*/ 152 w 286"/>
                <a:gd name="T71" fmla="*/ 22 h 268"/>
                <a:gd name="T72" fmla="*/ 198 w 286"/>
                <a:gd name="T73" fmla="*/ 27 h 268"/>
                <a:gd name="T74" fmla="*/ 250 w 286"/>
                <a:gd name="T75" fmla="*/ 22 h 268"/>
                <a:gd name="T76" fmla="*/ 270 w 286"/>
                <a:gd name="T77" fmla="*/ 39 h 268"/>
                <a:gd name="T78" fmla="*/ 280 w 286"/>
                <a:gd name="T79" fmla="*/ 85 h 268"/>
                <a:gd name="T80" fmla="*/ 274 w 286"/>
                <a:gd name="T81" fmla="*/ 111 h 268"/>
                <a:gd name="T82" fmla="*/ 263 w 286"/>
                <a:gd name="T83" fmla="*/ 128 h 268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86"/>
                <a:gd name="T127" fmla="*/ 0 h 268"/>
                <a:gd name="T128" fmla="*/ 286 w 286"/>
                <a:gd name="T129" fmla="*/ 268 h 268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86" h="268">
                  <a:moveTo>
                    <a:pt x="269" y="156"/>
                  </a:moveTo>
                  <a:lnTo>
                    <a:pt x="272" y="163"/>
                  </a:lnTo>
                  <a:lnTo>
                    <a:pt x="273" y="170"/>
                  </a:lnTo>
                  <a:lnTo>
                    <a:pt x="277" y="179"/>
                  </a:lnTo>
                  <a:lnTo>
                    <a:pt x="278" y="181"/>
                  </a:lnTo>
                  <a:lnTo>
                    <a:pt x="283" y="187"/>
                  </a:lnTo>
                  <a:lnTo>
                    <a:pt x="283" y="193"/>
                  </a:lnTo>
                  <a:lnTo>
                    <a:pt x="286" y="201"/>
                  </a:lnTo>
                  <a:lnTo>
                    <a:pt x="283" y="208"/>
                  </a:lnTo>
                  <a:lnTo>
                    <a:pt x="274" y="216"/>
                  </a:lnTo>
                  <a:lnTo>
                    <a:pt x="264" y="223"/>
                  </a:lnTo>
                  <a:lnTo>
                    <a:pt x="256" y="233"/>
                  </a:lnTo>
                  <a:lnTo>
                    <a:pt x="247" y="253"/>
                  </a:lnTo>
                  <a:lnTo>
                    <a:pt x="245" y="260"/>
                  </a:lnTo>
                  <a:lnTo>
                    <a:pt x="247" y="267"/>
                  </a:lnTo>
                  <a:lnTo>
                    <a:pt x="241" y="268"/>
                  </a:lnTo>
                  <a:lnTo>
                    <a:pt x="239" y="267"/>
                  </a:lnTo>
                  <a:lnTo>
                    <a:pt x="234" y="266"/>
                  </a:lnTo>
                  <a:lnTo>
                    <a:pt x="228" y="261"/>
                  </a:lnTo>
                  <a:lnTo>
                    <a:pt x="224" y="257"/>
                  </a:lnTo>
                  <a:lnTo>
                    <a:pt x="218" y="253"/>
                  </a:lnTo>
                  <a:lnTo>
                    <a:pt x="211" y="253"/>
                  </a:lnTo>
                  <a:lnTo>
                    <a:pt x="205" y="253"/>
                  </a:lnTo>
                  <a:lnTo>
                    <a:pt x="199" y="256"/>
                  </a:lnTo>
                  <a:lnTo>
                    <a:pt x="195" y="259"/>
                  </a:lnTo>
                  <a:lnTo>
                    <a:pt x="190" y="255"/>
                  </a:lnTo>
                  <a:lnTo>
                    <a:pt x="180" y="255"/>
                  </a:lnTo>
                  <a:lnTo>
                    <a:pt x="175" y="260"/>
                  </a:lnTo>
                  <a:lnTo>
                    <a:pt x="170" y="262"/>
                  </a:lnTo>
                  <a:lnTo>
                    <a:pt x="166" y="261"/>
                  </a:lnTo>
                  <a:lnTo>
                    <a:pt x="162" y="256"/>
                  </a:lnTo>
                  <a:lnTo>
                    <a:pt x="157" y="251"/>
                  </a:lnTo>
                  <a:lnTo>
                    <a:pt x="153" y="248"/>
                  </a:lnTo>
                  <a:lnTo>
                    <a:pt x="148" y="250"/>
                  </a:lnTo>
                  <a:lnTo>
                    <a:pt x="142" y="252"/>
                  </a:lnTo>
                  <a:lnTo>
                    <a:pt x="136" y="249"/>
                  </a:lnTo>
                  <a:lnTo>
                    <a:pt x="126" y="244"/>
                  </a:lnTo>
                  <a:lnTo>
                    <a:pt x="116" y="230"/>
                  </a:lnTo>
                  <a:lnTo>
                    <a:pt x="111" y="227"/>
                  </a:lnTo>
                  <a:lnTo>
                    <a:pt x="108" y="228"/>
                  </a:lnTo>
                  <a:lnTo>
                    <a:pt x="104" y="224"/>
                  </a:lnTo>
                  <a:lnTo>
                    <a:pt x="103" y="216"/>
                  </a:lnTo>
                  <a:lnTo>
                    <a:pt x="93" y="215"/>
                  </a:lnTo>
                  <a:lnTo>
                    <a:pt x="80" y="210"/>
                  </a:lnTo>
                  <a:lnTo>
                    <a:pt x="79" y="213"/>
                  </a:lnTo>
                  <a:lnTo>
                    <a:pt x="81" y="216"/>
                  </a:lnTo>
                  <a:lnTo>
                    <a:pt x="75" y="221"/>
                  </a:lnTo>
                  <a:lnTo>
                    <a:pt x="71" y="219"/>
                  </a:lnTo>
                  <a:lnTo>
                    <a:pt x="61" y="209"/>
                  </a:lnTo>
                  <a:lnTo>
                    <a:pt x="64" y="204"/>
                  </a:lnTo>
                  <a:lnTo>
                    <a:pt x="64" y="202"/>
                  </a:lnTo>
                  <a:lnTo>
                    <a:pt x="63" y="201"/>
                  </a:lnTo>
                  <a:lnTo>
                    <a:pt x="57" y="200"/>
                  </a:lnTo>
                  <a:lnTo>
                    <a:pt x="52" y="194"/>
                  </a:lnTo>
                  <a:lnTo>
                    <a:pt x="41" y="192"/>
                  </a:lnTo>
                  <a:lnTo>
                    <a:pt x="37" y="192"/>
                  </a:lnTo>
                  <a:lnTo>
                    <a:pt x="34" y="187"/>
                  </a:lnTo>
                  <a:lnTo>
                    <a:pt x="29" y="184"/>
                  </a:lnTo>
                  <a:lnTo>
                    <a:pt x="21" y="192"/>
                  </a:lnTo>
                  <a:lnTo>
                    <a:pt x="17" y="190"/>
                  </a:lnTo>
                  <a:lnTo>
                    <a:pt x="19" y="186"/>
                  </a:lnTo>
                  <a:lnTo>
                    <a:pt x="21" y="176"/>
                  </a:lnTo>
                  <a:lnTo>
                    <a:pt x="22" y="166"/>
                  </a:lnTo>
                  <a:lnTo>
                    <a:pt x="21" y="163"/>
                  </a:lnTo>
                  <a:lnTo>
                    <a:pt x="13" y="154"/>
                  </a:lnTo>
                  <a:lnTo>
                    <a:pt x="12" y="141"/>
                  </a:lnTo>
                  <a:lnTo>
                    <a:pt x="12" y="136"/>
                  </a:lnTo>
                  <a:lnTo>
                    <a:pt x="11" y="127"/>
                  </a:lnTo>
                  <a:lnTo>
                    <a:pt x="10" y="122"/>
                  </a:lnTo>
                  <a:lnTo>
                    <a:pt x="9" y="109"/>
                  </a:lnTo>
                  <a:lnTo>
                    <a:pt x="8" y="105"/>
                  </a:lnTo>
                  <a:lnTo>
                    <a:pt x="0" y="99"/>
                  </a:lnTo>
                  <a:lnTo>
                    <a:pt x="0" y="96"/>
                  </a:lnTo>
                  <a:lnTo>
                    <a:pt x="2" y="89"/>
                  </a:lnTo>
                  <a:lnTo>
                    <a:pt x="5" y="83"/>
                  </a:lnTo>
                  <a:lnTo>
                    <a:pt x="6" y="76"/>
                  </a:lnTo>
                  <a:lnTo>
                    <a:pt x="6" y="67"/>
                  </a:lnTo>
                  <a:lnTo>
                    <a:pt x="2" y="59"/>
                  </a:lnTo>
                  <a:lnTo>
                    <a:pt x="0" y="54"/>
                  </a:lnTo>
                  <a:lnTo>
                    <a:pt x="9" y="58"/>
                  </a:lnTo>
                  <a:lnTo>
                    <a:pt x="10" y="55"/>
                  </a:lnTo>
                  <a:lnTo>
                    <a:pt x="10" y="51"/>
                  </a:lnTo>
                  <a:lnTo>
                    <a:pt x="4" y="48"/>
                  </a:lnTo>
                  <a:lnTo>
                    <a:pt x="8" y="45"/>
                  </a:lnTo>
                  <a:lnTo>
                    <a:pt x="13" y="43"/>
                  </a:lnTo>
                  <a:lnTo>
                    <a:pt x="14" y="45"/>
                  </a:lnTo>
                  <a:lnTo>
                    <a:pt x="20" y="39"/>
                  </a:lnTo>
                  <a:lnTo>
                    <a:pt x="27" y="35"/>
                  </a:lnTo>
                  <a:lnTo>
                    <a:pt x="36" y="34"/>
                  </a:lnTo>
                  <a:lnTo>
                    <a:pt x="53" y="28"/>
                  </a:lnTo>
                  <a:lnTo>
                    <a:pt x="70" y="14"/>
                  </a:lnTo>
                  <a:lnTo>
                    <a:pt x="77" y="11"/>
                  </a:lnTo>
                  <a:lnTo>
                    <a:pt x="90" y="5"/>
                  </a:lnTo>
                  <a:lnTo>
                    <a:pt x="112" y="0"/>
                  </a:lnTo>
                  <a:lnTo>
                    <a:pt x="119" y="0"/>
                  </a:lnTo>
                  <a:lnTo>
                    <a:pt x="126" y="2"/>
                  </a:lnTo>
                  <a:lnTo>
                    <a:pt x="130" y="4"/>
                  </a:lnTo>
                  <a:lnTo>
                    <a:pt x="134" y="8"/>
                  </a:lnTo>
                  <a:lnTo>
                    <a:pt x="133" y="11"/>
                  </a:lnTo>
                  <a:lnTo>
                    <a:pt x="124" y="5"/>
                  </a:lnTo>
                  <a:lnTo>
                    <a:pt x="124" y="9"/>
                  </a:lnTo>
                  <a:lnTo>
                    <a:pt x="131" y="26"/>
                  </a:lnTo>
                  <a:lnTo>
                    <a:pt x="134" y="28"/>
                  </a:lnTo>
                  <a:lnTo>
                    <a:pt x="135" y="26"/>
                  </a:lnTo>
                  <a:lnTo>
                    <a:pt x="137" y="24"/>
                  </a:lnTo>
                  <a:lnTo>
                    <a:pt x="139" y="25"/>
                  </a:lnTo>
                  <a:lnTo>
                    <a:pt x="145" y="24"/>
                  </a:lnTo>
                  <a:lnTo>
                    <a:pt x="152" y="22"/>
                  </a:lnTo>
                  <a:lnTo>
                    <a:pt x="157" y="19"/>
                  </a:lnTo>
                  <a:lnTo>
                    <a:pt x="165" y="22"/>
                  </a:lnTo>
                  <a:lnTo>
                    <a:pt x="198" y="27"/>
                  </a:lnTo>
                  <a:lnTo>
                    <a:pt x="224" y="27"/>
                  </a:lnTo>
                  <a:lnTo>
                    <a:pt x="238" y="24"/>
                  </a:lnTo>
                  <a:lnTo>
                    <a:pt x="250" y="22"/>
                  </a:lnTo>
                  <a:lnTo>
                    <a:pt x="258" y="26"/>
                  </a:lnTo>
                  <a:lnTo>
                    <a:pt x="267" y="33"/>
                  </a:lnTo>
                  <a:lnTo>
                    <a:pt x="270" y="39"/>
                  </a:lnTo>
                  <a:lnTo>
                    <a:pt x="270" y="43"/>
                  </a:lnTo>
                  <a:lnTo>
                    <a:pt x="271" y="48"/>
                  </a:lnTo>
                  <a:lnTo>
                    <a:pt x="280" y="85"/>
                  </a:lnTo>
                  <a:lnTo>
                    <a:pt x="280" y="94"/>
                  </a:lnTo>
                  <a:lnTo>
                    <a:pt x="280" y="103"/>
                  </a:lnTo>
                  <a:lnTo>
                    <a:pt x="274" y="111"/>
                  </a:lnTo>
                  <a:lnTo>
                    <a:pt x="266" y="116"/>
                  </a:lnTo>
                  <a:lnTo>
                    <a:pt x="261" y="122"/>
                  </a:lnTo>
                  <a:lnTo>
                    <a:pt x="263" y="128"/>
                  </a:lnTo>
                  <a:lnTo>
                    <a:pt x="271" y="135"/>
                  </a:lnTo>
                  <a:lnTo>
                    <a:pt x="269" y="156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33" name="Group 120"/>
          <p:cNvGrpSpPr>
            <a:grpSpLocks/>
          </p:cNvGrpSpPr>
          <p:nvPr/>
        </p:nvGrpSpPr>
        <p:grpSpPr bwMode="auto">
          <a:xfrm>
            <a:off x="5008563" y="3679825"/>
            <a:ext cx="336550" cy="198438"/>
            <a:chOff x="2397" y="2318"/>
            <a:chExt cx="212" cy="125"/>
          </a:xfrm>
        </p:grpSpPr>
        <p:sp>
          <p:nvSpPr>
            <p:cNvPr id="34398" name="Freeform 118"/>
            <p:cNvSpPr>
              <a:spLocks/>
            </p:cNvSpPr>
            <p:nvPr/>
          </p:nvSpPr>
          <p:spPr bwMode="auto">
            <a:xfrm>
              <a:off x="2397" y="2318"/>
              <a:ext cx="212" cy="125"/>
            </a:xfrm>
            <a:custGeom>
              <a:avLst/>
              <a:gdLst>
                <a:gd name="T0" fmla="*/ 0 w 212"/>
                <a:gd name="T1" fmla="*/ 96 h 125"/>
                <a:gd name="T2" fmla="*/ 6 w 212"/>
                <a:gd name="T3" fmla="*/ 61 h 125"/>
                <a:gd name="T4" fmla="*/ 12 w 212"/>
                <a:gd name="T5" fmla="*/ 49 h 125"/>
                <a:gd name="T6" fmla="*/ 17 w 212"/>
                <a:gd name="T7" fmla="*/ 33 h 125"/>
                <a:gd name="T8" fmla="*/ 27 w 212"/>
                <a:gd name="T9" fmla="*/ 23 h 125"/>
                <a:gd name="T10" fmla="*/ 45 w 212"/>
                <a:gd name="T11" fmla="*/ 17 h 125"/>
                <a:gd name="T12" fmla="*/ 59 w 212"/>
                <a:gd name="T13" fmla="*/ 35 h 125"/>
                <a:gd name="T14" fmla="*/ 62 w 212"/>
                <a:gd name="T15" fmla="*/ 45 h 125"/>
                <a:gd name="T16" fmla="*/ 65 w 212"/>
                <a:gd name="T17" fmla="*/ 48 h 125"/>
                <a:gd name="T18" fmla="*/ 77 w 212"/>
                <a:gd name="T19" fmla="*/ 57 h 125"/>
                <a:gd name="T20" fmla="*/ 88 w 212"/>
                <a:gd name="T21" fmla="*/ 53 h 125"/>
                <a:gd name="T22" fmla="*/ 91 w 212"/>
                <a:gd name="T23" fmla="*/ 59 h 125"/>
                <a:gd name="T24" fmla="*/ 95 w 212"/>
                <a:gd name="T25" fmla="*/ 48 h 125"/>
                <a:gd name="T26" fmla="*/ 97 w 212"/>
                <a:gd name="T27" fmla="*/ 11 h 125"/>
                <a:gd name="T28" fmla="*/ 104 w 212"/>
                <a:gd name="T29" fmla="*/ 7 h 125"/>
                <a:gd name="T30" fmla="*/ 125 w 212"/>
                <a:gd name="T31" fmla="*/ 0 h 125"/>
                <a:gd name="T32" fmla="*/ 140 w 212"/>
                <a:gd name="T33" fmla="*/ 7 h 125"/>
                <a:gd name="T34" fmla="*/ 151 w 212"/>
                <a:gd name="T35" fmla="*/ 15 h 125"/>
                <a:gd name="T36" fmla="*/ 166 w 212"/>
                <a:gd name="T37" fmla="*/ 26 h 125"/>
                <a:gd name="T38" fmla="*/ 179 w 212"/>
                <a:gd name="T39" fmla="*/ 23 h 125"/>
                <a:gd name="T40" fmla="*/ 188 w 212"/>
                <a:gd name="T41" fmla="*/ 26 h 125"/>
                <a:gd name="T42" fmla="*/ 193 w 212"/>
                <a:gd name="T43" fmla="*/ 33 h 125"/>
                <a:gd name="T44" fmla="*/ 199 w 212"/>
                <a:gd name="T45" fmla="*/ 39 h 125"/>
                <a:gd name="T46" fmla="*/ 196 w 212"/>
                <a:gd name="T47" fmla="*/ 55 h 125"/>
                <a:gd name="T48" fmla="*/ 199 w 212"/>
                <a:gd name="T49" fmla="*/ 60 h 125"/>
                <a:gd name="T50" fmla="*/ 202 w 212"/>
                <a:gd name="T51" fmla="*/ 67 h 125"/>
                <a:gd name="T52" fmla="*/ 210 w 212"/>
                <a:gd name="T53" fmla="*/ 82 h 125"/>
                <a:gd name="T54" fmla="*/ 212 w 212"/>
                <a:gd name="T55" fmla="*/ 95 h 125"/>
                <a:gd name="T56" fmla="*/ 207 w 212"/>
                <a:gd name="T57" fmla="*/ 99 h 125"/>
                <a:gd name="T58" fmla="*/ 197 w 212"/>
                <a:gd name="T59" fmla="*/ 107 h 125"/>
                <a:gd name="T60" fmla="*/ 190 w 212"/>
                <a:gd name="T61" fmla="*/ 119 h 125"/>
                <a:gd name="T62" fmla="*/ 178 w 212"/>
                <a:gd name="T63" fmla="*/ 116 h 125"/>
                <a:gd name="T64" fmla="*/ 173 w 212"/>
                <a:gd name="T65" fmla="*/ 123 h 125"/>
                <a:gd name="T66" fmla="*/ 166 w 212"/>
                <a:gd name="T67" fmla="*/ 124 h 125"/>
                <a:gd name="T68" fmla="*/ 158 w 212"/>
                <a:gd name="T69" fmla="*/ 120 h 125"/>
                <a:gd name="T70" fmla="*/ 135 w 212"/>
                <a:gd name="T71" fmla="*/ 99 h 125"/>
                <a:gd name="T72" fmla="*/ 122 w 212"/>
                <a:gd name="T73" fmla="*/ 98 h 125"/>
                <a:gd name="T74" fmla="*/ 114 w 212"/>
                <a:gd name="T75" fmla="*/ 83 h 125"/>
                <a:gd name="T76" fmla="*/ 104 w 212"/>
                <a:gd name="T77" fmla="*/ 91 h 125"/>
                <a:gd name="T78" fmla="*/ 80 w 212"/>
                <a:gd name="T79" fmla="*/ 86 h 125"/>
                <a:gd name="T80" fmla="*/ 68 w 212"/>
                <a:gd name="T81" fmla="*/ 85 h 125"/>
                <a:gd name="T82" fmla="*/ 60 w 212"/>
                <a:gd name="T83" fmla="*/ 85 h 125"/>
                <a:gd name="T84" fmla="*/ 51 w 212"/>
                <a:gd name="T85" fmla="*/ 87 h 125"/>
                <a:gd name="T86" fmla="*/ 43 w 212"/>
                <a:gd name="T87" fmla="*/ 85 h 125"/>
                <a:gd name="T88" fmla="*/ 23 w 212"/>
                <a:gd name="T89" fmla="*/ 89 h 125"/>
                <a:gd name="T90" fmla="*/ 10 w 212"/>
                <a:gd name="T91" fmla="*/ 101 h 125"/>
                <a:gd name="T92" fmla="*/ 2 w 212"/>
                <a:gd name="T93" fmla="*/ 102 h 12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12"/>
                <a:gd name="T142" fmla="*/ 0 h 125"/>
                <a:gd name="T143" fmla="*/ 212 w 212"/>
                <a:gd name="T144" fmla="*/ 125 h 12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12" h="125">
                  <a:moveTo>
                    <a:pt x="2" y="102"/>
                  </a:moveTo>
                  <a:lnTo>
                    <a:pt x="0" y="96"/>
                  </a:lnTo>
                  <a:lnTo>
                    <a:pt x="2" y="70"/>
                  </a:lnTo>
                  <a:lnTo>
                    <a:pt x="6" y="61"/>
                  </a:lnTo>
                  <a:lnTo>
                    <a:pt x="10" y="55"/>
                  </a:lnTo>
                  <a:lnTo>
                    <a:pt x="12" y="49"/>
                  </a:lnTo>
                  <a:lnTo>
                    <a:pt x="13" y="41"/>
                  </a:lnTo>
                  <a:lnTo>
                    <a:pt x="17" y="33"/>
                  </a:lnTo>
                  <a:lnTo>
                    <a:pt x="22" y="27"/>
                  </a:lnTo>
                  <a:lnTo>
                    <a:pt x="27" y="23"/>
                  </a:lnTo>
                  <a:lnTo>
                    <a:pt x="33" y="22"/>
                  </a:lnTo>
                  <a:lnTo>
                    <a:pt x="45" y="17"/>
                  </a:lnTo>
                  <a:lnTo>
                    <a:pt x="49" y="24"/>
                  </a:lnTo>
                  <a:lnTo>
                    <a:pt x="59" y="35"/>
                  </a:lnTo>
                  <a:lnTo>
                    <a:pt x="60" y="41"/>
                  </a:lnTo>
                  <a:lnTo>
                    <a:pt x="62" y="45"/>
                  </a:lnTo>
                  <a:lnTo>
                    <a:pt x="63" y="39"/>
                  </a:lnTo>
                  <a:lnTo>
                    <a:pt x="65" y="48"/>
                  </a:lnTo>
                  <a:lnTo>
                    <a:pt x="68" y="52"/>
                  </a:lnTo>
                  <a:lnTo>
                    <a:pt x="77" y="57"/>
                  </a:lnTo>
                  <a:lnTo>
                    <a:pt x="80" y="57"/>
                  </a:lnTo>
                  <a:lnTo>
                    <a:pt x="88" y="53"/>
                  </a:lnTo>
                  <a:lnTo>
                    <a:pt x="89" y="56"/>
                  </a:lnTo>
                  <a:lnTo>
                    <a:pt x="91" y="59"/>
                  </a:lnTo>
                  <a:lnTo>
                    <a:pt x="92" y="51"/>
                  </a:lnTo>
                  <a:lnTo>
                    <a:pt x="95" y="48"/>
                  </a:lnTo>
                  <a:lnTo>
                    <a:pt x="97" y="44"/>
                  </a:lnTo>
                  <a:lnTo>
                    <a:pt x="97" y="11"/>
                  </a:lnTo>
                  <a:lnTo>
                    <a:pt x="100" y="8"/>
                  </a:lnTo>
                  <a:lnTo>
                    <a:pt x="104" y="7"/>
                  </a:lnTo>
                  <a:lnTo>
                    <a:pt x="111" y="2"/>
                  </a:lnTo>
                  <a:lnTo>
                    <a:pt x="125" y="0"/>
                  </a:lnTo>
                  <a:lnTo>
                    <a:pt x="134" y="2"/>
                  </a:lnTo>
                  <a:lnTo>
                    <a:pt x="140" y="7"/>
                  </a:lnTo>
                  <a:lnTo>
                    <a:pt x="148" y="10"/>
                  </a:lnTo>
                  <a:lnTo>
                    <a:pt x="151" y="15"/>
                  </a:lnTo>
                  <a:lnTo>
                    <a:pt x="162" y="25"/>
                  </a:lnTo>
                  <a:lnTo>
                    <a:pt x="166" y="26"/>
                  </a:lnTo>
                  <a:lnTo>
                    <a:pt x="170" y="24"/>
                  </a:lnTo>
                  <a:lnTo>
                    <a:pt x="179" y="23"/>
                  </a:lnTo>
                  <a:lnTo>
                    <a:pt x="188" y="25"/>
                  </a:lnTo>
                  <a:lnTo>
                    <a:pt x="188" y="26"/>
                  </a:lnTo>
                  <a:lnTo>
                    <a:pt x="191" y="29"/>
                  </a:lnTo>
                  <a:lnTo>
                    <a:pt x="193" y="33"/>
                  </a:lnTo>
                  <a:lnTo>
                    <a:pt x="196" y="35"/>
                  </a:lnTo>
                  <a:lnTo>
                    <a:pt x="199" y="39"/>
                  </a:lnTo>
                  <a:lnTo>
                    <a:pt x="199" y="43"/>
                  </a:lnTo>
                  <a:lnTo>
                    <a:pt x="196" y="55"/>
                  </a:lnTo>
                  <a:lnTo>
                    <a:pt x="195" y="59"/>
                  </a:lnTo>
                  <a:lnTo>
                    <a:pt x="199" y="60"/>
                  </a:lnTo>
                  <a:lnTo>
                    <a:pt x="202" y="63"/>
                  </a:lnTo>
                  <a:lnTo>
                    <a:pt x="202" y="67"/>
                  </a:lnTo>
                  <a:lnTo>
                    <a:pt x="209" y="78"/>
                  </a:lnTo>
                  <a:lnTo>
                    <a:pt x="210" y="82"/>
                  </a:lnTo>
                  <a:lnTo>
                    <a:pt x="212" y="86"/>
                  </a:lnTo>
                  <a:lnTo>
                    <a:pt x="212" y="95"/>
                  </a:lnTo>
                  <a:lnTo>
                    <a:pt x="212" y="99"/>
                  </a:lnTo>
                  <a:lnTo>
                    <a:pt x="207" y="99"/>
                  </a:lnTo>
                  <a:lnTo>
                    <a:pt x="203" y="101"/>
                  </a:lnTo>
                  <a:lnTo>
                    <a:pt x="197" y="107"/>
                  </a:lnTo>
                  <a:lnTo>
                    <a:pt x="196" y="112"/>
                  </a:lnTo>
                  <a:lnTo>
                    <a:pt x="190" y="119"/>
                  </a:lnTo>
                  <a:lnTo>
                    <a:pt x="186" y="119"/>
                  </a:lnTo>
                  <a:lnTo>
                    <a:pt x="178" y="116"/>
                  </a:lnTo>
                  <a:lnTo>
                    <a:pt x="175" y="119"/>
                  </a:lnTo>
                  <a:lnTo>
                    <a:pt x="173" y="123"/>
                  </a:lnTo>
                  <a:lnTo>
                    <a:pt x="170" y="125"/>
                  </a:lnTo>
                  <a:lnTo>
                    <a:pt x="166" y="124"/>
                  </a:lnTo>
                  <a:lnTo>
                    <a:pt x="162" y="122"/>
                  </a:lnTo>
                  <a:lnTo>
                    <a:pt x="158" y="120"/>
                  </a:lnTo>
                  <a:lnTo>
                    <a:pt x="149" y="109"/>
                  </a:lnTo>
                  <a:lnTo>
                    <a:pt x="135" y="99"/>
                  </a:lnTo>
                  <a:lnTo>
                    <a:pt x="126" y="99"/>
                  </a:lnTo>
                  <a:lnTo>
                    <a:pt x="122" y="98"/>
                  </a:lnTo>
                  <a:lnTo>
                    <a:pt x="117" y="86"/>
                  </a:lnTo>
                  <a:lnTo>
                    <a:pt x="114" y="83"/>
                  </a:lnTo>
                  <a:lnTo>
                    <a:pt x="110" y="84"/>
                  </a:lnTo>
                  <a:lnTo>
                    <a:pt x="104" y="91"/>
                  </a:lnTo>
                  <a:lnTo>
                    <a:pt x="96" y="93"/>
                  </a:lnTo>
                  <a:lnTo>
                    <a:pt x="80" y="86"/>
                  </a:lnTo>
                  <a:lnTo>
                    <a:pt x="76" y="86"/>
                  </a:lnTo>
                  <a:lnTo>
                    <a:pt x="68" y="85"/>
                  </a:lnTo>
                  <a:lnTo>
                    <a:pt x="64" y="86"/>
                  </a:lnTo>
                  <a:lnTo>
                    <a:pt x="60" y="85"/>
                  </a:lnTo>
                  <a:lnTo>
                    <a:pt x="56" y="87"/>
                  </a:lnTo>
                  <a:lnTo>
                    <a:pt x="51" y="87"/>
                  </a:lnTo>
                  <a:lnTo>
                    <a:pt x="48" y="85"/>
                  </a:lnTo>
                  <a:lnTo>
                    <a:pt x="43" y="85"/>
                  </a:lnTo>
                  <a:lnTo>
                    <a:pt x="35" y="85"/>
                  </a:lnTo>
                  <a:lnTo>
                    <a:pt x="23" y="89"/>
                  </a:lnTo>
                  <a:lnTo>
                    <a:pt x="15" y="93"/>
                  </a:lnTo>
                  <a:lnTo>
                    <a:pt x="10" y="101"/>
                  </a:lnTo>
                  <a:lnTo>
                    <a:pt x="7" y="103"/>
                  </a:lnTo>
                  <a:lnTo>
                    <a:pt x="2" y="102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99" name="Freeform 119"/>
            <p:cNvSpPr>
              <a:spLocks/>
            </p:cNvSpPr>
            <p:nvPr/>
          </p:nvSpPr>
          <p:spPr bwMode="auto">
            <a:xfrm>
              <a:off x="2397" y="2318"/>
              <a:ext cx="212" cy="125"/>
            </a:xfrm>
            <a:custGeom>
              <a:avLst/>
              <a:gdLst>
                <a:gd name="T0" fmla="*/ 0 w 212"/>
                <a:gd name="T1" fmla="*/ 96 h 125"/>
                <a:gd name="T2" fmla="*/ 6 w 212"/>
                <a:gd name="T3" fmla="*/ 61 h 125"/>
                <a:gd name="T4" fmla="*/ 12 w 212"/>
                <a:gd name="T5" fmla="*/ 49 h 125"/>
                <a:gd name="T6" fmla="*/ 17 w 212"/>
                <a:gd name="T7" fmla="*/ 33 h 125"/>
                <a:gd name="T8" fmla="*/ 27 w 212"/>
                <a:gd name="T9" fmla="*/ 23 h 125"/>
                <a:gd name="T10" fmla="*/ 45 w 212"/>
                <a:gd name="T11" fmla="*/ 17 h 125"/>
                <a:gd name="T12" fmla="*/ 59 w 212"/>
                <a:gd name="T13" fmla="*/ 35 h 125"/>
                <a:gd name="T14" fmla="*/ 62 w 212"/>
                <a:gd name="T15" fmla="*/ 45 h 125"/>
                <a:gd name="T16" fmla="*/ 65 w 212"/>
                <a:gd name="T17" fmla="*/ 48 h 125"/>
                <a:gd name="T18" fmla="*/ 77 w 212"/>
                <a:gd name="T19" fmla="*/ 57 h 125"/>
                <a:gd name="T20" fmla="*/ 88 w 212"/>
                <a:gd name="T21" fmla="*/ 53 h 125"/>
                <a:gd name="T22" fmla="*/ 91 w 212"/>
                <a:gd name="T23" fmla="*/ 59 h 125"/>
                <a:gd name="T24" fmla="*/ 95 w 212"/>
                <a:gd name="T25" fmla="*/ 48 h 125"/>
                <a:gd name="T26" fmla="*/ 97 w 212"/>
                <a:gd name="T27" fmla="*/ 11 h 125"/>
                <a:gd name="T28" fmla="*/ 104 w 212"/>
                <a:gd name="T29" fmla="*/ 7 h 125"/>
                <a:gd name="T30" fmla="*/ 125 w 212"/>
                <a:gd name="T31" fmla="*/ 0 h 125"/>
                <a:gd name="T32" fmla="*/ 140 w 212"/>
                <a:gd name="T33" fmla="*/ 7 h 125"/>
                <a:gd name="T34" fmla="*/ 151 w 212"/>
                <a:gd name="T35" fmla="*/ 15 h 125"/>
                <a:gd name="T36" fmla="*/ 166 w 212"/>
                <a:gd name="T37" fmla="*/ 26 h 125"/>
                <a:gd name="T38" fmla="*/ 179 w 212"/>
                <a:gd name="T39" fmla="*/ 23 h 125"/>
                <a:gd name="T40" fmla="*/ 188 w 212"/>
                <a:gd name="T41" fmla="*/ 26 h 125"/>
                <a:gd name="T42" fmla="*/ 193 w 212"/>
                <a:gd name="T43" fmla="*/ 33 h 125"/>
                <a:gd name="T44" fmla="*/ 199 w 212"/>
                <a:gd name="T45" fmla="*/ 39 h 125"/>
                <a:gd name="T46" fmla="*/ 196 w 212"/>
                <a:gd name="T47" fmla="*/ 55 h 125"/>
                <a:gd name="T48" fmla="*/ 199 w 212"/>
                <a:gd name="T49" fmla="*/ 60 h 125"/>
                <a:gd name="T50" fmla="*/ 202 w 212"/>
                <a:gd name="T51" fmla="*/ 67 h 125"/>
                <a:gd name="T52" fmla="*/ 210 w 212"/>
                <a:gd name="T53" fmla="*/ 82 h 125"/>
                <a:gd name="T54" fmla="*/ 212 w 212"/>
                <a:gd name="T55" fmla="*/ 95 h 125"/>
                <a:gd name="T56" fmla="*/ 207 w 212"/>
                <a:gd name="T57" fmla="*/ 99 h 125"/>
                <a:gd name="T58" fmla="*/ 197 w 212"/>
                <a:gd name="T59" fmla="*/ 107 h 125"/>
                <a:gd name="T60" fmla="*/ 190 w 212"/>
                <a:gd name="T61" fmla="*/ 119 h 125"/>
                <a:gd name="T62" fmla="*/ 178 w 212"/>
                <a:gd name="T63" fmla="*/ 116 h 125"/>
                <a:gd name="T64" fmla="*/ 173 w 212"/>
                <a:gd name="T65" fmla="*/ 123 h 125"/>
                <a:gd name="T66" fmla="*/ 166 w 212"/>
                <a:gd name="T67" fmla="*/ 124 h 125"/>
                <a:gd name="T68" fmla="*/ 158 w 212"/>
                <a:gd name="T69" fmla="*/ 120 h 125"/>
                <a:gd name="T70" fmla="*/ 135 w 212"/>
                <a:gd name="T71" fmla="*/ 99 h 125"/>
                <a:gd name="T72" fmla="*/ 122 w 212"/>
                <a:gd name="T73" fmla="*/ 98 h 125"/>
                <a:gd name="T74" fmla="*/ 114 w 212"/>
                <a:gd name="T75" fmla="*/ 83 h 125"/>
                <a:gd name="T76" fmla="*/ 104 w 212"/>
                <a:gd name="T77" fmla="*/ 91 h 125"/>
                <a:gd name="T78" fmla="*/ 80 w 212"/>
                <a:gd name="T79" fmla="*/ 86 h 125"/>
                <a:gd name="T80" fmla="*/ 68 w 212"/>
                <a:gd name="T81" fmla="*/ 85 h 125"/>
                <a:gd name="T82" fmla="*/ 60 w 212"/>
                <a:gd name="T83" fmla="*/ 85 h 125"/>
                <a:gd name="T84" fmla="*/ 51 w 212"/>
                <a:gd name="T85" fmla="*/ 87 h 125"/>
                <a:gd name="T86" fmla="*/ 43 w 212"/>
                <a:gd name="T87" fmla="*/ 85 h 125"/>
                <a:gd name="T88" fmla="*/ 23 w 212"/>
                <a:gd name="T89" fmla="*/ 89 h 125"/>
                <a:gd name="T90" fmla="*/ 10 w 212"/>
                <a:gd name="T91" fmla="*/ 101 h 125"/>
                <a:gd name="T92" fmla="*/ 2 w 212"/>
                <a:gd name="T93" fmla="*/ 102 h 12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12"/>
                <a:gd name="T142" fmla="*/ 0 h 125"/>
                <a:gd name="T143" fmla="*/ 212 w 212"/>
                <a:gd name="T144" fmla="*/ 125 h 12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12" h="125">
                  <a:moveTo>
                    <a:pt x="2" y="102"/>
                  </a:moveTo>
                  <a:lnTo>
                    <a:pt x="0" y="96"/>
                  </a:lnTo>
                  <a:lnTo>
                    <a:pt x="2" y="70"/>
                  </a:lnTo>
                  <a:lnTo>
                    <a:pt x="6" y="61"/>
                  </a:lnTo>
                  <a:lnTo>
                    <a:pt x="10" y="55"/>
                  </a:lnTo>
                  <a:lnTo>
                    <a:pt x="12" y="49"/>
                  </a:lnTo>
                  <a:lnTo>
                    <a:pt x="13" y="41"/>
                  </a:lnTo>
                  <a:lnTo>
                    <a:pt x="17" y="33"/>
                  </a:lnTo>
                  <a:lnTo>
                    <a:pt x="22" y="27"/>
                  </a:lnTo>
                  <a:lnTo>
                    <a:pt x="27" y="23"/>
                  </a:lnTo>
                  <a:lnTo>
                    <a:pt x="33" y="22"/>
                  </a:lnTo>
                  <a:lnTo>
                    <a:pt x="45" y="17"/>
                  </a:lnTo>
                  <a:lnTo>
                    <a:pt x="49" y="24"/>
                  </a:lnTo>
                  <a:lnTo>
                    <a:pt x="59" y="35"/>
                  </a:lnTo>
                  <a:lnTo>
                    <a:pt x="60" y="41"/>
                  </a:lnTo>
                  <a:lnTo>
                    <a:pt x="62" y="45"/>
                  </a:lnTo>
                  <a:lnTo>
                    <a:pt x="63" y="39"/>
                  </a:lnTo>
                  <a:lnTo>
                    <a:pt x="65" y="48"/>
                  </a:lnTo>
                  <a:lnTo>
                    <a:pt x="68" y="52"/>
                  </a:lnTo>
                  <a:lnTo>
                    <a:pt x="77" y="57"/>
                  </a:lnTo>
                  <a:lnTo>
                    <a:pt x="80" y="57"/>
                  </a:lnTo>
                  <a:lnTo>
                    <a:pt x="88" y="53"/>
                  </a:lnTo>
                  <a:lnTo>
                    <a:pt x="89" y="56"/>
                  </a:lnTo>
                  <a:lnTo>
                    <a:pt x="91" y="59"/>
                  </a:lnTo>
                  <a:lnTo>
                    <a:pt x="92" y="51"/>
                  </a:lnTo>
                  <a:lnTo>
                    <a:pt x="95" y="48"/>
                  </a:lnTo>
                  <a:lnTo>
                    <a:pt x="97" y="44"/>
                  </a:lnTo>
                  <a:lnTo>
                    <a:pt x="97" y="11"/>
                  </a:lnTo>
                  <a:lnTo>
                    <a:pt x="100" y="8"/>
                  </a:lnTo>
                  <a:lnTo>
                    <a:pt x="104" y="7"/>
                  </a:lnTo>
                  <a:lnTo>
                    <a:pt x="111" y="2"/>
                  </a:lnTo>
                  <a:lnTo>
                    <a:pt x="125" y="0"/>
                  </a:lnTo>
                  <a:lnTo>
                    <a:pt x="134" y="2"/>
                  </a:lnTo>
                  <a:lnTo>
                    <a:pt x="140" y="7"/>
                  </a:lnTo>
                  <a:lnTo>
                    <a:pt x="148" y="10"/>
                  </a:lnTo>
                  <a:lnTo>
                    <a:pt x="151" y="15"/>
                  </a:lnTo>
                  <a:lnTo>
                    <a:pt x="162" y="25"/>
                  </a:lnTo>
                  <a:lnTo>
                    <a:pt x="166" y="26"/>
                  </a:lnTo>
                  <a:lnTo>
                    <a:pt x="170" y="24"/>
                  </a:lnTo>
                  <a:lnTo>
                    <a:pt x="179" y="23"/>
                  </a:lnTo>
                  <a:lnTo>
                    <a:pt x="188" y="25"/>
                  </a:lnTo>
                  <a:lnTo>
                    <a:pt x="188" y="26"/>
                  </a:lnTo>
                  <a:lnTo>
                    <a:pt x="191" y="29"/>
                  </a:lnTo>
                  <a:lnTo>
                    <a:pt x="193" y="33"/>
                  </a:lnTo>
                  <a:lnTo>
                    <a:pt x="196" y="35"/>
                  </a:lnTo>
                  <a:lnTo>
                    <a:pt x="199" y="39"/>
                  </a:lnTo>
                  <a:lnTo>
                    <a:pt x="199" y="43"/>
                  </a:lnTo>
                  <a:lnTo>
                    <a:pt x="196" y="55"/>
                  </a:lnTo>
                  <a:lnTo>
                    <a:pt x="195" y="59"/>
                  </a:lnTo>
                  <a:lnTo>
                    <a:pt x="199" y="60"/>
                  </a:lnTo>
                  <a:lnTo>
                    <a:pt x="202" y="63"/>
                  </a:lnTo>
                  <a:lnTo>
                    <a:pt x="202" y="67"/>
                  </a:lnTo>
                  <a:lnTo>
                    <a:pt x="209" y="78"/>
                  </a:lnTo>
                  <a:lnTo>
                    <a:pt x="210" y="82"/>
                  </a:lnTo>
                  <a:lnTo>
                    <a:pt x="212" y="86"/>
                  </a:lnTo>
                  <a:lnTo>
                    <a:pt x="212" y="95"/>
                  </a:lnTo>
                  <a:lnTo>
                    <a:pt x="212" y="99"/>
                  </a:lnTo>
                  <a:lnTo>
                    <a:pt x="207" y="99"/>
                  </a:lnTo>
                  <a:lnTo>
                    <a:pt x="203" y="101"/>
                  </a:lnTo>
                  <a:lnTo>
                    <a:pt x="197" y="107"/>
                  </a:lnTo>
                  <a:lnTo>
                    <a:pt x="196" y="112"/>
                  </a:lnTo>
                  <a:lnTo>
                    <a:pt x="190" y="119"/>
                  </a:lnTo>
                  <a:lnTo>
                    <a:pt x="186" y="119"/>
                  </a:lnTo>
                  <a:lnTo>
                    <a:pt x="178" y="116"/>
                  </a:lnTo>
                  <a:lnTo>
                    <a:pt x="175" y="119"/>
                  </a:lnTo>
                  <a:lnTo>
                    <a:pt x="173" y="123"/>
                  </a:lnTo>
                  <a:lnTo>
                    <a:pt x="170" y="125"/>
                  </a:lnTo>
                  <a:lnTo>
                    <a:pt x="166" y="124"/>
                  </a:lnTo>
                  <a:lnTo>
                    <a:pt x="162" y="122"/>
                  </a:lnTo>
                  <a:lnTo>
                    <a:pt x="158" y="120"/>
                  </a:lnTo>
                  <a:lnTo>
                    <a:pt x="149" y="109"/>
                  </a:lnTo>
                  <a:lnTo>
                    <a:pt x="135" y="99"/>
                  </a:lnTo>
                  <a:lnTo>
                    <a:pt x="126" y="99"/>
                  </a:lnTo>
                  <a:lnTo>
                    <a:pt x="122" y="98"/>
                  </a:lnTo>
                  <a:lnTo>
                    <a:pt x="117" y="86"/>
                  </a:lnTo>
                  <a:lnTo>
                    <a:pt x="114" y="83"/>
                  </a:lnTo>
                  <a:lnTo>
                    <a:pt x="110" y="84"/>
                  </a:lnTo>
                  <a:lnTo>
                    <a:pt x="104" y="91"/>
                  </a:lnTo>
                  <a:lnTo>
                    <a:pt x="96" y="93"/>
                  </a:lnTo>
                  <a:lnTo>
                    <a:pt x="80" y="86"/>
                  </a:lnTo>
                  <a:lnTo>
                    <a:pt x="76" y="86"/>
                  </a:lnTo>
                  <a:lnTo>
                    <a:pt x="68" y="85"/>
                  </a:lnTo>
                  <a:lnTo>
                    <a:pt x="64" y="86"/>
                  </a:lnTo>
                  <a:lnTo>
                    <a:pt x="60" y="85"/>
                  </a:lnTo>
                  <a:lnTo>
                    <a:pt x="56" y="87"/>
                  </a:lnTo>
                  <a:lnTo>
                    <a:pt x="51" y="87"/>
                  </a:lnTo>
                  <a:lnTo>
                    <a:pt x="48" y="85"/>
                  </a:lnTo>
                  <a:lnTo>
                    <a:pt x="43" y="85"/>
                  </a:lnTo>
                  <a:lnTo>
                    <a:pt x="35" y="85"/>
                  </a:lnTo>
                  <a:lnTo>
                    <a:pt x="23" y="89"/>
                  </a:lnTo>
                  <a:lnTo>
                    <a:pt x="15" y="93"/>
                  </a:lnTo>
                  <a:lnTo>
                    <a:pt x="10" y="101"/>
                  </a:lnTo>
                  <a:lnTo>
                    <a:pt x="7" y="103"/>
                  </a:lnTo>
                  <a:lnTo>
                    <a:pt x="2" y="102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34" name="Group 123"/>
          <p:cNvGrpSpPr>
            <a:grpSpLocks/>
          </p:cNvGrpSpPr>
          <p:nvPr/>
        </p:nvGrpSpPr>
        <p:grpSpPr bwMode="auto">
          <a:xfrm>
            <a:off x="5059363" y="4133850"/>
            <a:ext cx="827087" cy="544513"/>
            <a:chOff x="2429" y="2604"/>
            <a:chExt cx="521" cy="343"/>
          </a:xfrm>
        </p:grpSpPr>
        <p:sp>
          <p:nvSpPr>
            <p:cNvPr id="34396" name="Freeform 121"/>
            <p:cNvSpPr>
              <a:spLocks/>
            </p:cNvSpPr>
            <p:nvPr/>
          </p:nvSpPr>
          <p:spPr bwMode="auto">
            <a:xfrm>
              <a:off x="2429" y="2604"/>
              <a:ext cx="521" cy="343"/>
            </a:xfrm>
            <a:custGeom>
              <a:avLst/>
              <a:gdLst>
                <a:gd name="T0" fmla="*/ 78 w 521"/>
                <a:gd name="T1" fmla="*/ 201 h 343"/>
                <a:gd name="T2" fmla="*/ 21 w 521"/>
                <a:gd name="T3" fmla="*/ 197 h 343"/>
                <a:gd name="T4" fmla="*/ 10 w 521"/>
                <a:gd name="T5" fmla="*/ 148 h 343"/>
                <a:gd name="T6" fmla="*/ 44 w 521"/>
                <a:gd name="T7" fmla="*/ 97 h 343"/>
                <a:gd name="T8" fmla="*/ 44 w 521"/>
                <a:gd name="T9" fmla="*/ 50 h 343"/>
                <a:gd name="T10" fmla="*/ 63 w 521"/>
                <a:gd name="T11" fmla="*/ 27 h 343"/>
                <a:gd name="T12" fmla="*/ 115 w 521"/>
                <a:gd name="T13" fmla="*/ 24 h 343"/>
                <a:gd name="T14" fmla="*/ 145 w 521"/>
                <a:gd name="T15" fmla="*/ 36 h 343"/>
                <a:gd name="T16" fmla="*/ 172 w 521"/>
                <a:gd name="T17" fmla="*/ 41 h 343"/>
                <a:gd name="T18" fmla="*/ 202 w 521"/>
                <a:gd name="T19" fmla="*/ 37 h 343"/>
                <a:gd name="T20" fmla="*/ 235 w 521"/>
                <a:gd name="T21" fmla="*/ 45 h 343"/>
                <a:gd name="T22" fmla="*/ 248 w 521"/>
                <a:gd name="T23" fmla="*/ 28 h 343"/>
                <a:gd name="T24" fmla="*/ 282 w 521"/>
                <a:gd name="T25" fmla="*/ 10 h 343"/>
                <a:gd name="T26" fmla="*/ 309 w 521"/>
                <a:gd name="T27" fmla="*/ 4 h 343"/>
                <a:gd name="T28" fmla="*/ 347 w 521"/>
                <a:gd name="T29" fmla="*/ 14 h 343"/>
                <a:gd name="T30" fmla="*/ 349 w 521"/>
                <a:gd name="T31" fmla="*/ 38 h 343"/>
                <a:gd name="T32" fmla="*/ 377 w 521"/>
                <a:gd name="T33" fmla="*/ 55 h 343"/>
                <a:gd name="T34" fmla="*/ 398 w 521"/>
                <a:gd name="T35" fmla="*/ 87 h 343"/>
                <a:gd name="T36" fmla="*/ 441 w 521"/>
                <a:gd name="T37" fmla="*/ 85 h 343"/>
                <a:gd name="T38" fmla="*/ 469 w 521"/>
                <a:gd name="T39" fmla="*/ 104 h 343"/>
                <a:gd name="T40" fmla="*/ 502 w 521"/>
                <a:gd name="T41" fmla="*/ 117 h 343"/>
                <a:gd name="T42" fmla="*/ 517 w 521"/>
                <a:gd name="T43" fmla="*/ 148 h 343"/>
                <a:gd name="T44" fmla="*/ 508 w 521"/>
                <a:gd name="T45" fmla="*/ 167 h 343"/>
                <a:gd name="T46" fmla="*/ 505 w 521"/>
                <a:gd name="T47" fmla="*/ 203 h 343"/>
                <a:gd name="T48" fmla="*/ 466 w 521"/>
                <a:gd name="T49" fmla="*/ 219 h 343"/>
                <a:gd name="T50" fmla="*/ 428 w 521"/>
                <a:gd name="T51" fmla="*/ 243 h 343"/>
                <a:gd name="T52" fmla="*/ 397 w 521"/>
                <a:gd name="T53" fmla="*/ 253 h 343"/>
                <a:gd name="T54" fmla="*/ 380 w 521"/>
                <a:gd name="T55" fmla="*/ 270 h 343"/>
                <a:gd name="T56" fmla="*/ 372 w 521"/>
                <a:gd name="T57" fmla="*/ 285 h 343"/>
                <a:gd name="T58" fmla="*/ 360 w 521"/>
                <a:gd name="T59" fmla="*/ 279 h 343"/>
                <a:gd name="T60" fmla="*/ 349 w 521"/>
                <a:gd name="T61" fmla="*/ 265 h 343"/>
                <a:gd name="T62" fmla="*/ 346 w 521"/>
                <a:gd name="T63" fmla="*/ 275 h 343"/>
                <a:gd name="T64" fmla="*/ 359 w 521"/>
                <a:gd name="T65" fmla="*/ 281 h 343"/>
                <a:gd name="T66" fmla="*/ 371 w 521"/>
                <a:gd name="T67" fmla="*/ 292 h 343"/>
                <a:gd name="T68" fmla="*/ 393 w 521"/>
                <a:gd name="T69" fmla="*/ 308 h 343"/>
                <a:gd name="T70" fmla="*/ 419 w 521"/>
                <a:gd name="T71" fmla="*/ 305 h 343"/>
                <a:gd name="T72" fmla="*/ 378 w 521"/>
                <a:gd name="T73" fmla="*/ 323 h 343"/>
                <a:gd name="T74" fmla="*/ 356 w 521"/>
                <a:gd name="T75" fmla="*/ 337 h 343"/>
                <a:gd name="T76" fmla="*/ 331 w 521"/>
                <a:gd name="T77" fmla="*/ 333 h 343"/>
                <a:gd name="T78" fmla="*/ 318 w 521"/>
                <a:gd name="T79" fmla="*/ 308 h 343"/>
                <a:gd name="T80" fmla="*/ 321 w 521"/>
                <a:gd name="T81" fmla="*/ 287 h 343"/>
                <a:gd name="T82" fmla="*/ 324 w 521"/>
                <a:gd name="T83" fmla="*/ 273 h 343"/>
                <a:gd name="T84" fmla="*/ 292 w 521"/>
                <a:gd name="T85" fmla="*/ 270 h 343"/>
                <a:gd name="T86" fmla="*/ 277 w 521"/>
                <a:gd name="T87" fmla="*/ 259 h 343"/>
                <a:gd name="T88" fmla="*/ 285 w 521"/>
                <a:gd name="T89" fmla="*/ 246 h 343"/>
                <a:gd name="T90" fmla="*/ 258 w 521"/>
                <a:gd name="T91" fmla="*/ 255 h 343"/>
                <a:gd name="T92" fmla="*/ 235 w 521"/>
                <a:gd name="T93" fmla="*/ 266 h 343"/>
                <a:gd name="T94" fmla="*/ 228 w 521"/>
                <a:gd name="T95" fmla="*/ 286 h 343"/>
                <a:gd name="T96" fmla="*/ 219 w 521"/>
                <a:gd name="T97" fmla="*/ 295 h 343"/>
                <a:gd name="T98" fmla="*/ 193 w 521"/>
                <a:gd name="T99" fmla="*/ 309 h 343"/>
                <a:gd name="T100" fmla="*/ 184 w 521"/>
                <a:gd name="T101" fmla="*/ 292 h 343"/>
                <a:gd name="T102" fmla="*/ 201 w 521"/>
                <a:gd name="T103" fmla="*/ 260 h 343"/>
                <a:gd name="T104" fmla="*/ 226 w 521"/>
                <a:gd name="T105" fmla="*/ 252 h 343"/>
                <a:gd name="T106" fmla="*/ 213 w 521"/>
                <a:gd name="T107" fmla="*/ 221 h 343"/>
                <a:gd name="T108" fmla="*/ 203 w 521"/>
                <a:gd name="T109" fmla="*/ 193 h 343"/>
                <a:gd name="T110" fmla="*/ 162 w 521"/>
                <a:gd name="T111" fmla="*/ 177 h 34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21"/>
                <a:gd name="T169" fmla="*/ 0 h 343"/>
                <a:gd name="T170" fmla="*/ 521 w 521"/>
                <a:gd name="T171" fmla="*/ 343 h 34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21" h="343">
                  <a:moveTo>
                    <a:pt x="130" y="185"/>
                  </a:moveTo>
                  <a:lnTo>
                    <a:pt x="127" y="184"/>
                  </a:lnTo>
                  <a:lnTo>
                    <a:pt x="109" y="195"/>
                  </a:lnTo>
                  <a:lnTo>
                    <a:pt x="100" y="195"/>
                  </a:lnTo>
                  <a:lnTo>
                    <a:pt x="91" y="197"/>
                  </a:lnTo>
                  <a:lnTo>
                    <a:pt x="83" y="204"/>
                  </a:lnTo>
                  <a:lnTo>
                    <a:pt x="78" y="201"/>
                  </a:lnTo>
                  <a:lnTo>
                    <a:pt x="72" y="196"/>
                  </a:lnTo>
                  <a:lnTo>
                    <a:pt x="64" y="196"/>
                  </a:lnTo>
                  <a:lnTo>
                    <a:pt x="56" y="198"/>
                  </a:lnTo>
                  <a:lnTo>
                    <a:pt x="43" y="197"/>
                  </a:lnTo>
                  <a:lnTo>
                    <a:pt x="34" y="196"/>
                  </a:lnTo>
                  <a:lnTo>
                    <a:pt x="24" y="196"/>
                  </a:lnTo>
                  <a:lnTo>
                    <a:pt x="21" y="197"/>
                  </a:lnTo>
                  <a:lnTo>
                    <a:pt x="19" y="192"/>
                  </a:lnTo>
                  <a:lnTo>
                    <a:pt x="14" y="187"/>
                  </a:lnTo>
                  <a:lnTo>
                    <a:pt x="8" y="182"/>
                  </a:lnTo>
                  <a:lnTo>
                    <a:pt x="0" y="178"/>
                  </a:lnTo>
                  <a:lnTo>
                    <a:pt x="3" y="166"/>
                  </a:lnTo>
                  <a:lnTo>
                    <a:pt x="9" y="151"/>
                  </a:lnTo>
                  <a:lnTo>
                    <a:pt x="10" y="148"/>
                  </a:lnTo>
                  <a:lnTo>
                    <a:pt x="12" y="148"/>
                  </a:lnTo>
                  <a:lnTo>
                    <a:pt x="17" y="147"/>
                  </a:lnTo>
                  <a:lnTo>
                    <a:pt x="16" y="140"/>
                  </a:lnTo>
                  <a:lnTo>
                    <a:pt x="17" y="133"/>
                  </a:lnTo>
                  <a:lnTo>
                    <a:pt x="27" y="113"/>
                  </a:lnTo>
                  <a:lnTo>
                    <a:pt x="35" y="103"/>
                  </a:lnTo>
                  <a:lnTo>
                    <a:pt x="44" y="97"/>
                  </a:lnTo>
                  <a:lnTo>
                    <a:pt x="54" y="89"/>
                  </a:lnTo>
                  <a:lnTo>
                    <a:pt x="57" y="81"/>
                  </a:lnTo>
                  <a:lnTo>
                    <a:pt x="53" y="74"/>
                  </a:lnTo>
                  <a:lnTo>
                    <a:pt x="54" y="68"/>
                  </a:lnTo>
                  <a:lnTo>
                    <a:pt x="49" y="62"/>
                  </a:lnTo>
                  <a:lnTo>
                    <a:pt x="48" y="60"/>
                  </a:lnTo>
                  <a:lnTo>
                    <a:pt x="44" y="50"/>
                  </a:lnTo>
                  <a:lnTo>
                    <a:pt x="43" y="44"/>
                  </a:lnTo>
                  <a:lnTo>
                    <a:pt x="40" y="37"/>
                  </a:lnTo>
                  <a:lnTo>
                    <a:pt x="43" y="34"/>
                  </a:lnTo>
                  <a:lnTo>
                    <a:pt x="48" y="34"/>
                  </a:lnTo>
                  <a:lnTo>
                    <a:pt x="52" y="34"/>
                  </a:lnTo>
                  <a:lnTo>
                    <a:pt x="60" y="31"/>
                  </a:lnTo>
                  <a:lnTo>
                    <a:pt x="63" y="27"/>
                  </a:lnTo>
                  <a:lnTo>
                    <a:pt x="64" y="23"/>
                  </a:lnTo>
                  <a:lnTo>
                    <a:pt x="69" y="22"/>
                  </a:lnTo>
                  <a:lnTo>
                    <a:pt x="90" y="18"/>
                  </a:lnTo>
                  <a:lnTo>
                    <a:pt x="94" y="20"/>
                  </a:lnTo>
                  <a:lnTo>
                    <a:pt x="103" y="20"/>
                  </a:lnTo>
                  <a:lnTo>
                    <a:pt x="107" y="19"/>
                  </a:lnTo>
                  <a:lnTo>
                    <a:pt x="115" y="24"/>
                  </a:lnTo>
                  <a:lnTo>
                    <a:pt x="123" y="26"/>
                  </a:lnTo>
                  <a:lnTo>
                    <a:pt x="127" y="27"/>
                  </a:lnTo>
                  <a:lnTo>
                    <a:pt x="132" y="26"/>
                  </a:lnTo>
                  <a:lnTo>
                    <a:pt x="135" y="28"/>
                  </a:lnTo>
                  <a:lnTo>
                    <a:pt x="140" y="29"/>
                  </a:lnTo>
                  <a:lnTo>
                    <a:pt x="144" y="31"/>
                  </a:lnTo>
                  <a:lnTo>
                    <a:pt x="145" y="36"/>
                  </a:lnTo>
                  <a:lnTo>
                    <a:pt x="148" y="38"/>
                  </a:lnTo>
                  <a:lnTo>
                    <a:pt x="156" y="38"/>
                  </a:lnTo>
                  <a:lnTo>
                    <a:pt x="157" y="42"/>
                  </a:lnTo>
                  <a:lnTo>
                    <a:pt x="160" y="45"/>
                  </a:lnTo>
                  <a:lnTo>
                    <a:pt x="163" y="42"/>
                  </a:lnTo>
                  <a:lnTo>
                    <a:pt x="168" y="41"/>
                  </a:lnTo>
                  <a:lnTo>
                    <a:pt x="172" y="41"/>
                  </a:lnTo>
                  <a:lnTo>
                    <a:pt x="175" y="37"/>
                  </a:lnTo>
                  <a:lnTo>
                    <a:pt x="179" y="40"/>
                  </a:lnTo>
                  <a:lnTo>
                    <a:pt x="183" y="41"/>
                  </a:lnTo>
                  <a:lnTo>
                    <a:pt x="187" y="40"/>
                  </a:lnTo>
                  <a:lnTo>
                    <a:pt x="189" y="44"/>
                  </a:lnTo>
                  <a:lnTo>
                    <a:pt x="193" y="46"/>
                  </a:lnTo>
                  <a:lnTo>
                    <a:pt x="202" y="37"/>
                  </a:lnTo>
                  <a:lnTo>
                    <a:pt x="209" y="42"/>
                  </a:lnTo>
                  <a:lnTo>
                    <a:pt x="211" y="46"/>
                  </a:lnTo>
                  <a:lnTo>
                    <a:pt x="214" y="49"/>
                  </a:lnTo>
                  <a:lnTo>
                    <a:pt x="218" y="46"/>
                  </a:lnTo>
                  <a:lnTo>
                    <a:pt x="222" y="47"/>
                  </a:lnTo>
                  <a:lnTo>
                    <a:pt x="230" y="45"/>
                  </a:lnTo>
                  <a:lnTo>
                    <a:pt x="235" y="45"/>
                  </a:lnTo>
                  <a:lnTo>
                    <a:pt x="239" y="47"/>
                  </a:lnTo>
                  <a:lnTo>
                    <a:pt x="242" y="50"/>
                  </a:lnTo>
                  <a:lnTo>
                    <a:pt x="246" y="49"/>
                  </a:lnTo>
                  <a:lnTo>
                    <a:pt x="248" y="46"/>
                  </a:lnTo>
                  <a:lnTo>
                    <a:pt x="247" y="37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50" y="24"/>
                  </a:lnTo>
                  <a:lnTo>
                    <a:pt x="259" y="14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71" y="10"/>
                  </a:lnTo>
                  <a:lnTo>
                    <a:pt x="282" y="10"/>
                  </a:lnTo>
                  <a:lnTo>
                    <a:pt x="285" y="12"/>
                  </a:lnTo>
                  <a:lnTo>
                    <a:pt x="289" y="14"/>
                  </a:lnTo>
                  <a:lnTo>
                    <a:pt x="293" y="12"/>
                  </a:lnTo>
                  <a:lnTo>
                    <a:pt x="295" y="9"/>
                  </a:lnTo>
                  <a:lnTo>
                    <a:pt x="296" y="4"/>
                  </a:lnTo>
                  <a:lnTo>
                    <a:pt x="300" y="2"/>
                  </a:lnTo>
                  <a:lnTo>
                    <a:pt x="309" y="4"/>
                  </a:lnTo>
                  <a:lnTo>
                    <a:pt x="313" y="4"/>
                  </a:lnTo>
                  <a:lnTo>
                    <a:pt x="322" y="1"/>
                  </a:lnTo>
                  <a:lnTo>
                    <a:pt x="330" y="2"/>
                  </a:lnTo>
                  <a:lnTo>
                    <a:pt x="338" y="0"/>
                  </a:lnTo>
                  <a:lnTo>
                    <a:pt x="345" y="6"/>
                  </a:lnTo>
                  <a:lnTo>
                    <a:pt x="347" y="9"/>
                  </a:lnTo>
                  <a:lnTo>
                    <a:pt x="347" y="14"/>
                  </a:lnTo>
                  <a:lnTo>
                    <a:pt x="353" y="19"/>
                  </a:lnTo>
                  <a:lnTo>
                    <a:pt x="356" y="23"/>
                  </a:lnTo>
                  <a:lnTo>
                    <a:pt x="356" y="28"/>
                  </a:lnTo>
                  <a:lnTo>
                    <a:pt x="352" y="30"/>
                  </a:lnTo>
                  <a:lnTo>
                    <a:pt x="348" y="31"/>
                  </a:lnTo>
                  <a:lnTo>
                    <a:pt x="349" y="34"/>
                  </a:lnTo>
                  <a:lnTo>
                    <a:pt x="349" y="38"/>
                  </a:lnTo>
                  <a:lnTo>
                    <a:pt x="352" y="46"/>
                  </a:lnTo>
                  <a:lnTo>
                    <a:pt x="355" y="49"/>
                  </a:lnTo>
                  <a:lnTo>
                    <a:pt x="359" y="51"/>
                  </a:lnTo>
                  <a:lnTo>
                    <a:pt x="368" y="53"/>
                  </a:lnTo>
                  <a:lnTo>
                    <a:pt x="372" y="51"/>
                  </a:lnTo>
                  <a:lnTo>
                    <a:pt x="376" y="51"/>
                  </a:lnTo>
                  <a:lnTo>
                    <a:pt x="377" y="55"/>
                  </a:lnTo>
                  <a:lnTo>
                    <a:pt x="383" y="61"/>
                  </a:lnTo>
                  <a:lnTo>
                    <a:pt x="387" y="76"/>
                  </a:lnTo>
                  <a:lnTo>
                    <a:pt x="385" y="80"/>
                  </a:lnTo>
                  <a:lnTo>
                    <a:pt x="387" y="84"/>
                  </a:lnTo>
                  <a:lnTo>
                    <a:pt x="390" y="87"/>
                  </a:lnTo>
                  <a:lnTo>
                    <a:pt x="394" y="89"/>
                  </a:lnTo>
                  <a:lnTo>
                    <a:pt x="398" y="87"/>
                  </a:lnTo>
                  <a:lnTo>
                    <a:pt x="402" y="86"/>
                  </a:lnTo>
                  <a:lnTo>
                    <a:pt x="406" y="87"/>
                  </a:lnTo>
                  <a:lnTo>
                    <a:pt x="412" y="93"/>
                  </a:lnTo>
                  <a:lnTo>
                    <a:pt x="417" y="91"/>
                  </a:lnTo>
                  <a:lnTo>
                    <a:pt x="420" y="93"/>
                  </a:lnTo>
                  <a:lnTo>
                    <a:pt x="433" y="89"/>
                  </a:lnTo>
                  <a:lnTo>
                    <a:pt x="441" y="85"/>
                  </a:lnTo>
                  <a:lnTo>
                    <a:pt x="445" y="87"/>
                  </a:lnTo>
                  <a:lnTo>
                    <a:pt x="448" y="90"/>
                  </a:lnTo>
                  <a:lnTo>
                    <a:pt x="453" y="102"/>
                  </a:lnTo>
                  <a:lnTo>
                    <a:pt x="459" y="108"/>
                  </a:lnTo>
                  <a:lnTo>
                    <a:pt x="463" y="108"/>
                  </a:lnTo>
                  <a:lnTo>
                    <a:pt x="465" y="104"/>
                  </a:lnTo>
                  <a:lnTo>
                    <a:pt x="469" y="104"/>
                  </a:lnTo>
                  <a:lnTo>
                    <a:pt x="472" y="108"/>
                  </a:lnTo>
                  <a:lnTo>
                    <a:pt x="476" y="108"/>
                  </a:lnTo>
                  <a:lnTo>
                    <a:pt x="480" y="110"/>
                  </a:lnTo>
                  <a:lnTo>
                    <a:pt x="483" y="113"/>
                  </a:lnTo>
                  <a:lnTo>
                    <a:pt x="492" y="113"/>
                  </a:lnTo>
                  <a:lnTo>
                    <a:pt x="498" y="117"/>
                  </a:lnTo>
                  <a:lnTo>
                    <a:pt x="502" y="117"/>
                  </a:lnTo>
                  <a:lnTo>
                    <a:pt x="509" y="123"/>
                  </a:lnTo>
                  <a:lnTo>
                    <a:pt x="513" y="124"/>
                  </a:lnTo>
                  <a:lnTo>
                    <a:pt x="518" y="123"/>
                  </a:lnTo>
                  <a:lnTo>
                    <a:pt x="521" y="126"/>
                  </a:lnTo>
                  <a:lnTo>
                    <a:pt x="517" y="128"/>
                  </a:lnTo>
                  <a:lnTo>
                    <a:pt x="521" y="140"/>
                  </a:lnTo>
                  <a:lnTo>
                    <a:pt x="517" y="148"/>
                  </a:lnTo>
                  <a:lnTo>
                    <a:pt x="509" y="150"/>
                  </a:lnTo>
                  <a:lnTo>
                    <a:pt x="511" y="153"/>
                  </a:lnTo>
                  <a:lnTo>
                    <a:pt x="516" y="154"/>
                  </a:lnTo>
                  <a:lnTo>
                    <a:pt x="518" y="157"/>
                  </a:lnTo>
                  <a:lnTo>
                    <a:pt x="510" y="159"/>
                  </a:lnTo>
                  <a:lnTo>
                    <a:pt x="508" y="163"/>
                  </a:lnTo>
                  <a:lnTo>
                    <a:pt x="508" y="167"/>
                  </a:lnTo>
                  <a:lnTo>
                    <a:pt x="510" y="171"/>
                  </a:lnTo>
                  <a:lnTo>
                    <a:pt x="512" y="175"/>
                  </a:lnTo>
                  <a:lnTo>
                    <a:pt x="511" y="179"/>
                  </a:lnTo>
                  <a:lnTo>
                    <a:pt x="514" y="181"/>
                  </a:lnTo>
                  <a:lnTo>
                    <a:pt x="512" y="189"/>
                  </a:lnTo>
                  <a:lnTo>
                    <a:pt x="509" y="202"/>
                  </a:lnTo>
                  <a:lnTo>
                    <a:pt x="505" y="203"/>
                  </a:lnTo>
                  <a:lnTo>
                    <a:pt x="497" y="201"/>
                  </a:lnTo>
                  <a:lnTo>
                    <a:pt x="493" y="202"/>
                  </a:lnTo>
                  <a:lnTo>
                    <a:pt x="485" y="198"/>
                  </a:lnTo>
                  <a:lnTo>
                    <a:pt x="482" y="201"/>
                  </a:lnTo>
                  <a:lnTo>
                    <a:pt x="477" y="208"/>
                  </a:lnTo>
                  <a:lnTo>
                    <a:pt x="469" y="211"/>
                  </a:lnTo>
                  <a:lnTo>
                    <a:pt x="466" y="219"/>
                  </a:lnTo>
                  <a:lnTo>
                    <a:pt x="466" y="223"/>
                  </a:lnTo>
                  <a:lnTo>
                    <a:pt x="466" y="231"/>
                  </a:lnTo>
                  <a:lnTo>
                    <a:pt x="454" y="232"/>
                  </a:lnTo>
                  <a:lnTo>
                    <a:pt x="447" y="234"/>
                  </a:lnTo>
                  <a:lnTo>
                    <a:pt x="442" y="239"/>
                  </a:lnTo>
                  <a:lnTo>
                    <a:pt x="438" y="239"/>
                  </a:lnTo>
                  <a:lnTo>
                    <a:pt x="428" y="243"/>
                  </a:lnTo>
                  <a:lnTo>
                    <a:pt x="427" y="249"/>
                  </a:lnTo>
                  <a:lnTo>
                    <a:pt x="420" y="246"/>
                  </a:lnTo>
                  <a:lnTo>
                    <a:pt x="409" y="251"/>
                  </a:lnTo>
                  <a:lnTo>
                    <a:pt x="407" y="254"/>
                  </a:lnTo>
                  <a:lnTo>
                    <a:pt x="406" y="251"/>
                  </a:lnTo>
                  <a:lnTo>
                    <a:pt x="401" y="253"/>
                  </a:lnTo>
                  <a:lnTo>
                    <a:pt x="397" y="253"/>
                  </a:lnTo>
                  <a:lnTo>
                    <a:pt x="388" y="261"/>
                  </a:lnTo>
                  <a:lnTo>
                    <a:pt x="386" y="261"/>
                  </a:lnTo>
                  <a:lnTo>
                    <a:pt x="383" y="267"/>
                  </a:lnTo>
                  <a:lnTo>
                    <a:pt x="380" y="272"/>
                  </a:lnTo>
                  <a:lnTo>
                    <a:pt x="376" y="274"/>
                  </a:lnTo>
                  <a:lnTo>
                    <a:pt x="377" y="272"/>
                  </a:lnTo>
                  <a:lnTo>
                    <a:pt x="380" y="270"/>
                  </a:lnTo>
                  <a:lnTo>
                    <a:pt x="383" y="267"/>
                  </a:lnTo>
                  <a:lnTo>
                    <a:pt x="380" y="260"/>
                  </a:lnTo>
                  <a:lnTo>
                    <a:pt x="378" y="260"/>
                  </a:lnTo>
                  <a:lnTo>
                    <a:pt x="375" y="267"/>
                  </a:lnTo>
                  <a:lnTo>
                    <a:pt x="370" y="272"/>
                  </a:lnTo>
                  <a:lnTo>
                    <a:pt x="372" y="280"/>
                  </a:lnTo>
                  <a:lnTo>
                    <a:pt x="372" y="285"/>
                  </a:lnTo>
                  <a:lnTo>
                    <a:pt x="369" y="285"/>
                  </a:lnTo>
                  <a:lnTo>
                    <a:pt x="369" y="283"/>
                  </a:lnTo>
                  <a:lnTo>
                    <a:pt x="366" y="277"/>
                  </a:lnTo>
                  <a:lnTo>
                    <a:pt x="367" y="275"/>
                  </a:lnTo>
                  <a:lnTo>
                    <a:pt x="366" y="273"/>
                  </a:lnTo>
                  <a:lnTo>
                    <a:pt x="362" y="275"/>
                  </a:lnTo>
                  <a:lnTo>
                    <a:pt x="360" y="279"/>
                  </a:lnTo>
                  <a:lnTo>
                    <a:pt x="359" y="278"/>
                  </a:lnTo>
                  <a:lnTo>
                    <a:pt x="360" y="275"/>
                  </a:lnTo>
                  <a:lnTo>
                    <a:pt x="359" y="273"/>
                  </a:lnTo>
                  <a:lnTo>
                    <a:pt x="352" y="273"/>
                  </a:lnTo>
                  <a:lnTo>
                    <a:pt x="351" y="272"/>
                  </a:lnTo>
                  <a:lnTo>
                    <a:pt x="351" y="267"/>
                  </a:lnTo>
                  <a:lnTo>
                    <a:pt x="349" y="265"/>
                  </a:lnTo>
                  <a:lnTo>
                    <a:pt x="348" y="272"/>
                  </a:lnTo>
                  <a:lnTo>
                    <a:pt x="347" y="272"/>
                  </a:lnTo>
                  <a:lnTo>
                    <a:pt x="337" y="270"/>
                  </a:lnTo>
                  <a:lnTo>
                    <a:pt x="340" y="272"/>
                  </a:lnTo>
                  <a:lnTo>
                    <a:pt x="342" y="275"/>
                  </a:lnTo>
                  <a:lnTo>
                    <a:pt x="345" y="274"/>
                  </a:lnTo>
                  <a:lnTo>
                    <a:pt x="346" y="275"/>
                  </a:lnTo>
                  <a:lnTo>
                    <a:pt x="347" y="278"/>
                  </a:lnTo>
                  <a:lnTo>
                    <a:pt x="348" y="281"/>
                  </a:lnTo>
                  <a:lnTo>
                    <a:pt x="349" y="283"/>
                  </a:lnTo>
                  <a:lnTo>
                    <a:pt x="351" y="282"/>
                  </a:lnTo>
                  <a:lnTo>
                    <a:pt x="351" y="278"/>
                  </a:lnTo>
                  <a:lnTo>
                    <a:pt x="356" y="280"/>
                  </a:lnTo>
                  <a:lnTo>
                    <a:pt x="359" y="281"/>
                  </a:lnTo>
                  <a:lnTo>
                    <a:pt x="362" y="281"/>
                  </a:lnTo>
                  <a:lnTo>
                    <a:pt x="359" y="288"/>
                  </a:lnTo>
                  <a:lnTo>
                    <a:pt x="361" y="289"/>
                  </a:lnTo>
                  <a:lnTo>
                    <a:pt x="364" y="287"/>
                  </a:lnTo>
                  <a:lnTo>
                    <a:pt x="365" y="288"/>
                  </a:lnTo>
                  <a:lnTo>
                    <a:pt x="364" y="292"/>
                  </a:lnTo>
                  <a:lnTo>
                    <a:pt x="371" y="292"/>
                  </a:lnTo>
                  <a:lnTo>
                    <a:pt x="374" y="296"/>
                  </a:lnTo>
                  <a:lnTo>
                    <a:pt x="374" y="302"/>
                  </a:lnTo>
                  <a:lnTo>
                    <a:pt x="376" y="307"/>
                  </a:lnTo>
                  <a:lnTo>
                    <a:pt x="377" y="305"/>
                  </a:lnTo>
                  <a:lnTo>
                    <a:pt x="387" y="307"/>
                  </a:lnTo>
                  <a:lnTo>
                    <a:pt x="387" y="304"/>
                  </a:lnTo>
                  <a:lnTo>
                    <a:pt x="393" y="308"/>
                  </a:lnTo>
                  <a:lnTo>
                    <a:pt x="399" y="301"/>
                  </a:lnTo>
                  <a:lnTo>
                    <a:pt x="401" y="301"/>
                  </a:lnTo>
                  <a:lnTo>
                    <a:pt x="403" y="304"/>
                  </a:lnTo>
                  <a:lnTo>
                    <a:pt x="407" y="302"/>
                  </a:lnTo>
                  <a:lnTo>
                    <a:pt x="414" y="300"/>
                  </a:lnTo>
                  <a:lnTo>
                    <a:pt x="420" y="301"/>
                  </a:lnTo>
                  <a:lnTo>
                    <a:pt x="419" y="305"/>
                  </a:lnTo>
                  <a:lnTo>
                    <a:pt x="417" y="307"/>
                  </a:lnTo>
                  <a:lnTo>
                    <a:pt x="416" y="311"/>
                  </a:lnTo>
                  <a:lnTo>
                    <a:pt x="416" y="317"/>
                  </a:lnTo>
                  <a:lnTo>
                    <a:pt x="406" y="317"/>
                  </a:lnTo>
                  <a:lnTo>
                    <a:pt x="405" y="319"/>
                  </a:lnTo>
                  <a:lnTo>
                    <a:pt x="388" y="314"/>
                  </a:lnTo>
                  <a:lnTo>
                    <a:pt x="378" y="323"/>
                  </a:lnTo>
                  <a:lnTo>
                    <a:pt x="374" y="328"/>
                  </a:lnTo>
                  <a:lnTo>
                    <a:pt x="368" y="327"/>
                  </a:lnTo>
                  <a:lnTo>
                    <a:pt x="360" y="329"/>
                  </a:lnTo>
                  <a:lnTo>
                    <a:pt x="363" y="330"/>
                  </a:lnTo>
                  <a:lnTo>
                    <a:pt x="360" y="331"/>
                  </a:lnTo>
                  <a:lnTo>
                    <a:pt x="357" y="335"/>
                  </a:lnTo>
                  <a:lnTo>
                    <a:pt x="356" y="337"/>
                  </a:lnTo>
                  <a:lnTo>
                    <a:pt x="355" y="339"/>
                  </a:lnTo>
                  <a:lnTo>
                    <a:pt x="351" y="339"/>
                  </a:lnTo>
                  <a:lnTo>
                    <a:pt x="345" y="343"/>
                  </a:lnTo>
                  <a:lnTo>
                    <a:pt x="337" y="343"/>
                  </a:lnTo>
                  <a:lnTo>
                    <a:pt x="335" y="342"/>
                  </a:lnTo>
                  <a:lnTo>
                    <a:pt x="329" y="337"/>
                  </a:lnTo>
                  <a:lnTo>
                    <a:pt x="331" y="333"/>
                  </a:lnTo>
                  <a:lnTo>
                    <a:pt x="331" y="328"/>
                  </a:lnTo>
                  <a:lnTo>
                    <a:pt x="332" y="324"/>
                  </a:lnTo>
                  <a:lnTo>
                    <a:pt x="332" y="319"/>
                  </a:lnTo>
                  <a:lnTo>
                    <a:pt x="329" y="313"/>
                  </a:lnTo>
                  <a:lnTo>
                    <a:pt x="325" y="312"/>
                  </a:lnTo>
                  <a:lnTo>
                    <a:pt x="322" y="313"/>
                  </a:lnTo>
                  <a:lnTo>
                    <a:pt x="318" y="308"/>
                  </a:lnTo>
                  <a:lnTo>
                    <a:pt x="312" y="305"/>
                  </a:lnTo>
                  <a:lnTo>
                    <a:pt x="303" y="305"/>
                  </a:lnTo>
                  <a:lnTo>
                    <a:pt x="303" y="303"/>
                  </a:lnTo>
                  <a:lnTo>
                    <a:pt x="305" y="300"/>
                  </a:lnTo>
                  <a:lnTo>
                    <a:pt x="310" y="297"/>
                  </a:lnTo>
                  <a:lnTo>
                    <a:pt x="317" y="291"/>
                  </a:lnTo>
                  <a:lnTo>
                    <a:pt x="321" y="287"/>
                  </a:lnTo>
                  <a:lnTo>
                    <a:pt x="336" y="283"/>
                  </a:lnTo>
                  <a:lnTo>
                    <a:pt x="338" y="281"/>
                  </a:lnTo>
                  <a:lnTo>
                    <a:pt x="336" y="280"/>
                  </a:lnTo>
                  <a:lnTo>
                    <a:pt x="336" y="276"/>
                  </a:lnTo>
                  <a:lnTo>
                    <a:pt x="332" y="273"/>
                  </a:lnTo>
                  <a:lnTo>
                    <a:pt x="329" y="276"/>
                  </a:lnTo>
                  <a:lnTo>
                    <a:pt x="324" y="273"/>
                  </a:lnTo>
                  <a:lnTo>
                    <a:pt x="324" y="271"/>
                  </a:lnTo>
                  <a:lnTo>
                    <a:pt x="319" y="272"/>
                  </a:lnTo>
                  <a:lnTo>
                    <a:pt x="319" y="274"/>
                  </a:lnTo>
                  <a:lnTo>
                    <a:pt x="315" y="274"/>
                  </a:lnTo>
                  <a:lnTo>
                    <a:pt x="303" y="277"/>
                  </a:lnTo>
                  <a:lnTo>
                    <a:pt x="295" y="274"/>
                  </a:lnTo>
                  <a:lnTo>
                    <a:pt x="292" y="270"/>
                  </a:lnTo>
                  <a:lnTo>
                    <a:pt x="289" y="269"/>
                  </a:lnTo>
                  <a:lnTo>
                    <a:pt x="282" y="270"/>
                  </a:lnTo>
                  <a:lnTo>
                    <a:pt x="282" y="268"/>
                  </a:lnTo>
                  <a:lnTo>
                    <a:pt x="289" y="263"/>
                  </a:lnTo>
                  <a:lnTo>
                    <a:pt x="288" y="261"/>
                  </a:lnTo>
                  <a:lnTo>
                    <a:pt x="280" y="260"/>
                  </a:lnTo>
                  <a:lnTo>
                    <a:pt x="277" y="259"/>
                  </a:lnTo>
                  <a:lnTo>
                    <a:pt x="281" y="257"/>
                  </a:lnTo>
                  <a:lnTo>
                    <a:pt x="294" y="259"/>
                  </a:lnTo>
                  <a:lnTo>
                    <a:pt x="295" y="258"/>
                  </a:lnTo>
                  <a:lnTo>
                    <a:pt x="294" y="257"/>
                  </a:lnTo>
                  <a:lnTo>
                    <a:pt x="291" y="256"/>
                  </a:lnTo>
                  <a:lnTo>
                    <a:pt x="287" y="251"/>
                  </a:lnTo>
                  <a:lnTo>
                    <a:pt x="285" y="246"/>
                  </a:lnTo>
                  <a:lnTo>
                    <a:pt x="283" y="250"/>
                  </a:lnTo>
                  <a:lnTo>
                    <a:pt x="279" y="252"/>
                  </a:lnTo>
                  <a:lnTo>
                    <a:pt x="275" y="253"/>
                  </a:lnTo>
                  <a:lnTo>
                    <a:pt x="276" y="248"/>
                  </a:lnTo>
                  <a:lnTo>
                    <a:pt x="272" y="250"/>
                  </a:lnTo>
                  <a:lnTo>
                    <a:pt x="266" y="254"/>
                  </a:lnTo>
                  <a:lnTo>
                    <a:pt x="258" y="255"/>
                  </a:lnTo>
                  <a:lnTo>
                    <a:pt x="254" y="257"/>
                  </a:lnTo>
                  <a:lnTo>
                    <a:pt x="250" y="258"/>
                  </a:lnTo>
                  <a:lnTo>
                    <a:pt x="250" y="262"/>
                  </a:lnTo>
                  <a:lnTo>
                    <a:pt x="244" y="272"/>
                  </a:lnTo>
                  <a:lnTo>
                    <a:pt x="242" y="271"/>
                  </a:lnTo>
                  <a:lnTo>
                    <a:pt x="240" y="267"/>
                  </a:lnTo>
                  <a:lnTo>
                    <a:pt x="235" y="266"/>
                  </a:lnTo>
                  <a:lnTo>
                    <a:pt x="234" y="264"/>
                  </a:lnTo>
                  <a:lnTo>
                    <a:pt x="235" y="267"/>
                  </a:lnTo>
                  <a:lnTo>
                    <a:pt x="240" y="271"/>
                  </a:lnTo>
                  <a:lnTo>
                    <a:pt x="241" y="277"/>
                  </a:lnTo>
                  <a:lnTo>
                    <a:pt x="238" y="283"/>
                  </a:lnTo>
                  <a:lnTo>
                    <a:pt x="235" y="286"/>
                  </a:lnTo>
                  <a:lnTo>
                    <a:pt x="228" y="286"/>
                  </a:lnTo>
                  <a:lnTo>
                    <a:pt x="226" y="288"/>
                  </a:lnTo>
                  <a:lnTo>
                    <a:pt x="223" y="290"/>
                  </a:lnTo>
                  <a:lnTo>
                    <a:pt x="223" y="294"/>
                  </a:lnTo>
                  <a:lnTo>
                    <a:pt x="220" y="292"/>
                  </a:lnTo>
                  <a:lnTo>
                    <a:pt x="220" y="287"/>
                  </a:lnTo>
                  <a:lnTo>
                    <a:pt x="219" y="285"/>
                  </a:lnTo>
                  <a:lnTo>
                    <a:pt x="219" y="295"/>
                  </a:lnTo>
                  <a:lnTo>
                    <a:pt x="220" y="303"/>
                  </a:lnTo>
                  <a:lnTo>
                    <a:pt x="218" y="304"/>
                  </a:lnTo>
                  <a:lnTo>
                    <a:pt x="215" y="302"/>
                  </a:lnTo>
                  <a:lnTo>
                    <a:pt x="211" y="302"/>
                  </a:lnTo>
                  <a:lnTo>
                    <a:pt x="206" y="304"/>
                  </a:lnTo>
                  <a:lnTo>
                    <a:pt x="198" y="305"/>
                  </a:lnTo>
                  <a:lnTo>
                    <a:pt x="193" y="309"/>
                  </a:lnTo>
                  <a:lnTo>
                    <a:pt x="187" y="309"/>
                  </a:lnTo>
                  <a:lnTo>
                    <a:pt x="180" y="300"/>
                  </a:lnTo>
                  <a:lnTo>
                    <a:pt x="176" y="301"/>
                  </a:lnTo>
                  <a:lnTo>
                    <a:pt x="176" y="299"/>
                  </a:lnTo>
                  <a:lnTo>
                    <a:pt x="181" y="299"/>
                  </a:lnTo>
                  <a:lnTo>
                    <a:pt x="184" y="296"/>
                  </a:lnTo>
                  <a:lnTo>
                    <a:pt x="184" y="292"/>
                  </a:lnTo>
                  <a:lnTo>
                    <a:pt x="186" y="288"/>
                  </a:lnTo>
                  <a:lnTo>
                    <a:pt x="190" y="286"/>
                  </a:lnTo>
                  <a:lnTo>
                    <a:pt x="191" y="282"/>
                  </a:lnTo>
                  <a:lnTo>
                    <a:pt x="193" y="279"/>
                  </a:lnTo>
                  <a:lnTo>
                    <a:pt x="197" y="277"/>
                  </a:lnTo>
                  <a:lnTo>
                    <a:pt x="199" y="264"/>
                  </a:lnTo>
                  <a:lnTo>
                    <a:pt x="201" y="260"/>
                  </a:lnTo>
                  <a:lnTo>
                    <a:pt x="205" y="258"/>
                  </a:lnTo>
                  <a:lnTo>
                    <a:pt x="207" y="262"/>
                  </a:lnTo>
                  <a:lnTo>
                    <a:pt x="211" y="260"/>
                  </a:lnTo>
                  <a:lnTo>
                    <a:pt x="223" y="263"/>
                  </a:lnTo>
                  <a:lnTo>
                    <a:pt x="226" y="261"/>
                  </a:lnTo>
                  <a:lnTo>
                    <a:pt x="228" y="257"/>
                  </a:lnTo>
                  <a:lnTo>
                    <a:pt x="226" y="252"/>
                  </a:lnTo>
                  <a:lnTo>
                    <a:pt x="227" y="248"/>
                  </a:lnTo>
                  <a:lnTo>
                    <a:pt x="226" y="245"/>
                  </a:lnTo>
                  <a:lnTo>
                    <a:pt x="225" y="241"/>
                  </a:lnTo>
                  <a:lnTo>
                    <a:pt x="217" y="237"/>
                  </a:lnTo>
                  <a:lnTo>
                    <a:pt x="213" y="229"/>
                  </a:lnTo>
                  <a:lnTo>
                    <a:pt x="214" y="225"/>
                  </a:lnTo>
                  <a:lnTo>
                    <a:pt x="213" y="221"/>
                  </a:lnTo>
                  <a:lnTo>
                    <a:pt x="209" y="220"/>
                  </a:lnTo>
                  <a:lnTo>
                    <a:pt x="207" y="217"/>
                  </a:lnTo>
                  <a:lnTo>
                    <a:pt x="203" y="214"/>
                  </a:lnTo>
                  <a:lnTo>
                    <a:pt x="205" y="205"/>
                  </a:lnTo>
                  <a:lnTo>
                    <a:pt x="205" y="201"/>
                  </a:lnTo>
                  <a:lnTo>
                    <a:pt x="205" y="197"/>
                  </a:lnTo>
                  <a:lnTo>
                    <a:pt x="203" y="193"/>
                  </a:lnTo>
                  <a:lnTo>
                    <a:pt x="199" y="194"/>
                  </a:lnTo>
                  <a:lnTo>
                    <a:pt x="193" y="188"/>
                  </a:lnTo>
                  <a:lnTo>
                    <a:pt x="188" y="187"/>
                  </a:lnTo>
                  <a:lnTo>
                    <a:pt x="180" y="189"/>
                  </a:lnTo>
                  <a:lnTo>
                    <a:pt x="176" y="187"/>
                  </a:lnTo>
                  <a:lnTo>
                    <a:pt x="166" y="179"/>
                  </a:lnTo>
                  <a:lnTo>
                    <a:pt x="162" y="177"/>
                  </a:lnTo>
                  <a:lnTo>
                    <a:pt x="154" y="174"/>
                  </a:lnTo>
                  <a:lnTo>
                    <a:pt x="145" y="177"/>
                  </a:lnTo>
                  <a:lnTo>
                    <a:pt x="141" y="178"/>
                  </a:lnTo>
                  <a:lnTo>
                    <a:pt x="137" y="177"/>
                  </a:lnTo>
                  <a:lnTo>
                    <a:pt x="133" y="179"/>
                  </a:lnTo>
                  <a:lnTo>
                    <a:pt x="130" y="185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97" name="Freeform 122"/>
            <p:cNvSpPr>
              <a:spLocks/>
            </p:cNvSpPr>
            <p:nvPr/>
          </p:nvSpPr>
          <p:spPr bwMode="auto">
            <a:xfrm>
              <a:off x="2429" y="2604"/>
              <a:ext cx="521" cy="343"/>
            </a:xfrm>
            <a:custGeom>
              <a:avLst/>
              <a:gdLst>
                <a:gd name="T0" fmla="*/ 78 w 521"/>
                <a:gd name="T1" fmla="*/ 201 h 343"/>
                <a:gd name="T2" fmla="*/ 21 w 521"/>
                <a:gd name="T3" fmla="*/ 197 h 343"/>
                <a:gd name="T4" fmla="*/ 10 w 521"/>
                <a:gd name="T5" fmla="*/ 148 h 343"/>
                <a:gd name="T6" fmla="*/ 44 w 521"/>
                <a:gd name="T7" fmla="*/ 97 h 343"/>
                <a:gd name="T8" fmla="*/ 44 w 521"/>
                <a:gd name="T9" fmla="*/ 50 h 343"/>
                <a:gd name="T10" fmla="*/ 63 w 521"/>
                <a:gd name="T11" fmla="*/ 27 h 343"/>
                <a:gd name="T12" fmla="*/ 115 w 521"/>
                <a:gd name="T13" fmla="*/ 24 h 343"/>
                <a:gd name="T14" fmla="*/ 145 w 521"/>
                <a:gd name="T15" fmla="*/ 36 h 343"/>
                <a:gd name="T16" fmla="*/ 172 w 521"/>
                <a:gd name="T17" fmla="*/ 41 h 343"/>
                <a:gd name="T18" fmla="*/ 202 w 521"/>
                <a:gd name="T19" fmla="*/ 37 h 343"/>
                <a:gd name="T20" fmla="*/ 235 w 521"/>
                <a:gd name="T21" fmla="*/ 45 h 343"/>
                <a:gd name="T22" fmla="*/ 248 w 521"/>
                <a:gd name="T23" fmla="*/ 28 h 343"/>
                <a:gd name="T24" fmla="*/ 282 w 521"/>
                <a:gd name="T25" fmla="*/ 10 h 343"/>
                <a:gd name="T26" fmla="*/ 309 w 521"/>
                <a:gd name="T27" fmla="*/ 4 h 343"/>
                <a:gd name="T28" fmla="*/ 347 w 521"/>
                <a:gd name="T29" fmla="*/ 14 h 343"/>
                <a:gd name="T30" fmla="*/ 349 w 521"/>
                <a:gd name="T31" fmla="*/ 38 h 343"/>
                <a:gd name="T32" fmla="*/ 377 w 521"/>
                <a:gd name="T33" fmla="*/ 55 h 343"/>
                <a:gd name="T34" fmla="*/ 398 w 521"/>
                <a:gd name="T35" fmla="*/ 87 h 343"/>
                <a:gd name="T36" fmla="*/ 441 w 521"/>
                <a:gd name="T37" fmla="*/ 85 h 343"/>
                <a:gd name="T38" fmla="*/ 469 w 521"/>
                <a:gd name="T39" fmla="*/ 104 h 343"/>
                <a:gd name="T40" fmla="*/ 502 w 521"/>
                <a:gd name="T41" fmla="*/ 117 h 343"/>
                <a:gd name="T42" fmla="*/ 517 w 521"/>
                <a:gd name="T43" fmla="*/ 148 h 343"/>
                <a:gd name="T44" fmla="*/ 508 w 521"/>
                <a:gd name="T45" fmla="*/ 167 h 343"/>
                <a:gd name="T46" fmla="*/ 505 w 521"/>
                <a:gd name="T47" fmla="*/ 203 h 343"/>
                <a:gd name="T48" fmla="*/ 466 w 521"/>
                <a:gd name="T49" fmla="*/ 219 h 343"/>
                <a:gd name="T50" fmla="*/ 428 w 521"/>
                <a:gd name="T51" fmla="*/ 243 h 343"/>
                <a:gd name="T52" fmla="*/ 397 w 521"/>
                <a:gd name="T53" fmla="*/ 253 h 343"/>
                <a:gd name="T54" fmla="*/ 380 w 521"/>
                <a:gd name="T55" fmla="*/ 270 h 343"/>
                <a:gd name="T56" fmla="*/ 372 w 521"/>
                <a:gd name="T57" fmla="*/ 285 h 343"/>
                <a:gd name="T58" fmla="*/ 360 w 521"/>
                <a:gd name="T59" fmla="*/ 279 h 343"/>
                <a:gd name="T60" fmla="*/ 349 w 521"/>
                <a:gd name="T61" fmla="*/ 265 h 343"/>
                <a:gd name="T62" fmla="*/ 346 w 521"/>
                <a:gd name="T63" fmla="*/ 275 h 343"/>
                <a:gd name="T64" fmla="*/ 359 w 521"/>
                <a:gd name="T65" fmla="*/ 281 h 343"/>
                <a:gd name="T66" fmla="*/ 371 w 521"/>
                <a:gd name="T67" fmla="*/ 292 h 343"/>
                <a:gd name="T68" fmla="*/ 393 w 521"/>
                <a:gd name="T69" fmla="*/ 308 h 343"/>
                <a:gd name="T70" fmla="*/ 419 w 521"/>
                <a:gd name="T71" fmla="*/ 305 h 343"/>
                <a:gd name="T72" fmla="*/ 378 w 521"/>
                <a:gd name="T73" fmla="*/ 323 h 343"/>
                <a:gd name="T74" fmla="*/ 356 w 521"/>
                <a:gd name="T75" fmla="*/ 337 h 343"/>
                <a:gd name="T76" fmla="*/ 331 w 521"/>
                <a:gd name="T77" fmla="*/ 333 h 343"/>
                <a:gd name="T78" fmla="*/ 318 w 521"/>
                <a:gd name="T79" fmla="*/ 308 h 343"/>
                <a:gd name="T80" fmla="*/ 321 w 521"/>
                <a:gd name="T81" fmla="*/ 287 h 343"/>
                <a:gd name="T82" fmla="*/ 324 w 521"/>
                <a:gd name="T83" fmla="*/ 273 h 343"/>
                <a:gd name="T84" fmla="*/ 292 w 521"/>
                <a:gd name="T85" fmla="*/ 270 h 343"/>
                <a:gd name="T86" fmla="*/ 277 w 521"/>
                <a:gd name="T87" fmla="*/ 259 h 343"/>
                <a:gd name="T88" fmla="*/ 285 w 521"/>
                <a:gd name="T89" fmla="*/ 246 h 343"/>
                <a:gd name="T90" fmla="*/ 258 w 521"/>
                <a:gd name="T91" fmla="*/ 255 h 343"/>
                <a:gd name="T92" fmla="*/ 235 w 521"/>
                <a:gd name="T93" fmla="*/ 266 h 343"/>
                <a:gd name="T94" fmla="*/ 228 w 521"/>
                <a:gd name="T95" fmla="*/ 286 h 343"/>
                <a:gd name="T96" fmla="*/ 219 w 521"/>
                <a:gd name="T97" fmla="*/ 295 h 343"/>
                <a:gd name="T98" fmla="*/ 193 w 521"/>
                <a:gd name="T99" fmla="*/ 309 h 343"/>
                <a:gd name="T100" fmla="*/ 184 w 521"/>
                <a:gd name="T101" fmla="*/ 292 h 343"/>
                <a:gd name="T102" fmla="*/ 201 w 521"/>
                <a:gd name="T103" fmla="*/ 260 h 343"/>
                <a:gd name="T104" fmla="*/ 226 w 521"/>
                <a:gd name="T105" fmla="*/ 252 h 343"/>
                <a:gd name="T106" fmla="*/ 213 w 521"/>
                <a:gd name="T107" fmla="*/ 221 h 343"/>
                <a:gd name="T108" fmla="*/ 203 w 521"/>
                <a:gd name="T109" fmla="*/ 193 h 343"/>
                <a:gd name="T110" fmla="*/ 162 w 521"/>
                <a:gd name="T111" fmla="*/ 177 h 34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521"/>
                <a:gd name="T169" fmla="*/ 0 h 343"/>
                <a:gd name="T170" fmla="*/ 521 w 521"/>
                <a:gd name="T171" fmla="*/ 343 h 343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521" h="343">
                  <a:moveTo>
                    <a:pt x="130" y="185"/>
                  </a:moveTo>
                  <a:lnTo>
                    <a:pt x="127" y="184"/>
                  </a:lnTo>
                  <a:lnTo>
                    <a:pt x="109" y="195"/>
                  </a:lnTo>
                  <a:lnTo>
                    <a:pt x="100" y="195"/>
                  </a:lnTo>
                  <a:lnTo>
                    <a:pt x="91" y="197"/>
                  </a:lnTo>
                  <a:lnTo>
                    <a:pt x="83" y="204"/>
                  </a:lnTo>
                  <a:lnTo>
                    <a:pt x="78" y="201"/>
                  </a:lnTo>
                  <a:lnTo>
                    <a:pt x="72" y="196"/>
                  </a:lnTo>
                  <a:lnTo>
                    <a:pt x="64" y="196"/>
                  </a:lnTo>
                  <a:lnTo>
                    <a:pt x="56" y="198"/>
                  </a:lnTo>
                  <a:lnTo>
                    <a:pt x="43" y="197"/>
                  </a:lnTo>
                  <a:lnTo>
                    <a:pt x="34" y="196"/>
                  </a:lnTo>
                  <a:lnTo>
                    <a:pt x="24" y="196"/>
                  </a:lnTo>
                  <a:lnTo>
                    <a:pt x="21" y="197"/>
                  </a:lnTo>
                  <a:lnTo>
                    <a:pt x="19" y="192"/>
                  </a:lnTo>
                  <a:lnTo>
                    <a:pt x="14" y="187"/>
                  </a:lnTo>
                  <a:lnTo>
                    <a:pt x="8" y="182"/>
                  </a:lnTo>
                  <a:lnTo>
                    <a:pt x="0" y="178"/>
                  </a:lnTo>
                  <a:lnTo>
                    <a:pt x="3" y="166"/>
                  </a:lnTo>
                  <a:lnTo>
                    <a:pt x="9" y="151"/>
                  </a:lnTo>
                  <a:lnTo>
                    <a:pt x="10" y="148"/>
                  </a:lnTo>
                  <a:lnTo>
                    <a:pt x="12" y="148"/>
                  </a:lnTo>
                  <a:lnTo>
                    <a:pt x="17" y="147"/>
                  </a:lnTo>
                  <a:lnTo>
                    <a:pt x="16" y="140"/>
                  </a:lnTo>
                  <a:lnTo>
                    <a:pt x="17" y="133"/>
                  </a:lnTo>
                  <a:lnTo>
                    <a:pt x="27" y="113"/>
                  </a:lnTo>
                  <a:lnTo>
                    <a:pt x="35" y="103"/>
                  </a:lnTo>
                  <a:lnTo>
                    <a:pt x="44" y="97"/>
                  </a:lnTo>
                  <a:lnTo>
                    <a:pt x="54" y="89"/>
                  </a:lnTo>
                  <a:lnTo>
                    <a:pt x="57" y="81"/>
                  </a:lnTo>
                  <a:lnTo>
                    <a:pt x="53" y="74"/>
                  </a:lnTo>
                  <a:lnTo>
                    <a:pt x="54" y="68"/>
                  </a:lnTo>
                  <a:lnTo>
                    <a:pt x="49" y="62"/>
                  </a:lnTo>
                  <a:lnTo>
                    <a:pt x="48" y="60"/>
                  </a:lnTo>
                  <a:lnTo>
                    <a:pt x="44" y="50"/>
                  </a:lnTo>
                  <a:lnTo>
                    <a:pt x="43" y="44"/>
                  </a:lnTo>
                  <a:lnTo>
                    <a:pt x="40" y="37"/>
                  </a:lnTo>
                  <a:lnTo>
                    <a:pt x="43" y="34"/>
                  </a:lnTo>
                  <a:lnTo>
                    <a:pt x="48" y="34"/>
                  </a:lnTo>
                  <a:lnTo>
                    <a:pt x="52" y="34"/>
                  </a:lnTo>
                  <a:lnTo>
                    <a:pt x="60" y="31"/>
                  </a:lnTo>
                  <a:lnTo>
                    <a:pt x="63" y="27"/>
                  </a:lnTo>
                  <a:lnTo>
                    <a:pt x="64" y="23"/>
                  </a:lnTo>
                  <a:lnTo>
                    <a:pt x="69" y="22"/>
                  </a:lnTo>
                  <a:lnTo>
                    <a:pt x="90" y="18"/>
                  </a:lnTo>
                  <a:lnTo>
                    <a:pt x="94" y="20"/>
                  </a:lnTo>
                  <a:lnTo>
                    <a:pt x="103" y="20"/>
                  </a:lnTo>
                  <a:lnTo>
                    <a:pt x="107" y="19"/>
                  </a:lnTo>
                  <a:lnTo>
                    <a:pt x="115" y="24"/>
                  </a:lnTo>
                  <a:lnTo>
                    <a:pt x="123" y="26"/>
                  </a:lnTo>
                  <a:lnTo>
                    <a:pt x="127" y="27"/>
                  </a:lnTo>
                  <a:lnTo>
                    <a:pt x="132" y="26"/>
                  </a:lnTo>
                  <a:lnTo>
                    <a:pt x="135" y="28"/>
                  </a:lnTo>
                  <a:lnTo>
                    <a:pt x="140" y="29"/>
                  </a:lnTo>
                  <a:lnTo>
                    <a:pt x="144" y="31"/>
                  </a:lnTo>
                  <a:lnTo>
                    <a:pt x="145" y="36"/>
                  </a:lnTo>
                  <a:lnTo>
                    <a:pt x="148" y="38"/>
                  </a:lnTo>
                  <a:lnTo>
                    <a:pt x="156" y="38"/>
                  </a:lnTo>
                  <a:lnTo>
                    <a:pt x="157" y="42"/>
                  </a:lnTo>
                  <a:lnTo>
                    <a:pt x="160" y="45"/>
                  </a:lnTo>
                  <a:lnTo>
                    <a:pt x="163" y="42"/>
                  </a:lnTo>
                  <a:lnTo>
                    <a:pt x="168" y="41"/>
                  </a:lnTo>
                  <a:lnTo>
                    <a:pt x="172" y="41"/>
                  </a:lnTo>
                  <a:lnTo>
                    <a:pt x="175" y="37"/>
                  </a:lnTo>
                  <a:lnTo>
                    <a:pt x="179" y="40"/>
                  </a:lnTo>
                  <a:lnTo>
                    <a:pt x="183" y="41"/>
                  </a:lnTo>
                  <a:lnTo>
                    <a:pt x="187" y="40"/>
                  </a:lnTo>
                  <a:lnTo>
                    <a:pt x="189" y="44"/>
                  </a:lnTo>
                  <a:lnTo>
                    <a:pt x="193" y="46"/>
                  </a:lnTo>
                  <a:lnTo>
                    <a:pt x="202" y="37"/>
                  </a:lnTo>
                  <a:lnTo>
                    <a:pt x="209" y="42"/>
                  </a:lnTo>
                  <a:lnTo>
                    <a:pt x="211" y="46"/>
                  </a:lnTo>
                  <a:lnTo>
                    <a:pt x="214" y="49"/>
                  </a:lnTo>
                  <a:lnTo>
                    <a:pt x="218" y="46"/>
                  </a:lnTo>
                  <a:lnTo>
                    <a:pt x="222" y="47"/>
                  </a:lnTo>
                  <a:lnTo>
                    <a:pt x="230" y="45"/>
                  </a:lnTo>
                  <a:lnTo>
                    <a:pt x="235" y="45"/>
                  </a:lnTo>
                  <a:lnTo>
                    <a:pt x="239" y="47"/>
                  </a:lnTo>
                  <a:lnTo>
                    <a:pt x="242" y="50"/>
                  </a:lnTo>
                  <a:lnTo>
                    <a:pt x="246" y="49"/>
                  </a:lnTo>
                  <a:lnTo>
                    <a:pt x="248" y="46"/>
                  </a:lnTo>
                  <a:lnTo>
                    <a:pt x="247" y="37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50" y="24"/>
                  </a:lnTo>
                  <a:lnTo>
                    <a:pt x="259" y="14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71" y="10"/>
                  </a:lnTo>
                  <a:lnTo>
                    <a:pt x="282" y="10"/>
                  </a:lnTo>
                  <a:lnTo>
                    <a:pt x="285" y="12"/>
                  </a:lnTo>
                  <a:lnTo>
                    <a:pt x="289" y="14"/>
                  </a:lnTo>
                  <a:lnTo>
                    <a:pt x="293" y="12"/>
                  </a:lnTo>
                  <a:lnTo>
                    <a:pt x="295" y="9"/>
                  </a:lnTo>
                  <a:lnTo>
                    <a:pt x="296" y="4"/>
                  </a:lnTo>
                  <a:lnTo>
                    <a:pt x="300" y="2"/>
                  </a:lnTo>
                  <a:lnTo>
                    <a:pt x="309" y="4"/>
                  </a:lnTo>
                  <a:lnTo>
                    <a:pt x="313" y="4"/>
                  </a:lnTo>
                  <a:lnTo>
                    <a:pt x="322" y="1"/>
                  </a:lnTo>
                  <a:lnTo>
                    <a:pt x="330" y="2"/>
                  </a:lnTo>
                  <a:lnTo>
                    <a:pt x="338" y="0"/>
                  </a:lnTo>
                  <a:lnTo>
                    <a:pt x="345" y="6"/>
                  </a:lnTo>
                  <a:lnTo>
                    <a:pt x="347" y="9"/>
                  </a:lnTo>
                  <a:lnTo>
                    <a:pt x="347" y="14"/>
                  </a:lnTo>
                  <a:lnTo>
                    <a:pt x="353" y="19"/>
                  </a:lnTo>
                  <a:lnTo>
                    <a:pt x="356" y="23"/>
                  </a:lnTo>
                  <a:lnTo>
                    <a:pt x="356" y="28"/>
                  </a:lnTo>
                  <a:lnTo>
                    <a:pt x="352" y="30"/>
                  </a:lnTo>
                  <a:lnTo>
                    <a:pt x="348" y="31"/>
                  </a:lnTo>
                  <a:lnTo>
                    <a:pt x="349" y="34"/>
                  </a:lnTo>
                  <a:lnTo>
                    <a:pt x="349" y="38"/>
                  </a:lnTo>
                  <a:lnTo>
                    <a:pt x="352" y="46"/>
                  </a:lnTo>
                  <a:lnTo>
                    <a:pt x="355" y="49"/>
                  </a:lnTo>
                  <a:lnTo>
                    <a:pt x="359" y="51"/>
                  </a:lnTo>
                  <a:lnTo>
                    <a:pt x="368" y="53"/>
                  </a:lnTo>
                  <a:lnTo>
                    <a:pt x="372" y="51"/>
                  </a:lnTo>
                  <a:lnTo>
                    <a:pt x="376" y="51"/>
                  </a:lnTo>
                  <a:lnTo>
                    <a:pt x="377" y="55"/>
                  </a:lnTo>
                  <a:lnTo>
                    <a:pt x="383" y="61"/>
                  </a:lnTo>
                  <a:lnTo>
                    <a:pt x="387" y="76"/>
                  </a:lnTo>
                  <a:lnTo>
                    <a:pt x="385" y="80"/>
                  </a:lnTo>
                  <a:lnTo>
                    <a:pt x="387" y="84"/>
                  </a:lnTo>
                  <a:lnTo>
                    <a:pt x="390" y="87"/>
                  </a:lnTo>
                  <a:lnTo>
                    <a:pt x="394" y="89"/>
                  </a:lnTo>
                  <a:lnTo>
                    <a:pt x="398" y="87"/>
                  </a:lnTo>
                  <a:lnTo>
                    <a:pt x="402" y="86"/>
                  </a:lnTo>
                  <a:lnTo>
                    <a:pt x="406" y="87"/>
                  </a:lnTo>
                  <a:lnTo>
                    <a:pt x="412" y="93"/>
                  </a:lnTo>
                  <a:lnTo>
                    <a:pt x="417" y="91"/>
                  </a:lnTo>
                  <a:lnTo>
                    <a:pt x="420" y="93"/>
                  </a:lnTo>
                  <a:lnTo>
                    <a:pt x="433" y="89"/>
                  </a:lnTo>
                  <a:lnTo>
                    <a:pt x="441" y="85"/>
                  </a:lnTo>
                  <a:lnTo>
                    <a:pt x="445" y="87"/>
                  </a:lnTo>
                  <a:lnTo>
                    <a:pt x="448" y="90"/>
                  </a:lnTo>
                  <a:lnTo>
                    <a:pt x="453" y="102"/>
                  </a:lnTo>
                  <a:lnTo>
                    <a:pt x="459" y="108"/>
                  </a:lnTo>
                  <a:lnTo>
                    <a:pt x="463" y="108"/>
                  </a:lnTo>
                  <a:lnTo>
                    <a:pt x="465" y="104"/>
                  </a:lnTo>
                  <a:lnTo>
                    <a:pt x="469" y="104"/>
                  </a:lnTo>
                  <a:lnTo>
                    <a:pt x="472" y="108"/>
                  </a:lnTo>
                  <a:lnTo>
                    <a:pt x="476" y="108"/>
                  </a:lnTo>
                  <a:lnTo>
                    <a:pt x="480" y="110"/>
                  </a:lnTo>
                  <a:lnTo>
                    <a:pt x="483" y="113"/>
                  </a:lnTo>
                  <a:lnTo>
                    <a:pt x="492" y="113"/>
                  </a:lnTo>
                  <a:lnTo>
                    <a:pt x="498" y="117"/>
                  </a:lnTo>
                  <a:lnTo>
                    <a:pt x="502" y="117"/>
                  </a:lnTo>
                  <a:lnTo>
                    <a:pt x="509" y="123"/>
                  </a:lnTo>
                  <a:lnTo>
                    <a:pt x="513" y="124"/>
                  </a:lnTo>
                  <a:lnTo>
                    <a:pt x="518" y="123"/>
                  </a:lnTo>
                  <a:lnTo>
                    <a:pt x="521" y="126"/>
                  </a:lnTo>
                  <a:lnTo>
                    <a:pt x="517" y="128"/>
                  </a:lnTo>
                  <a:lnTo>
                    <a:pt x="521" y="140"/>
                  </a:lnTo>
                  <a:lnTo>
                    <a:pt x="517" y="148"/>
                  </a:lnTo>
                  <a:lnTo>
                    <a:pt x="509" y="150"/>
                  </a:lnTo>
                  <a:lnTo>
                    <a:pt x="511" y="153"/>
                  </a:lnTo>
                  <a:lnTo>
                    <a:pt x="516" y="154"/>
                  </a:lnTo>
                  <a:lnTo>
                    <a:pt x="518" y="157"/>
                  </a:lnTo>
                  <a:lnTo>
                    <a:pt x="510" y="159"/>
                  </a:lnTo>
                  <a:lnTo>
                    <a:pt x="508" y="163"/>
                  </a:lnTo>
                  <a:lnTo>
                    <a:pt x="508" y="167"/>
                  </a:lnTo>
                  <a:lnTo>
                    <a:pt x="510" y="171"/>
                  </a:lnTo>
                  <a:lnTo>
                    <a:pt x="512" y="175"/>
                  </a:lnTo>
                  <a:lnTo>
                    <a:pt x="511" y="179"/>
                  </a:lnTo>
                  <a:lnTo>
                    <a:pt x="514" y="181"/>
                  </a:lnTo>
                  <a:lnTo>
                    <a:pt x="512" y="189"/>
                  </a:lnTo>
                  <a:lnTo>
                    <a:pt x="509" y="202"/>
                  </a:lnTo>
                  <a:lnTo>
                    <a:pt x="505" y="203"/>
                  </a:lnTo>
                  <a:lnTo>
                    <a:pt x="497" y="201"/>
                  </a:lnTo>
                  <a:lnTo>
                    <a:pt x="493" y="202"/>
                  </a:lnTo>
                  <a:lnTo>
                    <a:pt x="485" y="198"/>
                  </a:lnTo>
                  <a:lnTo>
                    <a:pt x="482" y="201"/>
                  </a:lnTo>
                  <a:lnTo>
                    <a:pt x="477" y="208"/>
                  </a:lnTo>
                  <a:lnTo>
                    <a:pt x="469" y="211"/>
                  </a:lnTo>
                  <a:lnTo>
                    <a:pt x="466" y="219"/>
                  </a:lnTo>
                  <a:lnTo>
                    <a:pt x="466" y="223"/>
                  </a:lnTo>
                  <a:lnTo>
                    <a:pt x="466" y="231"/>
                  </a:lnTo>
                  <a:lnTo>
                    <a:pt x="454" y="232"/>
                  </a:lnTo>
                  <a:lnTo>
                    <a:pt x="447" y="234"/>
                  </a:lnTo>
                  <a:lnTo>
                    <a:pt x="442" y="239"/>
                  </a:lnTo>
                  <a:lnTo>
                    <a:pt x="438" y="239"/>
                  </a:lnTo>
                  <a:lnTo>
                    <a:pt x="428" y="243"/>
                  </a:lnTo>
                  <a:lnTo>
                    <a:pt x="427" y="249"/>
                  </a:lnTo>
                  <a:lnTo>
                    <a:pt x="420" y="246"/>
                  </a:lnTo>
                  <a:lnTo>
                    <a:pt x="409" y="251"/>
                  </a:lnTo>
                  <a:lnTo>
                    <a:pt x="407" y="254"/>
                  </a:lnTo>
                  <a:lnTo>
                    <a:pt x="406" y="251"/>
                  </a:lnTo>
                  <a:lnTo>
                    <a:pt x="401" y="253"/>
                  </a:lnTo>
                  <a:lnTo>
                    <a:pt x="397" y="253"/>
                  </a:lnTo>
                  <a:lnTo>
                    <a:pt x="388" y="261"/>
                  </a:lnTo>
                  <a:lnTo>
                    <a:pt x="386" y="261"/>
                  </a:lnTo>
                  <a:lnTo>
                    <a:pt x="383" y="267"/>
                  </a:lnTo>
                  <a:lnTo>
                    <a:pt x="380" y="272"/>
                  </a:lnTo>
                  <a:lnTo>
                    <a:pt x="376" y="274"/>
                  </a:lnTo>
                  <a:lnTo>
                    <a:pt x="377" y="272"/>
                  </a:lnTo>
                  <a:lnTo>
                    <a:pt x="380" y="270"/>
                  </a:lnTo>
                  <a:lnTo>
                    <a:pt x="383" y="267"/>
                  </a:lnTo>
                  <a:lnTo>
                    <a:pt x="380" y="260"/>
                  </a:lnTo>
                  <a:lnTo>
                    <a:pt x="378" y="260"/>
                  </a:lnTo>
                  <a:lnTo>
                    <a:pt x="375" y="267"/>
                  </a:lnTo>
                  <a:lnTo>
                    <a:pt x="370" y="272"/>
                  </a:lnTo>
                  <a:lnTo>
                    <a:pt x="372" y="280"/>
                  </a:lnTo>
                  <a:lnTo>
                    <a:pt x="372" y="285"/>
                  </a:lnTo>
                  <a:lnTo>
                    <a:pt x="369" y="285"/>
                  </a:lnTo>
                  <a:lnTo>
                    <a:pt x="369" y="283"/>
                  </a:lnTo>
                  <a:lnTo>
                    <a:pt x="366" y="277"/>
                  </a:lnTo>
                  <a:lnTo>
                    <a:pt x="367" y="275"/>
                  </a:lnTo>
                  <a:lnTo>
                    <a:pt x="366" y="273"/>
                  </a:lnTo>
                  <a:lnTo>
                    <a:pt x="362" y="275"/>
                  </a:lnTo>
                  <a:lnTo>
                    <a:pt x="360" y="279"/>
                  </a:lnTo>
                  <a:lnTo>
                    <a:pt x="359" y="278"/>
                  </a:lnTo>
                  <a:lnTo>
                    <a:pt x="360" y="275"/>
                  </a:lnTo>
                  <a:lnTo>
                    <a:pt x="359" y="273"/>
                  </a:lnTo>
                  <a:lnTo>
                    <a:pt x="352" y="273"/>
                  </a:lnTo>
                  <a:lnTo>
                    <a:pt x="351" y="272"/>
                  </a:lnTo>
                  <a:lnTo>
                    <a:pt x="351" y="267"/>
                  </a:lnTo>
                  <a:lnTo>
                    <a:pt x="349" y="265"/>
                  </a:lnTo>
                  <a:lnTo>
                    <a:pt x="348" y="272"/>
                  </a:lnTo>
                  <a:lnTo>
                    <a:pt x="347" y="272"/>
                  </a:lnTo>
                  <a:lnTo>
                    <a:pt x="337" y="270"/>
                  </a:lnTo>
                  <a:lnTo>
                    <a:pt x="340" y="272"/>
                  </a:lnTo>
                  <a:lnTo>
                    <a:pt x="342" y="275"/>
                  </a:lnTo>
                  <a:lnTo>
                    <a:pt x="345" y="274"/>
                  </a:lnTo>
                  <a:lnTo>
                    <a:pt x="346" y="275"/>
                  </a:lnTo>
                  <a:lnTo>
                    <a:pt x="347" y="278"/>
                  </a:lnTo>
                  <a:lnTo>
                    <a:pt x="348" y="281"/>
                  </a:lnTo>
                  <a:lnTo>
                    <a:pt x="349" y="283"/>
                  </a:lnTo>
                  <a:lnTo>
                    <a:pt x="351" y="282"/>
                  </a:lnTo>
                  <a:lnTo>
                    <a:pt x="351" y="278"/>
                  </a:lnTo>
                  <a:lnTo>
                    <a:pt x="356" y="280"/>
                  </a:lnTo>
                  <a:lnTo>
                    <a:pt x="359" y="281"/>
                  </a:lnTo>
                  <a:lnTo>
                    <a:pt x="362" y="281"/>
                  </a:lnTo>
                  <a:lnTo>
                    <a:pt x="359" y="288"/>
                  </a:lnTo>
                  <a:lnTo>
                    <a:pt x="361" y="289"/>
                  </a:lnTo>
                  <a:lnTo>
                    <a:pt x="364" y="287"/>
                  </a:lnTo>
                  <a:lnTo>
                    <a:pt x="365" y="288"/>
                  </a:lnTo>
                  <a:lnTo>
                    <a:pt x="364" y="292"/>
                  </a:lnTo>
                  <a:lnTo>
                    <a:pt x="371" y="292"/>
                  </a:lnTo>
                  <a:lnTo>
                    <a:pt x="374" y="296"/>
                  </a:lnTo>
                  <a:lnTo>
                    <a:pt x="374" y="302"/>
                  </a:lnTo>
                  <a:lnTo>
                    <a:pt x="376" y="307"/>
                  </a:lnTo>
                  <a:lnTo>
                    <a:pt x="377" y="305"/>
                  </a:lnTo>
                  <a:lnTo>
                    <a:pt x="387" y="307"/>
                  </a:lnTo>
                  <a:lnTo>
                    <a:pt x="387" y="304"/>
                  </a:lnTo>
                  <a:lnTo>
                    <a:pt x="393" y="308"/>
                  </a:lnTo>
                  <a:lnTo>
                    <a:pt x="399" y="301"/>
                  </a:lnTo>
                  <a:lnTo>
                    <a:pt x="401" y="301"/>
                  </a:lnTo>
                  <a:lnTo>
                    <a:pt x="403" y="304"/>
                  </a:lnTo>
                  <a:lnTo>
                    <a:pt x="407" y="302"/>
                  </a:lnTo>
                  <a:lnTo>
                    <a:pt x="414" y="300"/>
                  </a:lnTo>
                  <a:lnTo>
                    <a:pt x="420" y="301"/>
                  </a:lnTo>
                  <a:lnTo>
                    <a:pt x="419" y="305"/>
                  </a:lnTo>
                  <a:lnTo>
                    <a:pt x="417" y="307"/>
                  </a:lnTo>
                  <a:lnTo>
                    <a:pt x="416" y="311"/>
                  </a:lnTo>
                  <a:lnTo>
                    <a:pt x="416" y="317"/>
                  </a:lnTo>
                  <a:lnTo>
                    <a:pt x="406" y="317"/>
                  </a:lnTo>
                  <a:lnTo>
                    <a:pt x="405" y="319"/>
                  </a:lnTo>
                  <a:lnTo>
                    <a:pt x="388" y="314"/>
                  </a:lnTo>
                  <a:lnTo>
                    <a:pt x="378" y="323"/>
                  </a:lnTo>
                  <a:lnTo>
                    <a:pt x="374" y="328"/>
                  </a:lnTo>
                  <a:lnTo>
                    <a:pt x="368" y="327"/>
                  </a:lnTo>
                  <a:lnTo>
                    <a:pt x="360" y="329"/>
                  </a:lnTo>
                  <a:lnTo>
                    <a:pt x="363" y="330"/>
                  </a:lnTo>
                  <a:lnTo>
                    <a:pt x="360" y="331"/>
                  </a:lnTo>
                  <a:lnTo>
                    <a:pt x="357" y="335"/>
                  </a:lnTo>
                  <a:lnTo>
                    <a:pt x="356" y="337"/>
                  </a:lnTo>
                  <a:lnTo>
                    <a:pt x="355" y="339"/>
                  </a:lnTo>
                  <a:lnTo>
                    <a:pt x="351" y="339"/>
                  </a:lnTo>
                  <a:lnTo>
                    <a:pt x="345" y="343"/>
                  </a:lnTo>
                  <a:lnTo>
                    <a:pt x="337" y="343"/>
                  </a:lnTo>
                  <a:lnTo>
                    <a:pt x="335" y="342"/>
                  </a:lnTo>
                  <a:lnTo>
                    <a:pt x="329" y="337"/>
                  </a:lnTo>
                  <a:lnTo>
                    <a:pt x="331" y="333"/>
                  </a:lnTo>
                  <a:lnTo>
                    <a:pt x="331" y="328"/>
                  </a:lnTo>
                  <a:lnTo>
                    <a:pt x="332" y="324"/>
                  </a:lnTo>
                  <a:lnTo>
                    <a:pt x="332" y="319"/>
                  </a:lnTo>
                  <a:lnTo>
                    <a:pt x="329" y="313"/>
                  </a:lnTo>
                  <a:lnTo>
                    <a:pt x="325" y="312"/>
                  </a:lnTo>
                  <a:lnTo>
                    <a:pt x="322" y="313"/>
                  </a:lnTo>
                  <a:lnTo>
                    <a:pt x="318" y="308"/>
                  </a:lnTo>
                  <a:lnTo>
                    <a:pt x="312" y="305"/>
                  </a:lnTo>
                  <a:lnTo>
                    <a:pt x="303" y="305"/>
                  </a:lnTo>
                  <a:lnTo>
                    <a:pt x="303" y="303"/>
                  </a:lnTo>
                  <a:lnTo>
                    <a:pt x="305" y="300"/>
                  </a:lnTo>
                  <a:lnTo>
                    <a:pt x="310" y="297"/>
                  </a:lnTo>
                  <a:lnTo>
                    <a:pt x="317" y="291"/>
                  </a:lnTo>
                  <a:lnTo>
                    <a:pt x="321" y="287"/>
                  </a:lnTo>
                  <a:lnTo>
                    <a:pt x="336" y="283"/>
                  </a:lnTo>
                  <a:lnTo>
                    <a:pt x="338" y="281"/>
                  </a:lnTo>
                  <a:lnTo>
                    <a:pt x="336" y="280"/>
                  </a:lnTo>
                  <a:lnTo>
                    <a:pt x="336" y="276"/>
                  </a:lnTo>
                  <a:lnTo>
                    <a:pt x="332" y="273"/>
                  </a:lnTo>
                  <a:lnTo>
                    <a:pt x="329" y="276"/>
                  </a:lnTo>
                  <a:lnTo>
                    <a:pt x="324" y="273"/>
                  </a:lnTo>
                  <a:lnTo>
                    <a:pt x="324" y="271"/>
                  </a:lnTo>
                  <a:lnTo>
                    <a:pt x="319" y="272"/>
                  </a:lnTo>
                  <a:lnTo>
                    <a:pt x="319" y="274"/>
                  </a:lnTo>
                  <a:lnTo>
                    <a:pt x="315" y="274"/>
                  </a:lnTo>
                  <a:lnTo>
                    <a:pt x="303" y="277"/>
                  </a:lnTo>
                  <a:lnTo>
                    <a:pt x="295" y="274"/>
                  </a:lnTo>
                  <a:lnTo>
                    <a:pt x="292" y="270"/>
                  </a:lnTo>
                  <a:lnTo>
                    <a:pt x="289" y="269"/>
                  </a:lnTo>
                  <a:lnTo>
                    <a:pt x="282" y="270"/>
                  </a:lnTo>
                  <a:lnTo>
                    <a:pt x="282" y="268"/>
                  </a:lnTo>
                  <a:lnTo>
                    <a:pt x="289" y="263"/>
                  </a:lnTo>
                  <a:lnTo>
                    <a:pt x="288" y="261"/>
                  </a:lnTo>
                  <a:lnTo>
                    <a:pt x="280" y="260"/>
                  </a:lnTo>
                  <a:lnTo>
                    <a:pt x="277" y="259"/>
                  </a:lnTo>
                  <a:lnTo>
                    <a:pt x="281" y="257"/>
                  </a:lnTo>
                  <a:lnTo>
                    <a:pt x="294" y="259"/>
                  </a:lnTo>
                  <a:lnTo>
                    <a:pt x="295" y="258"/>
                  </a:lnTo>
                  <a:lnTo>
                    <a:pt x="294" y="257"/>
                  </a:lnTo>
                  <a:lnTo>
                    <a:pt x="291" y="256"/>
                  </a:lnTo>
                  <a:lnTo>
                    <a:pt x="287" y="251"/>
                  </a:lnTo>
                  <a:lnTo>
                    <a:pt x="285" y="246"/>
                  </a:lnTo>
                  <a:lnTo>
                    <a:pt x="283" y="250"/>
                  </a:lnTo>
                  <a:lnTo>
                    <a:pt x="279" y="252"/>
                  </a:lnTo>
                  <a:lnTo>
                    <a:pt x="275" y="253"/>
                  </a:lnTo>
                  <a:lnTo>
                    <a:pt x="276" y="248"/>
                  </a:lnTo>
                  <a:lnTo>
                    <a:pt x="272" y="250"/>
                  </a:lnTo>
                  <a:lnTo>
                    <a:pt x="266" y="254"/>
                  </a:lnTo>
                  <a:lnTo>
                    <a:pt x="258" y="255"/>
                  </a:lnTo>
                  <a:lnTo>
                    <a:pt x="254" y="257"/>
                  </a:lnTo>
                  <a:lnTo>
                    <a:pt x="250" y="258"/>
                  </a:lnTo>
                  <a:lnTo>
                    <a:pt x="250" y="262"/>
                  </a:lnTo>
                  <a:lnTo>
                    <a:pt x="244" y="272"/>
                  </a:lnTo>
                  <a:lnTo>
                    <a:pt x="242" y="271"/>
                  </a:lnTo>
                  <a:lnTo>
                    <a:pt x="240" y="267"/>
                  </a:lnTo>
                  <a:lnTo>
                    <a:pt x="235" y="266"/>
                  </a:lnTo>
                  <a:lnTo>
                    <a:pt x="234" y="264"/>
                  </a:lnTo>
                  <a:lnTo>
                    <a:pt x="235" y="267"/>
                  </a:lnTo>
                  <a:lnTo>
                    <a:pt x="240" y="271"/>
                  </a:lnTo>
                  <a:lnTo>
                    <a:pt x="241" y="277"/>
                  </a:lnTo>
                  <a:lnTo>
                    <a:pt x="238" y="283"/>
                  </a:lnTo>
                  <a:lnTo>
                    <a:pt x="235" y="286"/>
                  </a:lnTo>
                  <a:lnTo>
                    <a:pt x="228" y="286"/>
                  </a:lnTo>
                  <a:lnTo>
                    <a:pt x="226" y="288"/>
                  </a:lnTo>
                  <a:lnTo>
                    <a:pt x="223" y="290"/>
                  </a:lnTo>
                  <a:lnTo>
                    <a:pt x="223" y="294"/>
                  </a:lnTo>
                  <a:lnTo>
                    <a:pt x="220" y="292"/>
                  </a:lnTo>
                  <a:lnTo>
                    <a:pt x="220" y="287"/>
                  </a:lnTo>
                  <a:lnTo>
                    <a:pt x="219" y="285"/>
                  </a:lnTo>
                  <a:lnTo>
                    <a:pt x="219" y="295"/>
                  </a:lnTo>
                  <a:lnTo>
                    <a:pt x="220" y="303"/>
                  </a:lnTo>
                  <a:lnTo>
                    <a:pt x="218" y="304"/>
                  </a:lnTo>
                  <a:lnTo>
                    <a:pt x="215" y="302"/>
                  </a:lnTo>
                  <a:lnTo>
                    <a:pt x="211" y="302"/>
                  </a:lnTo>
                  <a:lnTo>
                    <a:pt x="206" y="304"/>
                  </a:lnTo>
                  <a:lnTo>
                    <a:pt x="198" y="305"/>
                  </a:lnTo>
                  <a:lnTo>
                    <a:pt x="193" y="309"/>
                  </a:lnTo>
                  <a:lnTo>
                    <a:pt x="187" y="309"/>
                  </a:lnTo>
                  <a:lnTo>
                    <a:pt x="180" y="300"/>
                  </a:lnTo>
                  <a:lnTo>
                    <a:pt x="176" y="301"/>
                  </a:lnTo>
                  <a:lnTo>
                    <a:pt x="176" y="299"/>
                  </a:lnTo>
                  <a:lnTo>
                    <a:pt x="181" y="299"/>
                  </a:lnTo>
                  <a:lnTo>
                    <a:pt x="184" y="296"/>
                  </a:lnTo>
                  <a:lnTo>
                    <a:pt x="184" y="292"/>
                  </a:lnTo>
                  <a:lnTo>
                    <a:pt x="186" y="288"/>
                  </a:lnTo>
                  <a:lnTo>
                    <a:pt x="190" y="286"/>
                  </a:lnTo>
                  <a:lnTo>
                    <a:pt x="191" y="282"/>
                  </a:lnTo>
                  <a:lnTo>
                    <a:pt x="193" y="279"/>
                  </a:lnTo>
                  <a:lnTo>
                    <a:pt x="197" y="277"/>
                  </a:lnTo>
                  <a:lnTo>
                    <a:pt x="199" y="264"/>
                  </a:lnTo>
                  <a:lnTo>
                    <a:pt x="201" y="260"/>
                  </a:lnTo>
                  <a:lnTo>
                    <a:pt x="205" y="258"/>
                  </a:lnTo>
                  <a:lnTo>
                    <a:pt x="207" y="262"/>
                  </a:lnTo>
                  <a:lnTo>
                    <a:pt x="211" y="260"/>
                  </a:lnTo>
                  <a:lnTo>
                    <a:pt x="223" y="263"/>
                  </a:lnTo>
                  <a:lnTo>
                    <a:pt x="226" y="261"/>
                  </a:lnTo>
                  <a:lnTo>
                    <a:pt x="228" y="257"/>
                  </a:lnTo>
                  <a:lnTo>
                    <a:pt x="226" y="252"/>
                  </a:lnTo>
                  <a:lnTo>
                    <a:pt x="227" y="248"/>
                  </a:lnTo>
                  <a:lnTo>
                    <a:pt x="226" y="245"/>
                  </a:lnTo>
                  <a:lnTo>
                    <a:pt x="225" y="241"/>
                  </a:lnTo>
                  <a:lnTo>
                    <a:pt x="217" y="237"/>
                  </a:lnTo>
                  <a:lnTo>
                    <a:pt x="213" y="229"/>
                  </a:lnTo>
                  <a:lnTo>
                    <a:pt x="214" y="225"/>
                  </a:lnTo>
                  <a:lnTo>
                    <a:pt x="213" y="221"/>
                  </a:lnTo>
                  <a:lnTo>
                    <a:pt x="209" y="220"/>
                  </a:lnTo>
                  <a:lnTo>
                    <a:pt x="207" y="217"/>
                  </a:lnTo>
                  <a:lnTo>
                    <a:pt x="203" y="214"/>
                  </a:lnTo>
                  <a:lnTo>
                    <a:pt x="205" y="205"/>
                  </a:lnTo>
                  <a:lnTo>
                    <a:pt x="205" y="201"/>
                  </a:lnTo>
                  <a:lnTo>
                    <a:pt x="205" y="197"/>
                  </a:lnTo>
                  <a:lnTo>
                    <a:pt x="203" y="193"/>
                  </a:lnTo>
                  <a:lnTo>
                    <a:pt x="199" y="194"/>
                  </a:lnTo>
                  <a:lnTo>
                    <a:pt x="193" y="188"/>
                  </a:lnTo>
                  <a:lnTo>
                    <a:pt x="188" y="187"/>
                  </a:lnTo>
                  <a:lnTo>
                    <a:pt x="180" y="189"/>
                  </a:lnTo>
                  <a:lnTo>
                    <a:pt x="176" y="187"/>
                  </a:lnTo>
                  <a:lnTo>
                    <a:pt x="166" y="179"/>
                  </a:lnTo>
                  <a:lnTo>
                    <a:pt x="162" y="177"/>
                  </a:lnTo>
                  <a:lnTo>
                    <a:pt x="154" y="174"/>
                  </a:lnTo>
                  <a:lnTo>
                    <a:pt x="145" y="177"/>
                  </a:lnTo>
                  <a:lnTo>
                    <a:pt x="141" y="178"/>
                  </a:lnTo>
                  <a:lnTo>
                    <a:pt x="137" y="177"/>
                  </a:lnTo>
                  <a:lnTo>
                    <a:pt x="133" y="179"/>
                  </a:lnTo>
                  <a:lnTo>
                    <a:pt x="130" y="185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35" name="Group 126"/>
          <p:cNvGrpSpPr>
            <a:grpSpLocks/>
          </p:cNvGrpSpPr>
          <p:nvPr/>
        </p:nvGrpSpPr>
        <p:grpSpPr bwMode="auto">
          <a:xfrm>
            <a:off x="4597400" y="4225925"/>
            <a:ext cx="314325" cy="184150"/>
            <a:chOff x="2138" y="2662"/>
            <a:chExt cx="198" cy="116"/>
          </a:xfrm>
        </p:grpSpPr>
        <p:sp>
          <p:nvSpPr>
            <p:cNvPr id="34394" name="Freeform 124"/>
            <p:cNvSpPr>
              <a:spLocks/>
            </p:cNvSpPr>
            <p:nvPr/>
          </p:nvSpPr>
          <p:spPr bwMode="auto">
            <a:xfrm>
              <a:off x="2138" y="2662"/>
              <a:ext cx="198" cy="116"/>
            </a:xfrm>
            <a:custGeom>
              <a:avLst/>
              <a:gdLst>
                <a:gd name="T0" fmla="*/ 194 w 198"/>
                <a:gd name="T1" fmla="*/ 75 h 116"/>
                <a:gd name="T2" fmla="*/ 186 w 198"/>
                <a:gd name="T3" fmla="*/ 78 h 116"/>
                <a:gd name="T4" fmla="*/ 178 w 198"/>
                <a:gd name="T5" fmla="*/ 84 h 116"/>
                <a:gd name="T6" fmla="*/ 177 w 198"/>
                <a:gd name="T7" fmla="*/ 92 h 116"/>
                <a:gd name="T8" fmla="*/ 169 w 198"/>
                <a:gd name="T9" fmla="*/ 98 h 116"/>
                <a:gd name="T10" fmla="*/ 163 w 198"/>
                <a:gd name="T11" fmla="*/ 107 h 116"/>
                <a:gd name="T12" fmla="*/ 152 w 198"/>
                <a:gd name="T13" fmla="*/ 105 h 116"/>
                <a:gd name="T14" fmla="*/ 145 w 198"/>
                <a:gd name="T15" fmla="*/ 110 h 116"/>
                <a:gd name="T16" fmla="*/ 142 w 198"/>
                <a:gd name="T17" fmla="*/ 109 h 116"/>
                <a:gd name="T18" fmla="*/ 119 w 198"/>
                <a:gd name="T19" fmla="*/ 105 h 116"/>
                <a:gd name="T20" fmla="*/ 107 w 198"/>
                <a:gd name="T21" fmla="*/ 96 h 116"/>
                <a:gd name="T22" fmla="*/ 86 w 198"/>
                <a:gd name="T23" fmla="*/ 101 h 116"/>
                <a:gd name="T24" fmla="*/ 80 w 198"/>
                <a:gd name="T25" fmla="*/ 110 h 116"/>
                <a:gd name="T26" fmla="*/ 69 w 198"/>
                <a:gd name="T27" fmla="*/ 112 h 116"/>
                <a:gd name="T28" fmla="*/ 59 w 198"/>
                <a:gd name="T29" fmla="*/ 109 h 116"/>
                <a:gd name="T30" fmla="*/ 50 w 198"/>
                <a:gd name="T31" fmla="*/ 103 h 116"/>
                <a:gd name="T32" fmla="*/ 32 w 198"/>
                <a:gd name="T33" fmla="*/ 86 h 116"/>
                <a:gd name="T34" fmla="*/ 12 w 198"/>
                <a:gd name="T35" fmla="*/ 67 h 116"/>
                <a:gd name="T36" fmla="*/ 11 w 198"/>
                <a:gd name="T37" fmla="*/ 51 h 116"/>
                <a:gd name="T38" fmla="*/ 0 w 198"/>
                <a:gd name="T39" fmla="*/ 43 h 116"/>
                <a:gd name="T40" fmla="*/ 1 w 198"/>
                <a:gd name="T41" fmla="*/ 36 h 116"/>
                <a:gd name="T42" fmla="*/ 10 w 198"/>
                <a:gd name="T43" fmla="*/ 43 h 116"/>
                <a:gd name="T44" fmla="*/ 21 w 198"/>
                <a:gd name="T45" fmla="*/ 32 h 116"/>
                <a:gd name="T46" fmla="*/ 39 w 198"/>
                <a:gd name="T47" fmla="*/ 25 h 116"/>
                <a:gd name="T48" fmla="*/ 62 w 198"/>
                <a:gd name="T49" fmla="*/ 12 h 116"/>
                <a:gd name="T50" fmla="*/ 69 w 198"/>
                <a:gd name="T51" fmla="*/ 1 h 116"/>
                <a:gd name="T52" fmla="*/ 77 w 198"/>
                <a:gd name="T53" fmla="*/ 12 h 116"/>
                <a:gd name="T54" fmla="*/ 83 w 198"/>
                <a:gd name="T55" fmla="*/ 15 h 116"/>
                <a:gd name="T56" fmla="*/ 97 w 198"/>
                <a:gd name="T57" fmla="*/ 9 h 116"/>
                <a:gd name="T58" fmla="*/ 103 w 198"/>
                <a:gd name="T59" fmla="*/ 14 h 116"/>
                <a:gd name="T60" fmla="*/ 119 w 198"/>
                <a:gd name="T61" fmla="*/ 22 h 116"/>
                <a:gd name="T62" fmla="*/ 126 w 198"/>
                <a:gd name="T63" fmla="*/ 24 h 116"/>
                <a:gd name="T64" fmla="*/ 123 w 198"/>
                <a:gd name="T65" fmla="*/ 32 h 116"/>
                <a:gd name="T66" fmla="*/ 137 w 198"/>
                <a:gd name="T67" fmla="*/ 43 h 116"/>
                <a:gd name="T68" fmla="*/ 142 w 198"/>
                <a:gd name="T69" fmla="*/ 36 h 116"/>
                <a:gd name="T70" fmla="*/ 155 w 198"/>
                <a:gd name="T71" fmla="*/ 37 h 116"/>
                <a:gd name="T72" fmla="*/ 166 w 198"/>
                <a:gd name="T73" fmla="*/ 47 h 116"/>
                <a:gd name="T74" fmla="*/ 173 w 198"/>
                <a:gd name="T75" fmla="*/ 50 h 116"/>
                <a:gd name="T76" fmla="*/ 188 w 198"/>
                <a:gd name="T77" fmla="*/ 67 h 11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98"/>
                <a:gd name="T118" fmla="*/ 0 h 116"/>
                <a:gd name="T119" fmla="*/ 198 w 198"/>
                <a:gd name="T120" fmla="*/ 116 h 11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98" h="116">
                  <a:moveTo>
                    <a:pt x="198" y="71"/>
                  </a:moveTo>
                  <a:lnTo>
                    <a:pt x="194" y="75"/>
                  </a:lnTo>
                  <a:lnTo>
                    <a:pt x="188" y="74"/>
                  </a:lnTo>
                  <a:lnTo>
                    <a:pt x="186" y="78"/>
                  </a:lnTo>
                  <a:lnTo>
                    <a:pt x="183" y="82"/>
                  </a:lnTo>
                  <a:lnTo>
                    <a:pt x="178" y="84"/>
                  </a:lnTo>
                  <a:lnTo>
                    <a:pt x="177" y="86"/>
                  </a:lnTo>
                  <a:lnTo>
                    <a:pt x="177" y="92"/>
                  </a:lnTo>
                  <a:lnTo>
                    <a:pt x="174" y="97"/>
                  </a:lnTo>
                  <a:lnTo>
                    <a:pt x="169" y="98"/>
                  </a:lnTo>
                  <a:lnTo>
                    <a:pt x="169" y="101"/>
                  </a:lnTo>
                  <a:lnTo>
                    <a:pt x="163" y="107"/>
                  </a:lnTo>
                  <a:lnTo>
                    <a:pt x="155" y="108"/>
                  </a:lnTo>
                  <a:lnTo>
                    <a:pt x="152" y="105"/>
                  </a:lnTo>
                  <a:lnTo>
                    <a:pt x="148" y="105"/>
                  </a:lnTo>
                  <a:lnTo>
                    <a:pt x="145" y="110"/>
                  </a:lnTo>
                  <a:lnTo>
                    <a:pt x="142" y="116"/>
                  </a:lnTo>
                  <a:lnTo>
                    <a:pt x="142" y="109"/>
                  </a:lnTo>
                  <a:lnTo>
                    <a:pt x="138" y="104"/>
                  </a:lnTo>
                  <a:lnTo>
                    <a:pt x="119" y="105"/>
                  </a:lnTo>
                  <a:lnTo>
                    <a:pt x="112" y="98"/>
                  </a:lnTo>
                  <a:lnTo>
                    <a:pt x="107" y="96"/>
                  </a:lnTo>
                  <a:lnTo>
                    <a:pt x="89" y="95"/>
                  </a:lnTo>
                  <a:lnTo>
                    <a:pt x="86" y="101"/>
                  </a:lnTo>
                  <a:lnTo>
                    <a:pt x="85" y="105"/>
                  </a:lnTo>
                  <a:lnTo>
                    <a:pt x="80" y="110"/>
                  </a:lnTo>
                  <a:lnTo>
                    <a:pt x="75" y="112"/>
                  </a:lnTo>
                  <a:lnTo>
                    <a:pt x="69" y="112"/>
                  </a:lnTo>
                  <a:lnTo>
                    <a:pt x="63" y="112"/>
                  </a:lnTo>
                  <a:lnTo>
                    <a:pt x="59" y="109"/>
                  </a:lnTo>
                  <a:lnTo>
                    <a:pt x="53" y="106"/>
                  </a:lnTo>
                  <a:lnTo>
                    <a:pt x="50" y="103"/>
                  </a:lnTo>
                  <a:lnTo>
                    <a:pt x="37" y="92"/>
                  </a:lnTo>
                  <a:lnTo>
                    <a:pt x="32" y="86"/>
                  </a:lnTo>
                  <a:lnTo>
                    <a:pt x="17" y="74"/>
                  </a:lnTo>
                  <a:lnTo>
                    <a:pt x="12" y="67"/>
                  </a:lnTo>
                  <a:lnTo>
                    <a:pt x="12" y="57"/>
                  </a:lnTo>
                  <a:lnTo>
                    <a:pt x="11" y="51"/>
                  </a:lnTo>
                  <a:lnTo>
                    <a:pt x="4" y="48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6"/>
                  </a:lnTo>
                  <a:lnTo>
                    <a:pt x="9" y="43"/>
                  </a:lnTo>
                  <a:lnTo>
                    <a:pt x="10" y="43"/>
                  </a:lnTo>
                  <a:lnTo>
                    <a:pt x="13" y="36"/>
                  </a:lnTo>
                  <a:lnTo>
                    <a:pt x="21" y="32"/>
                  </a:lnTo>
                  <a:lnTo>
                    <a:pt x="30" y="29"/>
                  </a:lnTo>
                  <a:lnTo>
                    <a:pt x="39" y="25"/>
                  </a:lnTo>
                  <a:lnTo>
                    <a:pt x="42" y="19"/>
                  </a:lnTo>
                  <a:lnTo>
                    <a:pt x="62" y="12"/>
                  </a:lnTo>
                  <a:lnTo>
                    <a:pt x="64" y="0"/>
                  </a:lnTo>
                  <a:lnTo>
                    <a:pt x="69" y="1"/>
                  </a:lnTo>
                  <a:lnTo>
                    <a:pt x="73" y="8"/>
                  </a:lnTo>
                  <a:lnTo>
                    <a:pt x="77" y="12"/>
                  </a:lnTo>
                  <a:lnTo>
                    <a:pt x="80" y="12"/>
                  </a:lnTo>
                  <a:lnTo>
                    <a:pt x="83" y="15"/>
                  </a:lnTo>
                  <a:lnTo>
                    <a:pt x="91" y="7"/>
                  </a:lnTo>
                  <a:lnTo>
                    <a:pt x="97" y="9"/>
                  </a:lnTo>
                  <a:lnTo>
                    <a:pt x="99" y="14"/>
                  </a:lnTo>
                  <a:lnTo>
                    <a:pt x="103" y="14"/>
                  </a:lnTo>
                  <a:lnTo>
                    <a:pt x="114" y="16"/>
                  </a:lnTo>
                  <a:lnTo>
                    <a:pt x="119" y="22"/>
                  </a:lnTo>
                  <a:lnTo>
                    <a:pt x="125" y="24"/>
                  </a:lnTo>
                  <a:lnTo>
                    <a:pt x="126" y="24"/>
                  </a:lnTo>
                  <a:lnTo>
                    <a:pt x="126" y="26"/>
                  </a:lnTo>
                  <a:lnTo>
                    <a:pt x="123" y="32"/>
                  </a:lnTo>
                  <a:lnTo>
                    <a:pt x="134" y="41"/>
                  </a:lnTo>
                  <a:lnTo>
                    <a:pt x="137" y="43"/>
                  </a:lnTo>
                  <a:lnTo>
                    <a:pt x="143" y="39"/>
                  </a:lnTo>
                  <a:lnTo>
                    <a:pt x="142" y="36"/>
                  </a:lnTo>
                  <a:lnTo>
                    <a:pt x="142" y="32"/>
                  </a:lnTo>
                  <a:lnTo>
                    <a:pt x="155" y="37"/>
                  </a:lnTo>
                  <a:lnTo>
                    <a:pt x="166" y="38"/>
                  </a:lnTo>
                  <a:lnTo>
                    <a:pt x="166" y="47"/>
                  </a:lnTo>
                  <a:lnTo>
                    <a:pt x="171" y="50"/>
                  </a:lnTo>
                  <a:lnTo>
                    <a:pt x="173" y="50"/>
                  </a:lnTo>
                  <a:lnTo>
                    <a:pt x="178" y="52"/>
                  </a:lnTo>
                  <a:lnTo>
                    <a:pt x="188" y="67"/>
                  </a:lnTo>
                  <a:lnTo>
                    <a:pt x="198" y="7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95" name="Freeform 125"/>
            <p:cNvSpPr>
              <a:spLocks/>
            </p:cNvSpPr>
            <p:nvPr/>
          </p:nvSpPr>
          <p:spPr bwMode="auto">
            <a:xfrm>
              <a:off x="2138" y="2662"/>
              <a:ext cx="198" cy="116"/>
            </a:xfrm>
            <a:custGeom>
              <a:avLst/>
              <a:gdLst>
                <a:gd name="T0" fmla="*/ 194 w 198"/>
                <a:gd name="T1" fmla="*/ 75 h 116"/>
                <a:gd name="T2" fmla="*/ 186 w 198"/>
                <a:gd name="T3" fmla="*/ 78 h 116"/>
                <a:gd name="T4" fmla="*/ 178 w 198"/>
                <a:gd name="T5" fmla="*/ 84 h 116"/>
                <a:gd name="T6" fmla="*/ 177 w 198"/>
                <a:gd name="T7" fmla="*/ 92 h 116"/>
                <a:gd name="T8" fmla="*/ 169 w 198"/>
                <a:gd name="T9" fmla="*/ 98 h 116"/>
                <a:gd name="T10" fmla="*/ 163 w 198"/>
                <a:gd name="T11" fmla="*/ 107 h 116"/>
                <a:gd name="T12" fmla="*/ 152 w 198"/>
                <a:gd name="T13" fmla="*/ 105 h 116"/>
                <a:gd name="T14" fmla="*/ 145 w 198"/>
                <a:gd name="T15" fmla="*/ 110 h 116"/>
                <a:gd name="T16" fmla="*/ 142 w 198"/>
                <a:gd name="T17" fmla="*/ 109 h 116"/>
                <a:gd name="T18" fmla="*/ 119 w 198"/>
                <a:gd name="T19" fmla="*/ 105 h 116"/>
                <a:gd name="T20" fmla="*/ 107 w 198"/>
                <a:gd name="T21" fmla="*/ 96 h 116"/>
                <a:gd name="T22" fmla="*/ 86 w 198"/>
                <a:gd name="T23" fmla="*/ 101 h 116"/>
                <a:gd name="T24" fmla="*/ 80 w 198"/>
                <a:gd name="T25" fmla="*/ 110 h 116"/>
                <a:gd name="T26" fmla="*/ 69 w 198"/>
                <a:gd name="T27" fmla="*/ 112 h 116"/>
                <a:gd name="T28" fmla="*/ 59 w 198"/>
                <a:gd name="T29" fmla="*/ 109 h 116"/>
                <a:gd name="T30" fmla="*/ 50 w 198"/>
                <a:gd name="T31" fmla="*/ 103 h 116"/>
                <a:gd name="T32" fmla="*/ 32 w 198"/>
                <a:gd name="T33" fmla="*/ 86 h 116"/>
                <a:gd name="T34" fmla="*/ 12 w 198"/>
                <a:gd name="T35" fmla="*/ 67 h 116"/>
                <a:gd name="T36" fmla="*/ 11 w 198"/>
                <a:gd name="T37" fmla="*/ 51 h 116"/>
                <a:gd name="T38" fmla="*/ 0 w 198"/>
                <a:gd name="T39" fmla="*/ 43 h 116"/>
                <a:gd name="T40" fmla="*/ 1 w 198"/>
                <a:gd name="T41" fmla="*/ 36 h 116"/>
                <a:gd name="T42" fmla="*/ 10 w 198"/>
                <a:gd name="T43" fmla="*/ 43 h 116"/>
                <a:gd name="T44" fmla="*/ 21 w 198"/>
                <a:gd name="T45" fmla="*/ 32 h 116"/>
                <a:gd name="T46" fmla="*/ 39 w 198"/>
                <a:gd name="T47" fmla="*/ 25 h 116"/>
                <a:gd name="T48" fmla="*/ 62 w 198"/>
                <a:gd name="T49" fmla="*/ 12 h 116"/>
                <a:gd name="T50" fmla="*/ 69 w 198"/>
                <a:gd name="T51" fmla="*/ 1 h 116"/>
                <a:gd name="T52" fmla="*/ 77 w 198"/>
                <a:gd name="T53" fmla="*/ 12 h 116"/>
                <a:gd name="T54" fmla="*/ 83 w 198"/>
                <a:gd name="T55" fmla="*/ 15 h 116"/>
                <a:gd name="T56" fmla="*/ 97 w 198"/>
                <a:gd name="T57" fmla="*/ 9 h 116"/>
                <a:gd name="T58" fmla="*/ 103 w 198"/>
                <a:gd name="T59" fmla="*/ 14 h 116"/>
                <a:gd name="T60" fmla="*/ 119 w 198"/>
                <a:gd name="T61" fmla="*/ 22 h 116"/>
                <a:gd name="T62" fmla="*/ 126 w 198"/>
                <a:gd name="T63" fmla="*/ 24 h 116"/>
                <a:gd name="T64" fmla="*/ 123 w 198"/>
                <a:gd name="T65" fmla="*/ 32 h 116"/>
                <a:gd name="T66" fmla="*/ 137 w 198"/>
                <a:gd name="T67" fmla="*/ 43 h 116"/>
                <a:gd name="T68" fmla="*/ 142 w 198"/>
                <a:gd name="T69" fmla="*/ 36 h 116"/>
                <a:gd name="T70" fmla="*/ 155 w 198"/>
                <a:gd name="T71" fmla="*/ 37 h 116"/>
                <a:gd name="T72" fmla="*/ 166 w 198"/>
                <a:gd name="T73" fmla="*/ 47 h 116"/>
                <a:gd name="T74" fmla="*/ 173 w 198"/>
                <a:gd name="T75" fmla="*/ 50 h 116"/>
                <a:gd name="T76" fmla="*/ 188 w 198"/>
                <a:gd name="T77" fmla="*/ 67 h 11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98"/>
                <a:gd name="T118" fmla="*/ 0 h 116"/>
                <a:gd name="T119" fmla="*/ 198 w 198"/>
                <a:gd name="T120" fmla="*/ 116 h 11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98" h="116">
                  <a:moveTo>
                    <a:pt x="198" y="71"/>
                  </a:moveTo>
                  <a:lnTo>
                    <a:pt x="194" y="75"/>
                  </a:lnTo>
                  <a:lnTo>
                    <a:pt x="188" y="74"/>
                  </a:lnTo>
                  <a:lnTo>
                    <a:pt x="186" y="78"/>
                  </a:lnTo>
                  <a:lnTo>
                    <a:pt x="183" y="82"/>
                  </a:lnTo>
                  <a:lnTo>
                    <a:pt x="178" y="84"/>
                  </a:lnTo>
                  <a:lnTo>
                    <a:pt x="177" y="86"/>
                  </a:lnTo>
                  <a:lnTo>
                    <a:pt x="177" y="92"/>
                  </a:lnTo>
                  <a:lnTo>
                    <a:pt x="174" y="97"/>
                  </a:lnTo>
                  <a:lnTo>
                    <a:pt x="169" y="98"/>
                  </a:lnTo>
                  <a:lnTo>
                    <a:pt x="169" y="101"/>
                  </a:lnTo>
                  <a:lnTo>
                    <a:pt x="163" y="107"/>
                  </a:lnTo>
                  <a:lnTo>
                    <a:pt x="155" y="108"/>
                  </a:lnTo>
                  <a:lnTo>
                    <a:pt x="152" y="105"/>
                  </a:lnTo>
                  <a:lnTo>
                    <a:pt x="148" y="105"/>
                  </a:lnTo>
                  <a:lnTo>
                    <a:pt x="145" y="110"/>
                  </a:lnTo>
                  <a:lnTo>
                    <a:pt x="142" y="116"/>
                  </a:lnTo>
                  <a:lnTo>
                    <a:pt x="142" y="109"/>
                  </a:lnTo>
                  <a:lnTo>
                    <a:pt x="138" y="104"/>
                  </a:lnTo>
                  <a:lnTo>
                    <a:pt x="119" y="105"/>
                  </a:lnTo>
                  <a:lnTo>
                    <a:pt x="112" y="98"/>
                  </a:lnTo>
                  <a:lnTo>
                    <a:pt x="107" y="96"/>
                  </a:lnTo>
                  <a:lnTo>
                    <a:pt x="89" y="95"/>
                  </a:lnTo>
                  <a:lnTo>
                    <a:pt x="86" y="101"/>
                  </a:lnTo>
                  <a:lnTo>
                    <a:pt x="85" y="105"/>
                  </a:lnTo>
                  <a:lnTo>
                    <a:pt x="80" y="110"/>
                  </a:lnTo>
                  <a:lnTo>
                    <a:pt x="75" y="112"/>
                  </a:lnTo>
                  <a:lnTo>
                    <a:pt x="69" y="112"/>
                  </a:lnTo>
                  <a:lnTo>
                    <a:pt x="63" y="112"/>
                  </a:lnTo>
                  <a:lnTo>
                    <a:pt x="59" y="109"/>
                  </a:lnTo>
                  <a:lnTo>
                    <a:pt x="53" y="106"/>
                  </a:lnTo>
                  <a:lnTo>
                    <a:pt x="50" y="103"/>
                  </a:lnTo>
                  <a:lnTo>
                    <a:pt x="37" y="92"/>
                  </a:lnTo>
                  <a:lnTo>
                    <a:pt x="32" y="86"/>
                  </a:lnTo>
                  <a:lnTo>
                    <a:pt x="17" y="74"/>
                  </a:lnTo>
                  <a:lnTo>
                    <a:pt x="12" y="67"/>
                  </a:lnTo>
                  <a:lnTo>
                    <a:pt x="12" y="57"/>
                  </a:lnTo>
                  <a:lnTo>
                    <a:pt x="11" y="51"/>
                  </a:lnTo>
                  <a:lnTo>
                    <a:pt x="4" y="48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6"/>
                  </a:lnTo>
                  <a:lnTo>
                    <a:pt x="9" y="43"/>
                  </a:lnTo>
                  <a:lnTo>
                    <a:pt x="10" y="43"/>
                  </a:lnTo>
                  <a:lnTo>
                    <a:pt x="13" y="36"/>
                  </a:lnTo>
                  <a:lnTo>
                    <a:pt x="21" y="32"/>
                  </a:lnTo>
                  <a:lnTo>
                    <a:pt x="30" y="29"/>
                  </a:lnTo>
                  <a:lnTo>
                    <a:pt x="39" y="25"/>
                  </a:lnTo>
                  <a:lnTo>
                    <a:pt x="42" y="19"/>
                  </a:lnTo>
                  <a:lnTo>
                    <a:pt x="62" y="12"/>
                  </a:lnTo>
                  <a:lnTo>
                    <a:pt x="64" y="0"/>
                  </a:lnTo>
                  <a:lnTo>
                    <a:pt x="69" y="1"/>
                  </a:lnTo>
                  <a:lnTo>
                    <a:pt x="73" y="8"/>
                  </a:lnTo>
                  <a:lnTo>
                    <a:pt x="77" y="12"/>
                  </a:lnTo>
                  <a:lnTo>
                    <a:pt x="80" y="12"/>
                  </a:lnTo>
                  <a:lnTo>
                    <a:pt x="83" y="15"/>
                  </a:lnTo>
                  <a:lnTo>
                    <a:pt x="91" y="7"/>
                  </a:lnTo>
                  <a:lnTo>
                    <a:pt x="97" y="9"/>
                  </a:lnTo>
                  <a:lnTo>
                    <a:pt x="99" y="14"/>
                  </a:lnTo>
                  <a:lnTo>
                    <a:pt x="103" y="14"/>
                  </a:lnTo>
                  <a:lnTo>
                    <a:pt x="114" y="16"/>
                  </a:lnTo>
                  <a:lnTo>
                    <a:pt x="119" y="22"/>
                  </a:lnTo>
                  <a:lnTo>
                    <a:pt x="125" y="24"/>
                  </a:lnTo>
                  <a:lnTo>
                    <a:pt x="126" y="24"/>
                  </a:lnTo>
                  <a:lnTo>
                    <a:pt x="126" y="26"/>
                  </a:lnTo>
                  <a:lnTo>
                    <a:pt x="123" y="32"/>
                  </a:lnTo>
                  <a:lnTo>
                    <a:pt x="134" y="41"/>
                  </a:lnTo>
                  <a:lnTo>
                    <a:pt x="137" y="43"/>
                  </a:lnTo>
                  <a:lnTo>
                    <a:pt x="143" y="39"/>
                  </a:lnTo>
                  <a:lnTo>
                    <a:pt x="142" y="36"/>
                  </a:lnTo>
                  <a:lnTo>
                    <a:pt x="142" y="32"/>
                  </a:lnTo>
                  <a:lnTo>
                    <a:pt x="155" y="37"/>
                  </a:lnTo>
                  <a:lnTo>
                    <a:pt x="166" y="38"/>
                  </a:lnTo>
                  <a:lnTo>
                    <a:pt x="166" y="47"/>
                  </a:lnTo>
                  <a:lnTo>
                    <a:pt x="171" y="50"/>
                  </a:lnTo>
                  <a:lnTo>
                    <a:pt x="173" y="50"/>
                  </a:lnTo>
                  <a:lnTo>
                    <a:pt x="178" y="52"/>
                  </a:lnTo>
                  <a:lnTo>
                    <a:pt x="188" y="67"/>
                  </a:lnTo>
                  <a:lnTo>
                    <a:pt x="198" y="7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36" name="Group 129"/>
          <p:cNvGrpSpPr>
            <a:grpSpLocks/>
          </p:cNvGrpSpPr>
          <p:nvPr/>
        </p:nvGrpSpPr>
        <p:grpSpPr bwMode="auto">
          <a:xfrm>
            <a:off x="5172075" y="4903788"/>
            <a:ext cx="14288" cy="12700"/>
            <a:chOff x="2500" y="3089"/>
            <a:chExt cx="9" cy="8"/>
          </a:xfrm>
        </p:grpSpPr>
        <p:sp>
          <p:nvSpPr>
            <p:cNvPr id="34392" name="Freeform 127"/>
            <p:cNvSpPr>
              <a:spLocks/>
            </p:cNvSpPr>
            <p:nvPr/>
          </p:nvSpPr>
          <p:spPr bwMode="auto">
            <a:xfrm>
              <a:off x="2500" y="3089"/>
              <a:ext cx="9" cy="8"/>
            </a:xfrm>
            <a:custGeom>
              <a:avLst/>
              <a:gdLst>
                <a:gd name="T0" fmla="*/ 6 w 9"/>
                <a:gd name="T1" fmla="*/ 7 h 8"/>
                <a:gd name="T2" fmla="*/ 9 w 9"/>
                <a:gd name="T3" fmla="*/ 6 h 8"/>
                <a:gd name="T4" fmla="*/ 8 w 9"/>
                <a:gd name="T5" fmla="*/ 4 h 8"/>
                <a:gd name="T6" fmla="*/ 8 w 9"/>
                <a:gd name="T7" fmla="*/ 1 h 8"/>
                <a:gd name="T8" fmla="*/ 5 w 9"/>
                <a:gd name="T9" fmla="*/ 0 h 8"/>
                <a:gd name="T10" fmla="*/ 0 w 9"/>
                <a:gd name="T11" fmla="*/ 4 h 8"/>
                <a:gd name="T12" fmla="*/ 0 w 9"/>
                <a:gd name="T13" fmla="*/ 6 h 8"/>
                <a:gd name="T14" fmla="*/ 4 w 9"/>
                <a:gd name="T15" fmla="*/ 8 h 8"/>
                <a:gd name="T16" fmla="*/ 6 w 9"/>
                <a:gd name="T17" fmla="*/ 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8"/>
                <a:gd name="T29" fmla="*/ 9 w 9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8">
                  <a:moveTo>
                    <a:pt x="6" y="7"/>
                  </a:moveTo>
                  <a:lnTo>
                    <a:pt x="9" y="6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8"/>
                  </a:lnTo>
                  <a:lnTo>
                    <a:pt x="6" y="7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93" name="Freeform 128"/>
            <p:cNvSpPr>
              <a:spLocks/>
            </p:cNvSpPr>
            <p:nvPr/>
          </p:nvSpPr>
          <p:spPr bwMode="auto">
            <a:xfrm>
              <a:off x="2500" y="3089"/>
              <a:ext cx="9" cy="8"/>
            </a:xfrm>
            <a:custGeom>
              <a:avLst/>
              <a:gdLst>
                <a:gd name="T0" fmla="*/ 6 w 9"/>
                <a:gd name="T1" fmla="*/ 7 h 8"/>
                <a:gd name="T2" fmla="*/ 9 w 9"/>
                <a:gd name="T3" fmla="*/ 6 h 8"/>
                <a:gd name="T4" fmla="*/ 8 w 9"/>
                <a:gd name="T5" fmla="*/ 4 h 8"/>
                <a:gd name="T6" fmla="*/ 8 w 9"/>
                <a:gd name="T7" fmla="*/ 1 h 8"/>
                <a:gd name="T8" fmla="*/ 5 w 9"/>
                <a:gd name="T9" fmla="*/ 0 h 8"/>
                <a:gd name="T10" fmla="*/ 0 w 9"/>
                <a:gd name="T11" fmla="*/ 4 h 8"/>
                <a:gd name="T12" fmla="*/ 0 w 9"/>
                <a:gd name="T13" fmla="*/ 6 h 8"/>
                <a:gd name="T14" fmla="*/ 4 w 9"/>
                <a:gd name="T15" fmla="*/ 8 h 8"/>
                <a:gd name="T16" fmla="*/ 6 w 9"/>
                <a:gd name="T17" fmla="*/ 7 h 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8"/>
                <a:gd name="T29" fmla="*/ 9 w 9"/>
                <a:gd name="T30" fmla="*/ 8 h 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8">
                  <a:moveTo>
                    <a:pt x="6" y="7"/>
                  </a:moveTo>
                  <a:lnTo>
                    <a:pt x="9" y="6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8"/>
                  </a:lnTo>
                  <a:lnTo>
                    <a:pt x="6" y="7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37" name="Group 132"/>
          <p:cNvGrpSpPr>
            <a:grpSpLocks/>
          </p:cNvGrpSpPr>
          <p:nvPr/>
        </p:nvGrpSpPr>
        <p:grpSpPr bwMode="auto">
          <a:xfrm>
            <a:off x="5195888" y="4953000"/>
            <a:ext cx="14287" cy="11113"/>
            <a:chOff x="2515" y="3120"/>
            <a:chExt cx="9" cy="7"/>
          </a:xfrm>
        </p:grpSpPr>
        <p:sp>
          <p:nvSpPr>
            <p:cNvPr id="34390" name="Freeform 130"/>
            <p:cNvSpPr>
              <a:spLocks/>
            </p:cNvSpPr>
            <p:nvPr/>
          </p:nvSpPr>
          <p:spPr bwMode="auto">
            <a:xfrm>
              <a:off x="2515" y="3120"/>
              <a:ext cx="9" cy="7"/>
            </a:xfrm>
            <a:custGeom>
              <a:avLst/>
              <a:gdLst>
                <a:gd name="T0" fmla="*/ 9 w 9"/>
                <a:gd name="T1" fmla="*/ 3 h 7"/>
                <a:gd name="T2" fmla="*/ 8 w 9"/>
                <a:gd name="T3" fmla="*/ 3 h 7"/>
                <a:gd name="T4" fmla="*/ 8 w 9"/>
                <a:gd name="T5" fmla="*/ 0 h 7"/>
                <a:gd name="T6" fmla="*/ 5 w 9"/>
                <a:gd name="T7" fmla="*/ 0 h 7"/>
                <a:gd name="T8" fmla="*/ 1 w 9"/>
                <a:gd name="T9" fmla="*/ 1 h 7"/>
                <a:gd name="T10" fmla="*/ 0 w 9"/>
                <a:gd name="T11" fmla="*/ 6 h 7"/>
                <a:gd name="T12" fmla="*/ 2 w 9"/>
                <a:gd name="T13" fmla="*/ 7 h 7"/>
                <a:gd name="T14" fmla="*/ 3 w 9"/>
                <a:gd name="T15" fmla="*/ 5 h 7"/>
                <a:gd name="T16" fmla="*/ 7 w 9"/>
                <a:gd name="T17" fmla="*/ 7 h 7"/>
                <a:gd name="T18" fmla="*/ 9 w 9"/>
                <a:gd name="T19" fmla="*/ 3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7"/>
                <a:gd name="T32" fmla="*/ 9 w 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7">
                  <a:moveTo>
                    <a:pt x="9" y="3"/>
                  </a:moveTo>
                  <a:lnTo>
                    <a:pt x="8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1" y="1"/>
                  </a:lnTo>
                  <a:lnTo>
                    <a:pt x="0" y="6"/>
                  </a:lnTo>
                  <a:lnTo>
                    <a:pt x="2" y="7"/>
                  </a:lnTo>
                  <a:lnTo>
                    <a:pt x="3" y="5"/>
                  </a:lnTo>
                  <a:lnTo>
                    <a:pt x="7" y="7"/>
                  </a:lnTo>
                  <a:lnTo>
                    <a:pt x="9" y="3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91" name="Freeform 131"/>
            <p:cNvSpPr>
              <a:spLocks/>
            </p:cNvSpPr>
            <p:nvPr/>
          </p:nvSpPr>
          <p:spPr bwMode="auto">
            <a:xfrm>
              <a:off x="2515" y="3120"/>
              <a:ext cx="9" cy="7"/>
            </a:xfrm>
            <a:custGeom>
              <a:avLst/>
              <a:gdLst>
                <a:gd name="T0" fmla="*/ 9 w 9"/>
                <a:gd name="T1" fmla="*/ 3 h 7"/>
                <a:gd name="T2" fmla="*/ 8 w 9"/>
                <a:gd name="T3" fmla="*/ 3 h 7"/>
                <a:gd name="T4" fmla="*/ 8 w 9"/>
                <a:gd name="T5" fmla="*/ 0 h 7"/>
                <a:gd name="T6" fmla="*/ 5 w 9"/>
                <a:gd name="T7" fmla="*/ 0 h 7"/>
                <a:gd name="T8" fmla="*/ 1 w 9"/>
                <a:gd name="T9" fmla="*/ 1 h 7"/>
                <a:gd name="T10" fmla="*/ 0 w 9"/>
                <a:gd name="T11" fmla="*/ 6 h 7"/>
                <a:gd name="T12" fmla="*/ 2 w 9"/>
                <a:gd name="T13" fmla="*/ 7 h 7"/>
                <a:gd name="T14" fmla="*/ 3 w 9"/>
                <a:gd name="T15" fmla="*/ 5 h 7"/>
                <a:gd name="T16" fmla="*/ 7 w 9"/>
                <a:gd name="T17" fmla="*/ 7 h 7"/>
                <a:gd name="T18" fmla="*/ 9 w 9"/>
                <a:gd name="T19" fmla="*/ 3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7"/>
                <a:gd name="T32" fmla="*/ 9 w 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7">
                  <a:moveTo>
                    <a:pt x="9" y="3"/>
                  </a:moveTo>
                  <a:lnTo>
                    <a:pt x="8" y="3"/>
                  </a:lnTo>
                  <a:lnTo>
                    <a:pt x="8" y="0"/>
                  </a:lnTo>
                  <a:lnTo>
                    <a:pt x="5" y="0"/>
                  </a:lnTo>
                  <a:lnTo>
                    <a:pt x="1" y="1"/>
                  </a:lnTo>
                  <a:lnTo>
                    <a:pt x="0" y="6"/>
                  </a:lnTo>
                  <a:lnTo>
                    <a:pt x="2" y="7"/>
                  </a:lnTo>
                  <a:lnTo>
                    <a:pt x="3" y="5"/>
                  </a:lnTo>
                  <a:lnTo>
                    <a:pt x="7" y="7"/>
                  </a:lnTo>
                  <a:lnTo>
                    <a:pt x="9" y="3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38" name="Group 135"/>
          <p:cNvGrpSpPr>
            <a:grpSpLocks/>
          </p:cNvGrpSpPr>
          <p:nvPr/>
        </p:nvGrpSpPr>
        <p:grpSpPr bwMode="auto">
          <a:xfrm>
            <a:off x="5235575" y="4984750"/>
            <a:ext cx="33338" cy="25400"/>
            <a:chOff x="2540" y="3140"/>
            <a:chExt cx="21" cy="16"/>
          </a:xfrm>
        </p:grpSpPr>
        <p:sp>
          <p:nvSpPr>
            <p:cNvPr id="34388" name="Freeform 133"/>
            <p:cNvSpPr>
              <a:spLocks/>
            </p:cNvSpPr>
            <p:nvPr/>
          </p:nvSpPr>
          <p:spPr bwMode="auto">
            <a:xfrm>
              <a:off x="2540" y="3140"/>
              <a:ext cx="21" cy="16"/>
            </a:xfrm>
            <a:custGeom>
              <a:avLst/>
              <a:gdLst>
                <a:gd name="T0" fmla="*/ 18 w 21"/>
                <a:gd name="T1" fmla="*/ 14 h 16"/>
                <a:gd name="T2" fmla="*/ 21 w 21"/>
                <a:gd name="T3" fmla="*/ 14 h 16"/>
                <a:gd name="T4" fmla="*/ 19 w 21"/>
                <a:gd name="T5" fmla="*/ 8 h 16"/>
                <a:gd name="T6" fmla="*/ 14 w 21"/>
                <a:gd name="T7" fmla="*/ 0 h 16"/>
                <a:gd name="T8" fmla="*/ 1 w 21"/>
                <a:gd name="T9" fmla="*/ 6 h 16"/>
                <a:gd name="T10" fmla="*/ 0 w 21"/>
                <a:gd name="T11" fmla="*/ 11 h 16"/>
                <a:gd name="T12" fmla="*/ 3 w 21"/>
                <a:gd name="T13" fmla="*/ 11 h 16"/>
                <a:gd name="T14" fmla="*/ 7 w 21"/>
                <a:gd name="T15" fmla="*/ 9 h 16"/>
                <a:gd name="T16" fmla="*/ 10 w 21"/>
                <a:gd name="T17" fmla="*/ 9 h 16"/>
                <a:gd name="T18" fmla="*/ 8 w 21"/>
                <a:gd name="T19" fmla="*/ 14 h 16"/>
                <a:gd name="T20" fmla="*/ 12 w 21"/>
                <a:gd name="T21" fmla="*/ 16 h 16"/>
                <a:gd name="T22" fmla="*/ 16 w 21"/>
                <a:gd name="T23" fmla="*/ 14 h 16"/>
                <a:gd name="T24" fmla="*/ 16 w 21"/>
                <a:gd name="T25" fmla="*/ 12 h 16"/>
                <a:gd name="T26" fmla="*/ 18 w 21"/>
                <a:gd name="T27" fmla="*/ 14 h 1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16"/>
                <a:gd name="T44" fmla="*/ 21 w 21"/>
                <a:gd name="T45" fmla="*/ 16 h 1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16">
                  <a:moveTo>
                    <a:pt x="18" y="14"/>
                  </a:moveTo>
                  <a:lnTo>
                    <a:pt x="21" y="14"/>
                  </a:lnTo>
                  <a:lnTo>
                    <a:pt x="19" y="8"/>
                  </a:lnTo>
                  <a:lnTo>
                    <a:pt x="14" y="0"/>
                  </a:lnTo>
                  <a:lnTo>
                    <a:pt x="1" y="6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7" y="9"/>
                  </a:lnTo>
                  <a:lnTo>
                    <a:pt x="10" y="9"/>
                  </a:lnTo>
                  <a:lnTo>
                    <a:pt x="8" y="14"/>
                  </a:lnTo>
                  <a:lnTo>
                    <a:pt x="12" y="16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8" y="14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89" name="Freeform 134"/>
            <p:cNvSpPr>
              <a:spLocks/>
            </p:cNvSpPr>
            <p:nvPr/>
          </p:nvSpPr>
          <p:spPr bwMode="auto">
            <a:xfrm>
              <a:off x="2540" y="3140"/>
              <a:ext cx="21" cy="16"/>
            </a:xfrm>
            <a:custGeom>
              <a:avLst/>
              <a:gdLst>
                <a:gd name="T0" fmla="*/ 18 w 21"/>
                <a:gd name="T1" fmla="*/ 14 h 16"/>
                <a:gd name="T2" fmla="*/ 21 w 21"/>
                <a:gd name="T3" fmla="*/ 14 h 16"/>
                <a:gd name="T4" fmla="*/ 19 w 21"/>
                <a:gd name="T5" fmla="*/ 8 h 16"/>
                <a:gd name="T6" fmla="*/ 14 w 21"/>
                <a:gd name="T7" fmla="*/ 0 h 16"/>
                <a:gd name="T8" fmla="*/ 1 w 21"/>
                <a:gd name="T9" fmla="*/ 6 h 16"/>
                <a:gd name="T10" fmla="*/ 0 w 21"/>
                <a:gd name="T11" fmla="*/ 11 h 16"/>
                <a:gd name="T12" fmla="*/ 3 w 21"/>
                <a:gd name="T13" fmla="*/ 11 h 16"/>
                <a:gd name="T14" fmla="*/ 7 w 21"/>
                <a:gd name="T15" fmla="*/ 9 h 16"/>
                <a:gd name="T16" fmla="*/ 10 w 21"/>
                <a:gd name="T17" fmla="*/ 9 h 16"/>
                <a:gd name="T18" fmla="*/ 8 w 21"/>
                <a:gd name="T19" fmla="*/ 14 h 16"/>
                <a:gd name="T20" fmla="*/ 12 w 21"/>
                <a:gd name="T21" fmla="*/ 16 h 16"/>
                <a:gd name="T22" fmla="*/ 16 w 21"/>
                <a:gd name="T23" fmla="*/ 14 h 16"/>
                <a:gd name="T24" fmla="*/ 16 w 21"/>
                <a:gd name="T25" fmla="*/ 12 h 16"/>
                <a:gd name="T26" fmla="*/ 18 w 21"/>
                <a:gd name="T27" fmla="*/ 14 h 1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"/>
                <a:gd name="T43" fmla="*/ 0 h 16"/>
                <a:gd name="T44" fmla="*/ 21 w 21"/>
                <a:gd name="T45" fmla="*/ 16 h 1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" h="16">
                  <a:moveTo>
                    <a:pt x="18" y="14"/>
                  </a:moveTo>
                  <a:lnTo>
                    <a:pt x="21" y="14"/>
                  </a:lnTo>
                  <a:lnTo>
                    <a:pt x="19" y="8"/>
                  </a:lnTo>
                  <a:lnTo>
                    <a:pt x="14" y="0"/>
                  </a:lnTo>
                  <a:lnTo>
                    <a:pt x="1" y="6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7" y="9"/>
                  </a:lnTo>
                  <a:lnTo>
                    <a:pt x="10" y="9"/>
                  </a:lnTo>
                  <a:lnTo>
                    <a:pt x="8" y="14"/>
                  </a:lnTo>
                  <a:lnTo>
                    <a:pt x="12" y="16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8" y="14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39" name="Group 138"/>
          <p:cNvGrpSpPr>
            <a:grpSpLocks/>
          </p:cNvGrpSpPr>
          <p:nvPr/>
        </p:nvGrpSpPr>
        <p:grpSpPr bwMode="auto">
          <a:xfrm>
            <a:off x="5235575" y="5032375"/>
            <a:ext cx="11113" cy="22225"/>
            <a:chOff x="2540" y="3170"/>
            <a:chExt cx="7" cy="14"/>
          </a:xfrm>
        </p:grpSpPr>
        <p:sp>
          <p:nvSpPr>
            <p:cNvPr id="34386" name="Freeform 136"/>
            <p:cNvSpPr>
              <a:spLocks/>
            </p:cNvSpPr>
            <p:nvPr/>
          </p:nvSpPr>
          <p:spPr bwMode="auto">
            <a:xfrm>
              <a:off x="2540" y="3170"/>
              <a:ext cx="7" cy="14"/>
            </a:xfrm>
            <a:custGeom>
              <a:avLst/>
              <a:gdLst>
                <a:gd name="T0" fmla="*/ 2 w 7"/>
                <a:gd name="T1" fmla="*/ 14 h 14"/>
                <a:gd name="T2" fmla="*/ 5 w 7"/>
                <a:gd name="T3" fmla="*/ 12 h 14"/>
                <a:gd name="T4" fmla="*/ 7 w 7"/>
                <a:gd name="T5" fmla="*/ 3 h 14"/>
                <a:gd name="T6" fmla="*/ 5 w 7"/>
                <a:gd name="T7" fmla="*/ 0 h 14"/>
                <a:gd name="T8" fmla="*/ 0 w 7"/>
                <a:gd name="T9" fmla="*/ 0 h 14"/>
                <a:gd name="T10" fmla="*/ 0 w 7"/>
                <a:gd name="T11" fmla="*/ 4 h 14"/>
                <a:gd name="T12" fmla="*/ 3 w 7"/>
                <a:gd name="T13" fmla="*/ 8 h 14"/>
                <a:gd name="T14" fmla="*/ 0 w 7"/>
                <a:gd name="T15" fmla="*/ 11 h 14"/>
                <a:gd name="T16" fmla="*/ 0 w 7"/>
                <a:gd name="T17" fmla="*/ 13 h 14"/>
                <a:gd name="T18" fmla="*/ 2 w 7"/>
                <a:gd name="T19" fmla="*/ 14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4"/>
                <a:gd name="T32" fmla="*/ 7 w 7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4">
                  <a:moveTo>
                    <a:pt x="2" y="14"/>
                  </a:moveTo>
                  <a:lnTo>
                    <a:pt x="5" y="12"/>
                  </a:lnTo>
                  <a:lnTo>
                    <a:pt x="7" y="3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3" y="8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2" y="14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87" name="Freeform 137"/>
            <p:cNvSpPr>
              <a:spLocks/>
            </p:cNvSpPr>
            <p:nvPr/>
          </p:nvSpPr>
          <p:spPr bwMode="auto">
            <a:xfrm>
              <a:off x="2540" y="3170"/>
              <a:ext cx="7" cy="14"/>
            </a:xfrm>
            <a:custGeom>
              <a:avLst/>
              <a:gdLst>
                <a:gd name="T0" fmla="*/ 2 w 7"/>
                <a:gd name="T1" fmla="*/ 14 h 14"/>
                <a:gd name="T2" fmla="*/ 5 w 7"/>
                <a:gd name="T3" fmla="*/ 12 h 14"/>
                <a:gd name="T4" fmla="*/ 7 w 7"/>
                <a:gd name="T5" fmla="*/ 3 h 14"/>
                <a:gd name="T6" fmla="*/ 5 w 7"/>
                <a:gd name="T7" fmla="*/ 0 h 14"/>
                <a:gd name="T8" fmla="*/ 0 w 7"/>
                <a:gd name="T9" fmla="*/ 0 h 14"/>
                <a:gd name="T10" fmla="*/ 0 w 7"/>
                <a:gd name="T11" fmla="*/ 4 h 14"/>
                <a:gd name="T12" fmla="*/ 3 w 7"/>
                <a:gd name="T13" fmla="*/ 8 h 14"/>
                <a:gd name="T14" fmla="*/ 0 w 7"/>
                <a:gd name="T15" fmla="*/ 11 h 14"/>
                <a:gd name="T16" fmla="*/ 0 w 7"/>
                <a:gd name="T17" fmla="*/ 13 h 14"/>
                <a:gd name="T18" fmla="*/ 2 w 7"/>
                <a:gd name="T19" fmla="*/ 14 h 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4"/>
                <a:gd name="T32" fmla="*/ 7 w 7"/>
                <a:gd name="T33" fmla="*/ 14 h 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4">
                  <a:moveTo>
                    <a:pt x="2" y="14"/>
                  </a:moveTo>
                  <a:lnTo>
                    <a:pt x="5" y="12"/>
                  </a:lnTo>
                  <a:lnTo>
                    <a:pt x="7" y="3"/>
                  </a:lnTo>
                  <a:lnTo>
                    <a:pt x="5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3" y="8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2" y="14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40" name="Group 141"/>
          <p:cNvGrpSpPr>
            <a:grpSpLocks/>
          </p:cNvGrpSpPr>
          <p:nvPr/>
        </p:nvGrpSpPr>
        <p:grpSpPr bwMode="auto">
          <a:xfrm>
            <a:off x="5321300" y="5156200"/>
            <a:ext cx="23813" cy="31750"/>
            <a:chOff x="2594" y="3248"/>
            <a:chExt cx="15" cy="20"/>
          </a:xfrm>
        </p:grpSpPr>
        <p:sp>
          <p:nvSpPr>
            <p:cNvPr id="34384" name="Freeform 139"/>
            <p:cNvSpPr>
              <a:spLocks/>
            </p:cNvSpPr>
            <p:nvPr/>
          </p:nvSpPr>
          <p:spPr bwMode="auto">
            <a:xfrm>
              <a:off x="2594" y="3248"/>
              <a:ext cx="15" cy="20"/>
            </a:xfrm>
            <a:custGeom>
              <a:avLst/>
              <a:gdLst>
                <a:gd name="T0" fmla="*/ 9 w 15"/>
                <a:gd name="T1" fmla="*/ 14 h 20"/>
                <a:gd name="T2" fmla="*/ 11 w 15"/>
                <a:gd name="T3" fmla="*/ 13 h 20"/>
                <a:gd name="T4" fmla="*/ 12 w 15"/>
                <a:gd name="T5" fmla="*/ 10 h 20"/>
                <a:gd name="T6" fmla="*/ 14 w 15"/>
                <a:gd name="T7" fmla="*/ 6 h 20"/>
                <a:gd name="T8" fmla="*/ 15 w 15"/>
                <a:gd name="T9" fmla="*/ 0 h 20"/>
                <a:gd name="T10" fmla="*/ 8 w 15"/>
                <a:gd name="T11" fmla="*/ 3 h 20"/>
                <a:gd name="T12" fmla="*/ 0 w 15"/>
                <a:gd name="T13" fmla="*/ 10 h 20"/>
                <a:gd name="T14" fmla="*/ 0 w 15"/>
                <a:gd name="T15" fmla="*/ 13 h 20"/>
                <a:gd name="T16" fmla="*/ 0 w 15"/>
                <a:gd name="T17" fmla="*/ 20 h 20"/>
                <a:gd name="T18" fmla="*/ 9 w 15"/>
                <a:gd name="T19" fmla="*/ 14 h 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20"/>
                <a:gd name="T32" fmla="*/ 15 w 15"/>
                <a:gd name="T33" fmla="*/ 20 h 2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20">
                  <a:moveTo>
                    <a:pt x="9" y="14"/>
                  </a:moveTo>
                  <a:lnTo>
                    <a:pt x="11" y="13"/>
                  </a:lnTo>
                  <a:lnTo>
                    <a:pt x="12" y="10"/>
                  </a:lnTo>
                  <a:lnTo>
                    <a:pt x="14" y="6"/>
                  </a:lnTo>
                  <a:lnTo>
                    <a:pt x="15" y="0"/>
                  </a:lnTo>
                  <a:lnTo>
                    <a:pt x="8" y="3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20"/>
                  </a:lnTo>
                  <a:lnTo>
                    <a:pt x="9" y="14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85" name="Freeform 140"/>
            <p:cNvSpPr>
              <a:spLocks/>
            </p:cNvSpPr>
            <p:nvPr/>
          </p:nvSpPr>
          <p:spPr bwMode="auto">
            <a:xfrm>
              <a:off x="2594" y="3248"/>
              <a:ext cx="15" cy="20"/>
            </a:xfrm>
            <a:custGeom>
              <a:avLst/>
              <a:gdLst>
                <a:gd name="T0" fmla="*/ 9 w 15"/>
                <a:gd name="T1" fmla="*/ 14 h 20"/>
                <a:gd name="T2" fmla="*/ 11 w 15"/>
                <a:gd name="T3" fmla="*/ 13 h 20"/>
                <a:gd name="T4" fmla="*/ 12 w 15"/>
                <a:gd name="T5" fmla="*/ 10 h 20"/>
                <a:gd name="T6" fmla="*/ 14 w 15"/>
                <a:gd name="T7" fmla="*/ 6 h 20"/>
                <a:gd name="T8" fmla="*/ 15 w 15"/>
                <a:gd name="T9" fmla="*/ 0 h 20"/>
                <a:gd name="T10" fmla="*/ 8 w 15"/>
                <a:gd name="T11" fmla="*/ 3 h 20"/>
                <a:gd name="T12" fmla="*/ 0 w 15"/>
                <a:gd name="T13" fmla="*/ 10 h 20"/>
                <a:gd name="T14" fmla="*/ 0 w 15"/>
                <a:gd name="T15" fmla="*/ 13 h 20"/>
                <a:gd name="T16" fmla="*/ 0 w 15"/>
                <a:gd name="T17" fmla="*/ 20 h 20"/>
                <a:gd name="T18" fmla="*/ 9 w 15"/>
                <a:gd name="T19" fmla="*/ 14 h 2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20"/>
                <a:gd name="T32" fmla="*/ 15 w 15"/>
                <a:gd name="T33" fmla="*/ 20 h 2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20">
                  <a:moveTo>
                    <a:pt x="9" y="14"/>
                  </a:moveTo>
                  <a:lnTo>
                    <a:pt x="11" y="13"/>
                  </a:lnTo>
                  <a:lnTo>
                    <a:pt x="12" y="10"/>
                  </a:lnTo>
                  <a:lnTo>
                    <a:pt x="14" y="6"/>
                  </a:lnTo>
                  <a:lnTo>
                    <a:pt x="15" y="0"/>
                  </a:lnTo>
                  <a:lnTo>
                    <a:pt x="8" y="3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20"/>
                  </a:lnTo>
                  <a:lnTo>
                    <a:pt x="9" y="14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41" name="Group 144"/>
          <p:cNvGrpSpPr>
            <a:grpSpLocks/>
          </p:cNvGrpSpPr>
          <p:nvPr/>
        </p:nvGrpSpPr>
        <p:grpSpPr bwMode="auto">
          <a:xfrm>
            <a:off x="5127625" y="5203825"/>
            <a:ext cx="127000" cy="41275"/>
            <a:chOff x="2472" y="3278"/>
            <a:chExt cx="80" cy="26"/>
          </a:xfrm>
        </p:grpSpPr>
        <p:sp>
          <p:nvSpPr>
            <p:cNvPr id="34382" name="Freeform 142"/>
            <p:cNvSpPr>
              <a:spLocks/>
            </p:cNvSpPr>
            <p:nvPr/>
          </p:nvSpPr>
          <p:spPr bwMode="auto">
            <a:xfrm>
              <a:off x="2472" y="3278"/>
              <a:ext cx="80" cy="26"/>
            </a:xfrm>
            <a:custGeom>
              <a:avLst/>
              <a:gdLst>
                <a:gd name="T0" fmla="*/ 44 w 80"/>
                <a:gd name="T1" fmla="*/ 9 h 26"/>
                <a:gd name="T2" fmla="*/ 39 w 80"/>
                <a:gd name="T3" fmla="*/ 7 h 26"/>
                <a:gd name="T4" fmla="*/ 24 w 80"/>
                <a:gd name="T5" fmla="*/ 10 h 26"/>
                <a:gd name="T6" fmla="*/ 20 w 80"/>
                <a:gd name="T7" fmla="*/ 7 h 26"/>
                <a:gd name="T8" fmla="*/ 17 w 80"/>
                <a:gd name="T9" fmla="*/ 7 h 26"/>
                <a:gd name="T10" fmla="*/ 19 w 80"/>
                <a:gd name="T11" fmla="*/ 4 h 26"/>
                <a:gd name="T12" fmla="*/ 17 w 80"/>
                <a:gd name="T13" fmla="*/ 1 h 26"/>
                <a:gd name="T14" fmla="*/ 13 w 80"/>
                <a:gd name="T15" fmla="*/ 4 h 26"/>
                <a:gd name="T16" fmla="*/ 8 w 80"/>
                <a:gd name="T17" fmla="*/ 1 h 26"/>
                <a:gd name="T18" fmla="*/ 6 w 80"/>
                <a:gd name="T19" fmla="*/ 0 h 26"/>
                <a:gd name="T20" fmla="*/ 5 w 80"/>
                <a:gd name="T21" fmla="*/ 5 h 26"/>
                <a:gd name="T22" fmla="*/ 2 w 80"/>
                <a:gd name="T23" fmla="*/ 4 h 26"/>
                <a:gd name="T24" fmla="*/ 0 w 80"/>
                <a:gd name="T25" fmla="*/ 15 h 26"/>
                <a:gd name="T26" fmla="*/ 3 w 80"/>
                <a:gd name="T27" fmla="*/ 15 h 26"/>
                <a:gd name="T28" fmla="*/ 7 w 80"/>
                <a:gd name="T29" fmla="*/ 15 h 26"/>
                <a:gd name="T30" fmla="*/ 12 w 80"/>
                <a:gd name="T31" fmla="*/ 14 h 26"/>
                <a:gd name="T32" fmla="*/ 19 w 80"/>
                <a:gd name="T33" fmla="*/ 15 h 26"/>
                <a:gd name="T34" fmla="*/ 27 w 80"/>
                <a:gd name="T35" fmla="*/ 17 h 26"/>
                <a:gd name="T36" fmla="*/ 30 w 80"/>
                <a:gd name="T37" fmla="*/ 19 h 26"/>
                <a:gd name="T38" fmla="*/ 34 w 80"/>
                <a:gd name="T39" fmla="*/ 21 h 26"/>
                <a:gd name="T40" fmla="*/ 36 w 80"/>
                <a:gd name="T41" fmla="*/ 26 h 26"/>
                <a:gd name="T42" fmla="*/ 45 w 80"/>
                <a:gd name="T43" fmla="*/ 25 h 26"/>
                <a:gd name="T44" fmla="*/ 50 w 80"/>
                <a:gd name="T45" fmla="*/ 23 h 26"/>
                <a:gd name="T46" fmla="*/ 55 w 80"/>
                <a:gd name="T47" fmla="*/ 24 h 26"/>
                <a:gd name="T48" fmla="*/ 59 w 80"/>
                <a:gd name="T49" fmla="*/ 23 h 26"/>
                <a:gd name="T50" fmla="*/ 65 w 80"/>
                <a:gd name="T51" fmla="*/ 23 h 26"/>
                <a:gd name="T52" fmla="*/ 70 w 80"/>
                <a:gd name="T53" fmla="*/ 21 h 26"/>
                <a:gd name="T54" fmla="*/ 75 w 80"/>
                <a:gd name="T55" fmla="*/ 24 h 26"/>
                <a:gd name="T56" fmla="*/ 80 w 80"/>
                <a:gd name="T57" fmla="*/ 16 h 26"/>
                <a:gd name="T58" fmla="*/ 79 w 80"/>
                <a:gd name="T59" fmla="*/ 13 h 26"/>
                <a:gd name="T60" fmla="*/ 75 w 80"/>
                <a:gd name="T61" fmla="*/ 15 h 26"/>
                <a:gd name="T62" fmla="*/ 72 w 80"/>
                <a:gd name="T63" fmla="*/ 15 h 26"/>
                <a:gd name="T64" fmla="*/ 69 w 80"/>
                <a:gd name="T65" fmla="*/ 17 h 26"/>
                <a:gd name="T66" fmla="*/ 64 w 80"/>
                <a:gd name="T67" fmla="*/ 15 h 26"/>
                <a:gd name="T68" fmla="*/ 62 w 80"/>
                <a:gd name="T69" fmla="*/ 11 h 26"/>
                <a:gd name="T70" fmla="*/ 56 w 80"/>
                <a:gd name="T71" fmla="*/ 12 h 26"/>
                <a:gd name="T72" fmla="*/ 47 w 80"/>
                <a:gd name="T73" fmla="*/ 12 h 26"/>
                <a:gd name="T74" fmla="*/ 44 w 80"/>
                <a:gd name="T75" fmla="*/ 11 h 26"/>
                <a:gd name="T76" fmla="*/ 44 w 80"/>
                <a:gd name="T77" fmla="*/ 9 h 2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0"/>
                <a:gd name="T118" fmla="*/ 0 h 26"/>
                <a:gd name="T119" fmla="*/ 80 w 80"/>
                <a:gd name="T120" fmla="*/ 26 h 2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0" h="26">
                  <a:moveTo>
                    <a:pt x="44" y="9"/>
                  </a:moveTo>
                  <a:lnTo>
                    <a:pt x="39" y="7"/>
                  </a:lnTo>
                  <a:lnTo>
                    <a:pt x="24" y="10"/>
                  </a:lnTo>
                  <a:lnTo>
                    <a:pt x="20" y="7"/>
                  </a:lnTo>
                  <a:lnTo>
                    <a:pt x="17" y="7"/>
                  </a:lnTo>
                  <a:lnTo>
                    <a:pt x="19" y="4"/>
                  </a:lnTo>
                  <a:lnTo>
                    <a:pt x="17" y="1"/>
                  </a:lnTo>
                  <a:lnTo>
                    <a:pt x="13" y="4"/>
                  </a:lnTo>
                  <a:lnTo>
                    <a:pt x="8" y="1"/>
                  </a:lnTo>
                  <a:lnTo>
                    <a:pt x="6" y="0"/>
                  </a:lnTo>
                  <a:lnTo>
                    <a:pt x="5" y="5"/>
                  </a:lnTo>
                  <a:lnTo>
                    <a:pt x="2" y="4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7" y="15"/>
                  </a:lnTo>
                  <a:lnTo>
                    <a:pt x="12" y="14"/>
                  </a:lnTo>
                  <a:lnTo>
                    <a:pt x="19" y="15"/>
                  </a:lnTo>
                  <a:lnTo>
                    <a:pt x="27" y="17"/>
                  </a:lnTo>
                  <a:lnTo>
                    <a:pt x="30" y="19"/>
                  </a:lnTo>
                  <a:lnTo>
                    <a:pt x="34" y="21"/>
                  </a:lnTo>
                  <a:lnTo>
                    <a:pt x="36" y="26"/>
                  </a:lnTo>
                  <a:lnTo>
                    <a:pt x="45" y="25"/>
                  </a:lnTo>
                  <a:lnTo>
                    <a:pt x="50" y="23"/>
                  </a:lnTo>
                  <a:lnTo>
                    <a:pt x="55" y="24"/>
                  </a:lnTo>
                  <a:lnTo>
                    <a:pt x="59" y="23"/>
                  </a:lnTo>
                  <a:lnTo>
                    <a:pt x="65" y="23"/>
                  </a:lnTo>
                  <a:lnTo>
                    <a:pt x="70" y="21"/>
                  </a:lnTo>
                  <a:lnTo>
                    <a:pt x="75" y="24"/>
                  </a:lnTo>
                  <a:lnTo>
                    <a:pt x="80" y="16"/>
                  </a:lnTo>
                  <a:lnTo>
                    <a:pt x="79" y="13"/>
                  </a:lnTo>
                  <a:lnTo>
                    <a:pt x="75" y="15"/>
                  </a:lnTo>
                  <a:lnTo>
                    <a:pt x="72" y="15"/>
                  </a:lnTo>
                  <a:lnTo>
                    <a:pt x="69" y="17"/>
                  </a:lnTo>
                  <a:lnTo>
                    <a:pt x="64" y="15"/>
                  </a:lnTo>
                  <a:lnTo>
                    <a:pt x="62" y="11"/>
                  </a:lnTo>
                  <a:lnTo>
                    <a:pt x="56" y="12"/>
                  </a:lnTo>
                  <a:lnTo>
                    <a:pt x="47" y="12"/>
                  </a:lnTo>
                  <a:lnTo>
                    <a:pt x="44" y="11"/>
                  </a:lnTo>
                  <a:lnTo>
                    <a:pt x="44" y="9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83" name="Freeform 143"/>
            <p:cNvSpPr>
              <a:spLocks/>
            </p:cNvSpPr>
            <p:nvPr/>
          </p:nvSpPr>
          <p:spPr bwMode="auto">
            <a:xfrm>
              <a:off x="2472" y="3278"/>
              <a:ext cx="80" cy="26"/>
            </a:xfrm>
            <a:custGeom>
              <a:avLst/>
              <a:gdLst>
                <a:gd name="T0" fmla="*/ 44 w 80"/>
                <a:gd name="T1" fmla="*/ 9 h 26"/>
                <a:gd name="T2" fmla="*/ 39 w 80"/>
                <a:gd name="T3" fmla="*/ 7 h 26"/>
                <a:gd name="T4" fmla="*/ 24 w 80"/>
                <a:gd name="T5" fmla="*/ 10 h 26"/>
                <a:gd name="T6" fmla="*/ 20 w 80"/>
                <a:gd name="T7" fmla="*/ 7 h 26"/>
                <a:gd name="T8" fmla="*/ 17 w 80"/>
                <a:gd name="T9" fmla="*/ 7 h 26"/>
                <a:gd name="T10" fmla="*/ 19 w 80"/>
                <a:gd name="T11" fmla="*/ 4 h 26"/>
                <a:gd name="T12" fmla="*/ 17 w 80"/>
                <a:gd name="T13" fmla="*/ 1 h 26"/>
                <a:gd name="T14" fmla="*/ 13 w 80"/>
                <a:gd name="T15" fmla="*/ 4 h 26"/>
                <a:gd name="T16" fmla="*/ 8 w 80"/>
                <a:gd name="T17" fmla="*/ 1 h 26"/>
                <a:gd name="T18" fmla="*/ 6 w 80"/>
                <a:gd name="T19" fmla="*/ 0 h 26"/>
                <a:gd name="T20" fmla="*/ 5 w 80"/>
                <a:gd name="T21" fmla="*/ 5 h 26"/>
                <a:gd name="T22" fmla="*/ 2 w 80"/>
                <a:gd name="T23" fmla="*/ 4 h 26"/>
                <a:gd name="T24" fmla="*/ 0 w 80"/>
                <a:gd name="T25" fmla="*/ 15 h 26"/>
                <a:gd name="T26" fmla="*/ 3 w 80"/>
                <a:gd name="T27" fmla="*/ 15 h 26"/>
                <a:gd name="T28" fmla="*/ 7 w 80"/>
                <a:gd name="T29" fmla="*/ 15 h 26"/>
                <a:gd name="T30" fmla="*/ 12 w 80"/>
                <a:gd name="T31" fmla="*/ 14 h 26"/>
                <a:gd name="T32" fmla="*/ 19 w 80"/>
                <a:gd name="T33" fmla="*/ 15 h 26"/>
                <a:gd name="T34" fmla="*/ 27 w 80"/>
                <a:gd name="T35" fmla="*/ 17 h 26"/>
                <a:gd name="T36" fmla="*/ 30 w 80"/>
                <a:gd name="T37" fmla="*/ 19 h 26"/>
                <a:gd name="T38" fmla="*/ 34 w 80"/>
                <a:gd name="T39" fmla="*/ 21 h 26"/>
                <a:gd name="T40" fmla="*/ 36 w 80"/>
                <a:gd name="T41" fmla="*/ 26 h 26"/>
                <a:gd name="T42" fmla="*/ 45 w 80"/>
                <a:gd name="T43" fmla="*/ 25 h 26"/>
                <a:gd name="T44" fmla="*/ 50 w 80"/>
                <a:gd name="T45" fmla="*/ 23 h 26"/>
                <a:gd name="T46" fmla="*/ 55 w 80"/>
                <a:gd name="T47" fmla="*/ 24 h 26"/>
                <a:gd name="T48" fmla="*/ 59 w 80"/>
                <a:gd name="T49" fmla="*/ 23 h 26"/>
                <a:gd name="T50" fmla="*/ 65 w 80"/>
                <a:gd name="T51" fmla="*/ 23 h 26"/>
                <a:gd name="T52" fmla="*/ 70 w 80"/>
                <a:gd name="T53" fmla="*/ 21 h 26"/>
                <a:gd name="T54" fmla="*/ 75 w 80"/>
                <a:gd name="T55" fmla="*/ 24 h 26"/>
                <a:gd name="T56" fmla="*/ 80 w 80"/>
                <a:gd name="T57" fmla="*/ 16 h 26"/>
                <a:gd name="T58" fmla="*/ 79 w 80"/>
                <a:gd name="T59" fmla="*/ 13 h 26"/>
                <a:gd name="T60" fmla="*/ 75 w 80"/>
                <a:gd name="T61" fmla="*/ 15 h 26"/>
                <a:gd name="T62" fmla="*/ 72 w 80"/>
                <a:gd name="T63" fmla="*/ 15 h 26"/>
                <a:gd name="T64" fmla="*/ 69 w 80"/>
                <a:gd name="T65" fmla="*/ 17 h 26"/>
                <a:gd name="T66" fmla="*/ 64 w 80"/>
                <a:gd name="T67" fmla="*/ 15 h 26"/>
                <a:gd name="T68" fmla="*/ 62 w 80"/>
                <a:gd name="T69" fmla="*/ 11 h 26"/>
                <a:gd name="T70" fmla="*/ 56 w 80"/>
                <a:gd name="T71" fmla="*/ 12 h 26"/>
                <a:gd name="T72" fmla="*/ 47 w 80"/>
                <a:gd name="T73" fmla="*/ 12 h 26"/>
                <a:gd name="T74" fmla="*/ 44 w 80"/>
                <a:gd name="T75" fmla="*/ 11 h 26"/>
                <a:gd name="T76" fmla="*/ 44 w 80"/>
                <a:gd name="T77" fmla="*/ 9 h 2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0"/>
                <a:gd name="T118" fmla="*/ 0 h 26"/>
                <a:gd name="T119" fmla="*/ 80 w 80"/>
                <a:gd name="T120" fmla="*/ 26 h 2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0" h="26">
                  <a:moveTo>
                    <a:pt x="44" y="9"/>
                  </a:moveTo>
                  <a:lnTo>
                    <a:pt x="39" y="7"/>
                  </a:lnTo>
                  <a:lnTo>
                    <a:pt x="24" y="10"/>
                  </a:lnTo>
                  <a:lnTo>
                    <a:pt x="20" y="7"/>
                  </a:lnTo>
                  <a:lnTo>
                    <a:pt x="17" y="7"/>
                  </a:lnTo>
                  <a:lnTo>
                    <a:pt x="19" y="4"/>
                  </a:lnTo>
                  <a:lnTo>
                    <a:pt x="17" y="1"/>
                  </a:lnTo>
                  <a:lnTo>
                    <a:pt x="13" y="4"/>
                  </a:lnTo>
                  <a:lnTo>
                    <a:pt x="8" y="1"/>
                  </a:lnTo>
                  <a:lnTo>
                    <a:pt x="6" y="0"/>
                  </a:lnTo>
                  <a:lnTo>
                    <a:pt x="5" y="5"/>
                  </a:lnTo>
                  <a:lnTo>
                    <a:pt x="2" y="4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7" y="15"/>
                  </a:lnTo>
                  <a:lnTo>
                    <a:pt x="12" y="14"/>
                  </a:lnTo>
                  <a:lnTo>
                    <a:pt x="19" y="15"/>
                  </a:lnTo>
                  <a:lnTo>
                    <a:pt x="27" y="17"/>
                  </a:lnTo>
                  <a:lnTo>
                    <a:pt x="30" y="19"/>
                  </a:lnTo>
                  <a:lnTo>
                    <a:pt x="34" y="21"/>
                  </a:lnTo>
                  <a:lnTo>
                    <a:pt x="36" y="26"/>
                  </a:lnTo>
                  <a:lnTo>
                    <a:pt x="45" y="25"/>
                  </a:lnTo>
                  <a:lnTo>
                    <a:pt x="50" y="23"/>
                  </a:lnTo>
                  <a:lnTo>
                    <a:pt x="55" y="24"/>
                  </a:lnTo>
                  <a:lnTo>
                    <a:pt x="59" y="23"/>
                  </a:lnTo>
                  <a:lnTo>
                    <a:pt x="65" y="23"/>
                  </a:lnTo>
                  <a:lnTo>
                    <a:pt x="70" y="21"/>
                  </a:lnTo>
                  <a:lnTo>
                    <a:pt x="75" y="24"/>
                  </a:lnTo>
                  <a:lnTo>
                    <a:pt x="80" y="16"/>
                  </a:lnTo>
                  <a:lnTo>
                    <a:pt x="79" y="13"/>
                  </a:lnTo>
                  <a:lnTo>
                    <a:pt x="75" y="15"/>
                  </a:lnTo>
                  <a:lnTo>
                    <a:pt x="72" y="15"/>
                  </a:lnTo>
                  <a:lnTo>
                    <a:pt x="69" y="17"/>
                  </a:lnTo>
                  <a:lnTo>
                    <a:pt x="64" y="15"/>
                  </a:lnTo>
                  <a:lnTo>
                    <a:pt x="62" y="11"/>
                  </a:lnTo>
                  <a:lnTo>
                    <a:pt x="56" y="12"/>
                  </a:lnTo>
                  <a:lnTo>
                    <a:pt x="47" y="12"/>
                  </a:lnTo>
                  <a:lnTo>
                    <a:pt x="44" y="11"/>
                  </a:lnTo>
                  <a:lnTo>
                    <a:pt x="44" y="9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42" name="Group 147"/>
          <p:cNvGrpSpPr>
            <a:grpSpLocks/>
          </p:cNvGrpSpPr>
          <p:nvPr/>
        </p:nvGrpSpPr>
        <p:grpSpPr bwMode="auto">
          <a:xfrm>
            <a:off x="5180013" y="5070475"/>
            <a:ext cx="14287" cy="17463"/>
            <a:chOff x="2505" y="3194"/>
            <a:chExt cx="9" cy="11"/>
          </a:xfrm>
        </p:grpSpPr>
        <p:sp>
          <p:nvSpPr>
            <p:cNvPr id="34380" name="Freeform 145"/>
            <p:cNvSpPr>
              <a:spLocks/>
            </p:cNvSpPr>
            <p:nvPr/>
          </p:nvSpPr>
          <p:spPr bwMode="auto">
            <a:xfrm>
              <a:off x="2505" y="3194"/>
              <a:ext cx="9" cy="11"/>
            </a:xfrm>
            <a:custGeom>
              <a:avLst/>
              <a:gdLst>
                <a:gd name="T0" fmla="*/ 8 w 9"/>
                <a:gd name="T1" fmla="*/ 11 h 11"/>
                <a:gd name="T2" fmla="*/ 9 w 9"/>
                <a:gd name="T3" fmla="*/ 9 h 11"/>
                <a:gd name="T4" fmla="*/ 9 w 9"/>
                <a:gd name="T5" fmla="*/ 6 h 11"/>
                <a:gd name="T6" fmla="*/ 8 w 9"/>
                <a:gd name="T7" fmla="*/ 4 h 11"/>
                <a:gd name="T8" fmla="*/ 5 w 9"/>
                <a:gd name="T9" fmla="*/ 1 h 11"/>
                <a:gd name="T10" fmla="*/ 1 w 9"/>
                <a:gd name="T11" fmla="*/ 0 h 11"/>
                <a:gd name="T12" fmla="*/ 0 w 9"/>
                <a:gd name="T13" fmla="*/ 3 h 11"/>
                <a:gd name="T14" fmla="*/ 3 w 9"/>
                <a:gd name="T15" fmla="*/ 6 h 11"/>
                <a:gd name="T16" fmla="*/ 6 w 9"/>
                <a:gd name="T17" fmla="*/ 11 h 11"/>
                <a:gd name="T18" fmla="*/ 8 w 9"/>
                <a:gd name="T19" fmla="*/ 11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11"/>
                <a:gd name="T32" fmla="*/ 9 w 9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11">
                  <a:moveTo>
                    <a:pt x="8" y="11"/>
                  </a:moveTo>
                  <a:lnTo>
                    <a:pt x="9" y="9"/>
                  </a:lnTo>
                  <a:lnTo>
                    <a:pt x="9" y="6"/>
                  </a:lnTo>
                  <a:lnTo>
                    <a:pt x="8" y="4"/>
                  </a:lnTo>
                  <a:lnTo>
                    <a:pt x="5" y="1"/>
                  </a:lnTo>
                  <a:lnTo>
                    <a:pt x="1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11"/>
                  </a:lnTo>
                  <a:lnTo>
                    <a:pt x="8" y="1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81" name="Freeform 146"/>
            <p:cNvSpPr>
              <a:spLocks/>
            </p:cNvSpPr>
            <p:nvPr/>
          </p:nvSpPr>
          <p:spPr bwMode="auto">
            <a:xfrm>
              <a:off x="2505" y="3194"/>
              <a:ext cx="9" cy="11"/>
            </a:xfrm>
            <a:custGeom>
              <a:avLst/>
              <a:gdLst>
                <a:gd name="T0" fmla="*/ 8 w 9"/>
                <a:gd name="T1" fmla="*/ 11 h 11"/>
                <a:gd name="T2" fmla="*/ 9 w 9"/>
                <a:gd name="T3" fmla="*/ 9 h 11"/>
                <a:gd name="T4" fmla="*/ 9 w 9"/>
                <a:gd name="T5" fmla="*/ 6 h 11"/>
                <a:gd name="T6" fmla="*/ 8 w 9"/>
                <a:gd name="T7" fmla="*/ 4 h 11"/>
                <a:gd name="T8" fmla="*/ 5 w 9"/>
                <a:gd name="T9" fmla="*/ 1 h 11"/>
                <a:gd name="T10" fmla="*/ 1 w 9"/>
                <a:gd name="T11" fmla="*/ 0 h 11"/>
                <a:gd name="T12" fmla="*/ 0 w 9"/>
                <a:gd name="T13" fmla="*/ 3 h 11"/>
                <a:gd name="T14" fmla="*/ 3 w 9"/>
                <a:gd name="T15" fmla="*/ 6 h 11"/>
                <a:gd name="T16" fmla="*/ 6 w 9"/>
                <a:gd name="T17" fmla="*/ 11 h 11"/>
                <a:gd name="T18" fmla="*/ 8 w 9"/>
                <a:gd name="T19" fmla="*/ 11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11"/>
                <a:gd name="T32" fmla="*/ 9 w 9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11">
                  <a:moveTo>
                    <a:pt x="8" y="11"/>
                  </a:moveTo>
                  <a:lnTo>
                    <a:pt x="9" y="9"/>
                  </a:lnTo>
                  <a:lnTo>
                    <a:pt x="9" y="6"/>
                  </a:lnTo>
                  <a:lnTo>
                    <a:pt x="8" y="4"/>
                  </a:lnTo>
                  <a:lnTo>
                    <a:pt x="5" y="1"/>
                  </a:lnTo>
                  <a:lnTo>
                    <a:pt x="1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11"/>
                  </a:lnTo>
                  <a:lnTo>
                    <a:pt x="8" y="1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43" name="Group 150"/>
          <p:cNvGrpSpPr>
            <a:grpSpLocks/>
          </p:cNvGrpSpPr>
          <p:nvPr/>
        </p:nvGrpSpPr>
        <p:grpSpPr bwMode="auto">
          <a:xfrm>
            <a:off x="5211763" y="5118100"/>
            <a:ext cx="9525" cy="14288"/>
            <a:chOff x="2525" y="3224"/>
            <a:chExt cx="6" cy="9"/>
          </a:xfrm>
        </p:grpSpPr>
        <p:sp>
          <p:nvSpPr>
            <p:cNvPr id="34378" name="Freeform 148"/>
            <p:cNvSpPr>
              <a:spLocks/>
            </p:cNvSpPr>
            <p:nvPr/>
          </p:nvSpPr>
          <p:spPr bwMode="auto">
            <a:xfrm>
              <a:off x="2525" y="3224"/>
              <a:ext cx="6" cy="9"/>
            </a:xfrm>
            <a:custGeom>
              <a:avLst/>
              <a:gdLst>
                <a:gd name="T0" fmla="*/ 2 w 6"/>
                <a:gd name="T1" fmla="*/ 9 h 9"/>
                <a:gd name="T2" fmla="*/ 5 w 6"/>
                <a:gd name="T3" fmla="*/ 8 h 9"/>
                <a:gd name="T4" fmla="*/ 6 w 6"/>
                <a:gd name="T5" fmla="*/ 0 h 9"/>
                <a:gd name="T6" fmla="*/ 3 w 6"/>
                <a:gd name="T7" fmla="*/ 0 h 9"/>
                <a:gd name="T8" fmla="*/ 0 w 6"/>
                <a:gd name="T9" fmla="*/ 3 h 9"/>
                <a:gd name="T10" fmla="*/ 0 w 6"/>
                <a:gd name="T11" fmla="*/ 8 h 9"/>
                <a:gd name="T12" fmla="*/ 2 w 6"/>
                <a:gd name="T13" fmla="*/ 9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9"/>
                <a:gd name="T23" fmla="*/ 6 w 6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9">
                  <a:moveTo>
                    <a:pt x="2" y="9"/>
                  </a:moveTo>
                  <a:lnTo>
                    <a:pt x="5" y="8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2" y="9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79" name="Freeform 149"/>
            <p:cNvSpPr>
              <a:spLocks/>
            </p:cNvSpPr>
            <p:nvPr/>
          </p:nvSpPr>
          <p:spPr bwMode="auto">
            <a:xfrm>
              <a:off x="2525" y="3224"/>
              <a:ext cx="6" cy="9"/>
            </a:xfrm>
            <a:custGeom>
              <a:avLst/>
              <a:gdLst>
                <a:gd name="T0" fmla="*/ 2 w 6"/>
                <a:gd name="T1" fmla="*/ 9 h 9"/>
                <a:gd name="T2" fmla="*/ 5 w 6"/>
                <a:gd name="T3" fmla="*/ 8 h 9"/>
                <a:gd name="T4" fmla="*/ 6 w 6"/>
                <a:gd name="T5" fmla="*/ 0 h 9"/>
                <a:gd name="T6" fmla="*/ 3 w 6"/>
                <a:gd name="T7" fmla="*/ 0 h 9"/>
                <a:gd name="T8" fmla="*/ 0 w 6"/>
                <a:gd name="T9" fmla="*/ 3 h 9"/>
                <a:gd name="T10" fmla="*/ 0 w 6"/>
                <a:gd name="T11" fmla="*/ 8 h 9"/>
                <a:gd name="T12" fmla="*/ 2 w 6"/>
                <a:gd name="T13" fmla="*/ 9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9"/>
                <a:gd name="T23" fmla="*/ 6 w 6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9">
                  <a:moveTo>
                    <a:pt x="2" y="9"/>
                  </a:moveTo>
                  <a:lnTo>
                    <a:pt x="5" y="8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2" y="9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44" name="Group 153"/>
          <p:cNvGrpSpPr>
            <a:grpSpLocks/>
          </p:cNvGrpSpPr>
          <p:nvPr/>
        </p:nvGrpSpPr>
        <p:grpSpPr bwMode="auto">
          <a:xfrm>
            <a:off x="5018088" y="5051425"/>
            <a:ext cx="106362" cy="107950"/>
            <a:chOff x="2403" y="3182"/>
            <a:chExt cx="67" cy="68"/>
          </a:xfrm>
        </p:grpSpPr>
        <p:sp>
          <p:nvSpPr>
            <p:cNvPr id="34376" name="Freeform 151"/>
            <p:cNvSpPr>
              <a:spLocks/>
            </p:cNvSpPr>
            <p:nvPr/>
          </p:nvSpPr>
          <p:spPr bwMode="auto">
            <a:xfrm>
              <a:off x="2403" y="3182"/>
              <a:ext cx="67" cy="68"/>
            </a:xfrm>
            <a:custGeom>
              <a:avLst/>
              <a:gdLst>
                <a:gd name="T0" fmla="*/ 26 w 67"/>
                <a:gd name="T1" fmla="*/ 0 h 68"/>
                <a:gd name="T2" fmla="*/ 19 w 67"/>
                <a:gd name="T3" fmla="*/ 1 h 68"/>
                <a:gd name="T4" fmla="*/ 11 w 67"/>
                <a:gd name="T5" fmla="*/ 6 h 68"/>
                <a:gd name="T6" fmla="*/ 7 w 67"/>
                <a:gd name="T7" fmla="*/ 4 h 68"/>
                <a:gd name="T8" fmla="*/ 1 w 67"/>
                <a:gd name="T9" fmla="*/ 14 h 68"/>
                <a:gd name="T10" fmla="*/ 0 w 67"/>
                <a:gd name="T11" fmla="*/ 19 h 68"/>
                <a:gd name="T12" fmla="*/ 3 w 67"/>
                <a:gd name="T13" fmla="*/ 26 h 68"/>
                <a:gd name="T14" fmla="*/ 11 w 67"/>
                <a:gd name="T15" fmla="*/ 29 h 68"/>
                <a:gd name="T16" fmla="*/ 15 w 67"/>
                <a:gd name="T17" fmla="*/ 36 h 68"/>
                <a:gd name="T18" fmla="*/ 12 w 67"/>
                <a:gd name="T19" fmla="*/ 45 h 68"/>
                <a:gd name="T20" fmla="*/ 14 w 67"/>
                <a:gd name="T21" fmla="*/ 52 h 68"/>
                <a:gd name="T22" fmla="*/ 17 w 67"/>
                <a:gd name="T23" fmla="*/ 55 h 68"/>
                <a:gd name="T24" fmla="*/ 21 w 67"/>
                <a:gd name="T25" fmla="*/ 56 h 68"/>
                <a:gd name="T26" fmla="*/ 22 w 67"/>
                <a:gd name="T27" fmla="*/ 51 h 68"/>
                <a:gd name="T28" fmla="*/ 26 w 67"/>
                <a:gd name="T29" fmla="*/ 46 h 68"/>
                <a:gd name="T30" fmla="*/ 28 w 67"/>
                <a:gd name="T31" fmla="*/ 50 h 68"/>
                <a:gd name="T32" fmla="*/ 32 w 67"/>
                <a:gd name="T33" fmla="*/ 54 h 68"/>
                <a:gd name="T34" fmla="*/ 34 w 67"/>
                <a:gd name="T35" fmla="*/ 62 h 68"/>
                <a:gd name="T36" fmla="*/ 35 w 67"/>
                <a:gd name="T37" fmla="*/ 68 h 68"/>
                <a:gd name="T38" fmla="*/ 38 w 67"/>
                <a:gd name="T39" fmla="*/ 68 h 68"/>
                <a:gd name="T40" fmla="*/ 40 w 67"/>
                <a:gd name="T41" fmla="*/ 58 h 68"/>
                <a:gd name="T42" fmla="*/ 45 w 67"/>
                <a:gd name="T43" fmla="*/ 55 h 68"/>
                <a:gd name="T44" fmla="*/ 48 w 67"/>
                <a:gd name="T45" fmla="*/ 61 h 68"/>
                <a:gd name="T46" fmla="*/ 52 w 67"/>
                <a:gd name="T47" fmla="*/ 64 h 68"/>
                <a:gd name="T48" fmla="*/ 56 w 67"/>
                <a:gd name="T49" fmla="*/ 67 h 68"/>
                <a:gd name="T50" fmla="*/ 55 w 67"/>
                <a:gd name="T51" fmla="*/ 55 h 68"/>
                <a:gd name="T52" fmla="*/ 52 w 67"/>
                <a:gd name="T53" fmla="*/ 40 h 68"/>
                <a:gd name="T54" fmla="*/ 48 w 67"/>
                <a:gd name="T55" fmla="*/ 34 h 68"/>
                <a:gd name="T56" fmla="*/ 46 w 67"/>
                <a:gd name="T57" fmla="*/ 28 h 68"/>
                <a:gd name="T58" fmla="*/ 56 w 67"/>
                <a:gd name="T59" fmla="*/ 34 h 68"/>
                <a:gd name="T60" fmla="*/ 57 w 67"/>
                <a:gd name="T61" fmla="*/ 37 h 68"/>
                <a:gd name="T62" fmla="*/ 59 w 67"/>
                <a:gd name="T63" fmla="*/ 36 h 68"/>
                <a:gd name="T64" fmla="*/ 63 w 67"/>
                <a:gd name="T65" fmla="*/ 33 h 68"/>
                <a:gd name="T66" fmla="*/ 67 w 67"/>
                <a:gd name="T67" fmla="*/ 33 h 68"/>
                <a:gd name="T68" fmla="*/ 66 w 67"/>
                <a:gd name="T69" fmla="*/ 29 h 68"/>
                <a:gd name="T70" fmla="*/ 60 w 67"/>
                <a:gd name="T71" fmla="*/ 25 h 68"/>
                <a:gd name="T72" fmla="*/ 56 w 67"/>
                <a:gd name="T73" fmla="*/ 17 h 68"/>
                <a:gd name="T74" fmla="*/ 56 w 67"/>
                <a:gd name="T75" fmla="*/ 13 h 68"/>
                <a:gd name="T76" fmla="*/ 52 w 67"/>
                <a:gd name="T77" fmla="*/ 10 h 68"/>
                <a:gd name="T78" fmla="*/ 39 w 67"/>
                <a:gd name="T79" fmla="*/ 6 h 68"/>
                <a:gd name="T80" fmla="*/ 32 w 67"/>
                <a:gd name="T81" fmla="*/ 4 h 68"/>
                <a:gd name="T82" fmla="*/ 29 w 67"/>
                <a:gd name="T83" fmla="*/ 4 h 68"/>
                <a:gd name="T84" fmla="*/ 26 w 67"/>
                <a:gd name="T85" fmla="*/ 0 h 6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7"/>
                <a:gd name="T130" fmla="*/ 0 h 68"/>
                <a:gd name="T131" fmla="*/ 67 w 67"/>
                <a:gd name="T132" fmla="*/ 68 h 6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7" h="68">
                  <a:moveTo>
                    <a:pt x="26" y="0"/>
                  </a:moveTo>
                  <a:lnTo>
                    <a:pt x="19" y="1"/>
                  </a:lnTo>
                  <a:lnTo>
                    <a:pt x="11" y="6"/>
                  </a:lnTo>
                  <a:lnTo>
                    <a:pt x="7" y="4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3" y="26"/>
                  </a:lnTo>
                  <a:lnTo>
                    <a:pt x="11" y="29"/>
                  </a:lnTo>
                  <a:lnTo>
                    <a:pt x="15" y="36"/>
                  </a:lnTo>
                  <a:lnTo>
                    <a:pt x="12" y="45"/>
                  </a:lnTo>
                  <a:lnTo>
                    <a:pt x="14" y="52"/>
                  </a:lnTo>
                  <a:lnTo>
                    <a:pt x="17" y="55"/>
                  </a:lnTo>
                  <a:lnTo>
                    <a:pt x="21" y="56"/>
                  </a:lnTo>
                  <a:lnTo>
                    <a:pt x="22" y="51"/>
                  </a:lnTo>
                  <a:lnTo>
                    <a:pt x="26" y="46"/>
                  </a:lnTo>
                  <a:lnTo>
                    <a:pt x="28" y="50"/>
                  </a:lnTo>
                  <a:lnTo>
                    <a:pt x="32" y="54"/>
                  </a:lnTo>
                  <a:lnTo>
                    <a:pt x="34" y="62"/>
                  </a:lnTo>
                  <a:lnTo>
                    <a:pt x="35" y="68"/>
                  </a:lnTo>
                  <a:lnTo>
                    <a:pt x="38" y="68"/>
                  </a:lnTo>
                  <a:lnTo>
                    <a:pt x="40" y="58"/>
                  </a:lnTo>
                  <a:lnTo>
                    <a:pt x="45" y="55"/>
                  </a:lnTo>
                  <a:lnTo>
                    <a:pt x="48" y="61"/>
                  </a:lnTo>
                  <a:lnTo>
                    <a:pt x="52" y="64"/>
                  </a:lnTo>
                  <a:lnTo>
                    <a:pt x="56" y="67"/>
                  </a:lnTo>
                  <a:lnTo>
                    <a:pt x="55" y="55"/>
                  </a:lnTo>
                  <a:lnTo>
                    <a:pt x="52" y="40"/>
                  </a:lnTo>
                  <a:lnTo>
                    <a:pt x="48" y="34"/>
                  </a:lnTo>
                  <a:lnTo>
                    <a:pt x="46" y="28"/>
                  </a:lnTo>
                  <a:lnTo>
                    <a:pt x="56" y="34"/>
                  </a:lnTo>
                  <a:lnTo>
                    <a:pt x="57" y="37"/>
                  </a:lnTo>
                  <a:lnTo>
                    <a:pt x="59" y="36"/>
                  </a:lnTo>
                  <a:lnTo>
                    <a:pt x="63" y="33"/>
                  </a:lnTo>
                  <a:lnTo>
                    <a:pt x="67" y="33"/>
                  </a:lnTo>
                  <a:lnTo>
                    <a:pt x="66" y="29"/>
                  </a:lnTo>
                  <a:lnTo>
                    <a:pt x="60" y="25"/>
                  </a:lnTo>
                  <a:lnTo>
                    <a:pt x="56" y="17"/>
                  </a:lnTo>
                  <a:lnTo>
                    <a:pt x="56" y="13"/>
                  </a:lnTo>
                  <a:lnTo>
                    <a:pt x="52" y="10"/>
                  </a:lnTo>
                  <a:lnTo>
                    <a:pt x="39" y="6"/>
                  </a:lnTo>
                  <a:lnTo>
                    <a:pt x="32" y="4"/>
                  </a:lnTo>
                  <a:lnTo>
                    <a:pt x="29" y="4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77" name="Freeform 152"/>
            <p:cNvSpPr>
              <a:spLocks/>
            </p:cNvSpPr>
            <p:nvPr/>
          </p:nvSpPr>
          <p:spPr bwMode="auto">
            <a:xfrm>
              <a:off x="2403" y="3182"/>
              <a:ext cx="67" cy="68"/>
            </a:xfrm>
            <a:custGeom>
              <a:avLst/>
              <a:gdLst>
                <a:gd name="T0" fmla="*/ 26 w 67"/>
                <a:gd name="T1" fmla="*/ 0 h 68"/>
                <a:gd name="T2" fmla="*/ 19 w 67"/>
                <a:gd name="T3" fmla="*/ 1 h 68"/>
                <a:gd name="T4" fmla="*/ 11 w 67"/>
                <a:gd name="T5" fmla="*/ 6 h 68"/>
                <a:gd name="T6" fmla="*/ 7 w 67"/>
                <a:gd name="T7" fmla="*/ 4 h 68"/>
                <a:gd name="T8" fmla="*/ 1 w 67"/>
                <a:gd name="T9" fmla="*/ 14 h 68"/>
                <a:gd name="T10" fmla="*/ 0 w 67"/>
                <a:gd name="T11" fmla="*/ 19 h 68"/>
                <a:gd name="T12" fmla="*/ 3 w 67"/>
                <a:gd name="T13" fmla="*/ 26 h 68"/>
                <a:gd name="T14" fmla="*/ 11 w 67"/>
                <a:gd name="T15" fmla="*/ 29 h 68"/>
                <a:gd name="T16" fmla="*/ 15 w 67"/>
                <a:gd name="T17" fmla="*/ 36 h 68"/>
                <a:gd name="T18" fmla="*/ 12 w 67"/>
                <a:gd name="T19" fmla="*/ 45 h 68"/>
                <a:gd name="T20" fmla="*/ 14 w 67"/>
                <a:gd name="T21" fmla="*/ 52 h 68"/>
                <a:gd name="T22" fmla="*/ 17 w 67"/>
                <a:gd name="T23" fmla="*/ 55 h 68"/>
                <a:gd name="T24" fmla="*/ 21 w 67"/>
                <a:gd name="T25" fmla="*/ 56 h 68"/>
                <a:gd name="T26" fmla="*/ 22 w 67"/>
                <a:gd name="T27" fmla="*/ 51 h 68"/>
                <a:gd name="T28" fmla="*/ 26 w 67"/>
                <a:gd name="T29" fmla="*/ 46 h 68"/>
                <a:gd name="T30" fmla="*/ 28 w 67"/>
                <a:gd name="T31" fmla="*/ 50 h 68"/>
                <a:gd name="T32" fmla="*/ 32 w 67"/>
                <a:gd name="T33" fmla="*/ 54 h 68"/>
                <a:gd name="T34" fmla="*/ 34 w 67"/>
                <a:gd name="T35" fmla="*/ 62 h 68"/>
                <a:gd name="T36" fmla="*/ 35 w 67"/>
                <a:gd name="T37" fmla="*/ 68 h 68"/>
                <a:gd name="T38" fmla="*/ 38 w 67"/>
                <a:gd name="T39" fmla="*/ 68 h 68"/>
                <a:gd name="T40" fmla="*/ 40 w 67"/>
                <a:gd name="T41" fmla="*/ 58 h 68"/>
                <a:gd name="T42" fmla="*/ 45 w 67"/>
                <a:gd name="T43" fmla="*/ 55 h 68"/>
                <a:gd name="T44" fmla="*/ 48 w 67"/>
                <a:gd name="T45" fmla="*/ 61 h 68"/>
                <a:gd name="T46" fmla="*/ 52 w 67"/>
                <a:gd name="T47" fmla="*/ 64 h 68"/>
                <a:gd name="T48" fmla="*/ 56 w 67"/>
                <a:gd name="T49" fmla="*/ 67 h 68"/>
                <a:gd name="T50" fmla="*/ 55 w 67"/>
                <a:gd name="T51" fmla="*/ 55 h 68"/>
                <a:gd name="T52" fmla="*/ 52 w 67"/>
                <a:gd name="T53" fmla="*/ 40 h 68"/>
                <a:gd name="T54" fmla="*/ 48 w 67"/>
                <a:gd name="T55" fmla="*/ 34 h 68"/>
                <a:gd name="T56" fmla="*/ 46 w 67"/>
                <a:gd name="T57" fmla="*/ 28 h 68"/>
                <a:gd name="T58" fmla="*/ 56 w 67"/>
                <a:gd name="T59" fmla="*/ 34 h 68"/>
                <a:gd name="T60" fmla="*/ 57 w 67"/>
                <a:gd name="T61" fmla="*/ 37 h 68"/>
                <a:gd name="T62" fmla="*/ 59 w 67"/>
                <a:gd name="T63" fmla="*/ 36 h 68"/>
                <a:gd name="T64" fmla="*/ 63 w 67"/>
                <a:gd name="T65" fmla="*/ 33 h 68"/>
                <a:gd name="T66" fmla="*/ 67 w 67"/>
                <a:gd name="T67" fmla="*/ 33 h 68"/>
                <a:gd name="T68" fmla="*/ 66 w 67"/>
                <a:gd name="T69" fmla="*/ 29 h 68"/>
                <a:gd name="T70" fmla="*/ 60 w 67"/>
                <a:gd name="T71" fmla="*/ 25 h 68"/>
                <a:gd name="T72" fmla="*/ 56 w 67"/>
                <a:gd name="T73" fmla="*/ 17 h 68"/>
                <a:gd name="T74" fmla="*/ 56 w 67"/>
                <a:gd name="T75" fmla="*/ 13 h 68"/>
                <a:gd name="T76" fmla="*/ 52 w 67"/>
                <a:gd name="T77" fmla="*/ 10 h 68"/>
                <a:gd name="T78" fmla="*/ 39 w 67"/>
                <a:gd name="T79" fmla="*/ 6 h 68"/>
                <a:gd name="T80" fmla="*/ 32 w 67"/>
                <a:gd name="T81" fmla="*/ 4 h 68"/>
                <a:gd name="T82" fmla="*/ 29 w 67"/>
                <a:gd name="T83" fmla="*/ 4 h 68"/>
                <a:gd name="T84" fmla="*/ 26 w 67"/>
                <a:gd name="T85" fmla="*/ 0 h 6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7"/>
                <a:gd name="T130" fmla="*/ 0 h 68"/>
                <a:gd name="T131" fmla="*/ 67 w 67"/>
                <a:gd name="T132" fmla="*/ 68 h 6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7" h="68">
                  <a:moveTo>
                    <a:pt x="26" y="0"/>
                  </a:moveTo>
                  <a:lnTo>
                    <a:pt x="19" y="1"/>
                  </a:lnTo>
                  <a:lnTo>
                    <a:pt x="11" y="6"/>
                  </a:lnTo>
                  <a:lnTo>
                    <a:pt x="7" y="4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3" y="26"/>
                  </a:lnTo>
                  <a:lnTo>
                    <a:pt x="11" y="29"/>
                  </a:lnTo>
                  <a:lnTo>
                    <a:pt x="15" y="36"/>
                  </a:lnTo>
                  <a:lnTo>
                    <a:pt x="12" y="45"/>
                  </a:lnTo>
                  <a:lnTo>
                    <a:pt x="14" y="52"/>
                  </a:lnTo>
                  <a:lnTo>
                    <a:pt x="17" y="55"/>
                  </a:lnTo>
                  <a:lnTo>
                    <a:pt x="21" y="56"/>
                  </a:lnTo>
                  <a:lnTo>
                    <a:pt x="22" y="51"/>
                  </a:lnTo>
                  <a:lnTo>
                    <a:pt x="26" y="46"/>
                  </a:lnTo>
                  <a:lnTo>
                    <a:pt x="28" y="50"/>
                  </a:lnTo>
                  <a:lnTo>
                    <a:pt x="32" y="54"/>
                  </a:lnTo>
                  <a:lnTo>
                    <a:pt x="34" y="62"/>
                  </a:lnTo>
                  <a:lnTo>
                    <a:pt x="35" y="68"/>
                  </a:lnTo>
                  <a:lnTo>
                    <a:pt x="38" y="68"/>
                  </a:lnTo>
                  <a:lnTo>
                    <a:pt x="40" y="58"/>
                  </a:lnTo>
                  <a:lnTo>
                    <a:pt x="45" y="55"/>
                  </a:lnTo>
                  <a:lnTo>
                    <a:pt x="48" y="61"/>
                  </a:lnTo>
                  <a:lnTo>
                    <a:pt x="52" y="64"/>
                  </a:lnTo>
                  <a:lnTo>
                    <a:pt x="56" y="67"/>
                  </a:lnTo>
                  <a:lnTo>
                    <a:pt x="55" y="55"/>
                  </a:lnTo>
                  <a:lnTo>
                    <a:pt x="52" y="40"/>
                  </a:lnTo>
                  <a:lnTo>
                    <a:pt x="48" y="34"/>
                  </a:lnTo>
                  <a:lnTo>
                    <a:pt x="46" y="28"/>
                  </a:lnTo>
                  <a:lnTo>
                    <a:pt x="56" y="34"/>
                  </a:lnTo>
                  <a:lnTo>
                    <a:pt x="57" y="37"/>
                  </a:lnTo>
                  <a:lnTo>
                    <a:pt x="59" y="36"/>
                  </a:lnTo>
                  <a:lnTo>
                    <a:pt x="63" y="33"/>
                  </a:lnTo>
                  <a:lnTo>
                    <a:pt x="67" y="33"/>
                  </a:lnTo>
                  <a:lnTo>
                    <a:pt x="66" y="29"/>
                  </a:lnTo>
                  <a:lnTo>
                    <a:pt x="60" y="25"/>
                  </a:lnTo>
                  <a:lnTo>
                    <a:pt x="56" y="17"/>
                  </a:lnTo>
                  <a:lnTo>
                    <a:pt x="56" y="13"/>
                  </a:lnTo>
                  <a:lnTo>
                    <a:pt x="52" y="10"/>
                  </a:lnTo>
                  <a:lnTo>
                    <a:pt x="39" y="6"/>
                  </a:lnTo>
                  <a:lnTo>
                    <a:pt x="32" y="4"/>
                  </a:lnTo>
                  <a:lnTo>
                    <a:pt x="29" y="4"/>
                  </a:lnTo>
                  <a:lnTo>
                    <a:pt x="26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45" name="Group 156"/>
          <p:cNvGrpSpPr>
            <a:grpSpLocks/>
          </p:cNvGrpSpPr>
          <p:nvPr/>
        </p:nvGrpSpPr>
        <p:grpSpPr bwMode="auto">
          <a:xfrm>
            <a:off x="4983163" y="5045075"/>
            <a:ext cx="19050" cy="20638"/>
            <a:chOff x="2381" y="3178"/>
            <a:chExt cx="12" cy="13"/>
          </a:xfrm>
        </p:grpSpPr>
        <p:sp>
          <p:nvSpPr>
            <p:cNvPr id="34374" name="Freeform 154"/>
            <p:cNvSpPr>
              <a:spLocks/>
            </p:cNvSpPr>
            <p:nvPr/>
          </p:nvSpPr>
          <p:spPr bwMode="auto">
            <a:xfrm>
              <a:off x="2381" y="3178"/>
              <a:ext cx="12" cy="13"/>
            </a:xfrm>
            <a:custGeom>
              <a:avLst/>
              <a:gdLst>
                <a:gd name="T0" fmla="*/ 11 w 12"/>
                <a:gd name="T1" fmla="*/ 13 h 13"/>
                <a:gd name="T2" fmla="*/ 12 w 12"/>
                <a:gd name="T3" fmla="*/ 8 h 13"/>
                <a:gd name="T4" fmla="*/ 8 w 12"/>
                <a:gd name="T5" fmla="*/ 5 h 13"/>
                <a:gd name="T6" fmla="*/ 7 w 12"/>
                <a:gd name="T7" fmla="*/ 0 h 13"/>
                <a:gd name="T8" fmla="*/ 4 w 12"/>
                <a:gd name="T9" fmla="*/ 1 h 13"/>
                <a:gd name="T10" fmla="*/ 0 w 12"/>
                <a:gd name="T11" fmla="*/ 6 h 13"/>
                <a:gd name="T12" fmla="*/ 4 w 12"/>
                <a:gd name="T13" fmla="*/ 10 h 13"/>
                <a:gd name="T14" fmla="*/ 8 w 12"/>
                <a:gd name="T15" fmla="*/ 11 h 13"/>
                <a:gd name="T16" fmla="*/ 11 w 12"/>
                <a:gd name="T17" fmla="*/ 13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13"/>
                <a:gd name="T29" fmla="*/ 12 w 12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13">
                  <a:moveTo>
                    <a:pt x="11" y="13"/>
                  </a:moveTo>
                  <a:lnTo>
                    <a:pt x="12" y="8"/>
                  </a:lnTo>
                  <a:lnTo>
                    <a:pt x="8" y="5"/>
                  </a:lnTo>
                  <a:lnTo>
                    <a:pt x="7" y="0"/>
                  </a:lnTo>
                  <a:lnTo>
                    <a:pt x="4" y="1"/>
                  </a:lnTo>
                  <a:lnTo>
                    <a:pt x="0" y="6"/>
                  </a:lnTo>
                  <a:lnTo>
                    <a:pt x="4" y="10"/>
                  </a:lnTo>
                  <a:lnTo>
                    <a:pt x="8" y="11"/>
                  </a:lnTo>
                  <a:lnTo>
                    <a:pt x="11" y="13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75" name="Freeform 155"/>
            <p:cNvSpPr>
              <a:spLocks/>
            </p:cNvSpPr>
            <p:nvPr/>
          </p:nvSpPr>
          <p:spPr bwMode="auto">
            <a:xfrm>
              <a:off x="2381" y="3178"/>
              <a:ext cx="12" cy="13"/>
            </a:xfrm>
            <a:custGeom>
              <a:avLst/>
              <a:gdLst>
                <a:gd name="T0" fmla="*/ 11 w 12"/>
                <a:gd name="T1" fmla="*/ 13 h 13"/>
                <a:gd name="T2" fmla="*/ 12 w 12"/>
                <a:gd name="T3" fmla="*/ 8 h 13"/>
                <a:gd name="T4" fmla="*/ 8 w 12"/>
                <a:gd name="T5" fmla="*/ 5 h 13"/>
                <a:gd name="T6" fmla="*/ 7 w 12"/>
                <a:gd name="T7" fmla="*/ 0 h 13"/>
                <a:gd name="T8" fmla="*/ 4 w 12"/>
                <a:gd name="T9" fmla="*/ 1 h 13"/>
                <a:gd name="T10" fmla="*/ 0 w 12"/>
                <a:gd name="T11" fmla="*/ 6 h 13"/>
                <a:gd name="T12" fmla="*/ 4 w 12"/>
                <a:gd name="T13" fmla="*/ 10 h 13"/>
                <a:gd name="T14" fmla="*/ 8 w 12"/>
                <a:gd name="T15" fmla="*/ 11 h 13"/>
                <a:gd name="T16" fmla="*/ 11 w 12"/>
                <a:gd name="T17" fmla="*/ 13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2"/>
                <a:gd name="T28" fmla="*/ 0 h 13"/>
                <a:gd name="T29" fmla="*/ 12 w 12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2" h="13">
                  <a:moveTo>
                    <a:pt x="11" y="13"/>
                  </a:moveTo>
                  <a:lnTo>
                    <a:pt x="12" y="8"/>
                  </a:lnTo>
                  <a:lnTo>
                    <a:pt x="8" y="5"/>
                  </a:lnTo>
                  <a:lnTo>
                    <a:pt x="7" y="0"/>
                  </a:lnTo>
                  <a:lnTo>
                    <a:pt x="4" y="1"/>
                  </a:lnTo>
                  <a:lnTo>
                    <a:pt x="0" y="6"/>
                  </a:lnTo>
                  <a:lnTo>
                    <a:pt x="4" y="10"/>
                  </a:lnTo>
                  <a:lnTo>
                    <a:pt x="8" y="11"/>
                  </a:lnTo>
                  <a:lnTo>
                    <a:pt x="11" y="13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46" name="Group 159"/>
          <p:cNvGrpSpPr>
            <a:grpSpLocks/>
          </p:cNvGrpSpPr>
          <p:nvPr/>
        </p:nvGrpSpPr>
        <p:grpSpPr bwMode="auto">
          <a:xfrm>
            <a:off x="5100638" y="5008563"/>
            <a:ext cx="77787" cy="63500"/>
            <a:chOff x="2455" y="3155"/>
            <a:chExt cx="49" cy="40"/>
          </a:xfrm>
        </p:grpSpPr>
        <p:sp>
          <p:nvSpPr>
            <p:cNvPr id="34372" name="Freeform 157"/>
            <p:cNvSpPr>
              <a:spLocks/>
            </p:cNvSpPr>
            <p:nvPr/>
          </p:nvSpPr>
          <p:spPr bwMode="auto">
            <a:xfrm>
              <a:off x="2455" y="3155"/>
              <a:ext cx="49" cy="40"/>
            </a:xfrm>
            <a:custGeom>
              <a:avLst/>
              <a:gdLst>
                <a:gd name="T0" fmla="*/ 47 w 49"/>
                <a:gd name="T1" fmla="*/ 35 h 40"/>
                <a:gd name="T2" fmla="*/ 49 w 49"/>
                <a:gd name="T3" fmla="*/ 37 h 40"/>
                <a:gd name="T4" fmla="*/ 48 w 49"/>
                <a:gd name="T5" fmla="*/ 33 h 40"/>
                <a:gd name="T6" fmla="*/ 40 w 49"/>
                <a:gd name="T7" fmla="*/ 30 h 40"/>
                <a:gd name="T8" fmla="*/ 37 w 49"/>
                <a:gd name="T9" fmla="*/ 22 h 40"/>
                <a:gd name="T10" fmla="*/ 37 w 49"/>
                <a:gd name="T11" fmla="*/ 18 h 40"/>
                <a:gd name="T12" fmla="*/ 34 w 49"/>
                <a:gd name="T13" fmla="*/ 15 h 40"/>
                <a:gd name="T14" fmla="*/ 25 w 49"/>
                <a:gd name="T15" fmla="*/ 13 h 40"/>
                <a:gd name="T16" fmla="*/ 20 w 49"/>
                <a:gd name="T17" fmla="*/ 10 h 40"/>
                <a:gd name="T18" fmla="*/ 11 w 49"/>
                <a:gd name="T19" fmla="*/ 3 h 40"/>
                <a:gd name="T20" fmla="*/ 10 w 49"/>
                <a:gd name="T21" fmla="*/ 0 h 40"/>
                <a:gd name="T22" fmla="*/ 7 w 49"/>
                <a:gd name="T23" fmla="*/ 0 h 40"/>
                <a:gd name="T24" fmla="*/ 2 w 49"/>
                <a:gd name="T25" fmla="*/ 5 h 40"/>
                <a:gd name="T26" fmla="*/ 0 w 49"/>
                <a:gd name="T27" fmla="*/ 7 h 40"/>
                <a:gd name="T28" fmla="*/ 5 w 49"/>
                <a:gd name="T29" fmla="*/ 7 h 40"/>
                <a:gd name="T30" fmla="*/ 11 w 49"/>
                <a:gd name="T31" fmla="*/ 13 h 40"/>
                <a:gd name="T32" fmla="*/ 16 w 49"/>
                <a:gd name="T33" fmla="*/ 17 h 40"/>
                <a:gd name="T34" fmla="*/ 18 w 49"/>
                <a:gd name="T35" fmla="*/ 21 h 40"/>
                <a:gd name="T36" fmla="*/ 22 w 49"/>
                <a:gd name="T37" fmla="*/ 24 h 40"/>
                <a:gd name="T38" fmla="*/ 28 w 49"/>
                <a:gd name="T39" fmla="*/ 24 h 40"/>
                <a:gd name="T40" fmla="*/ 34 w 49"/>
                <a:gd name="T41" fmla="*/ 29 h 40"/>
                <a:gd name="T42" fmla="*/ 36 w 49"/>
                <a:gd name="T43" fmla="*/ 32 h 40"/>
                <a:gd name="T44" fmla="*/ 38 w 49"/>
                <a:gd name="T45" fmla="*/ 37 h 40"/>
                <a:gd name="T46" fmla="*/ 41 w 49"/>
                <a:gd name="T47" fmla="*/ 39 h 40"/>
                <a:gd name="T48" fmla="*/ 47 w 49"/>
                <a:gd name="T49" fmla="*/ 40 h 40"/>
                <a:gd name="T50" fmla="*/ 47 w 49"/>
                <a:gd name="T51" fmla="*/ 35 h 4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9"/>
                <a:gd name="T79" fmla="*/ 0 h 40"/>
                <a:gd name="T80" fmla="*/ 49 w 49"/>
                <a:gd name="T81" fmla="*/ 40 h 4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9" h="40">
                  <a:moveTo>
                    <a:pt x="47" y="35"/>
                  </a:moveTo>
                  <a:lnTo>
                    <a:pt x="49" y="37"/>
                  </a:lnTo>
                  <a:lnTo>
                    <a:pt x="48" y="33"/>
                  </a:lnTo>
                  <a:lnTo>
                    <a:pt x="40" y="30"/>
                  </a:lnTo>
                  <a:lnTo>
                    <a:pt x="37" y="22"/>
                  </a:lnTo>
                  <a:lnTo>
                    <a:pt x="37" y="18"/>
                  </a:lnTo>
                  <a:lnTo>
                    <a:pt x="34" y="15"/>
                  </a:lnTo>
                  <a:lnTo>
                    <a:pt x="25" y="13"/>
                  </a:lnTo>
                  <a:lnTo>
                    <a:pt x="20" y="10"/>
                  </a:lnTo>
                  <a:lnTo>
                    <a:pt x="11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2" y="5"/>
                  </a:lnTo>
                  <a:lnTo>
                    <a:pt x="0" y="7"/>
                  </a:lnTo>
                  <a:lnTo>
                    <a:pt x="5" y="7"/>
                  </a:lnTo>
                  <a:lnTo>
                    <a:pt x="11" y="13"/>
                  </a:lnTo>
                  <a:lnTo>
                    <a:pt x="16" y="17"/>
                  </a:lnTo>
                  <a:lnTo>
                    <a:pt x="18" y="21"/>
                  </a:lnTo>
                  <a:lnTo>
                    <a:pt x="22" y="24"/>
                  </a:lnTo>
                  <a:lnTo>
                    <a:pt x="28" y="24"/>
                  </a:lnTo>
                  <a:lnTo>
                    <a:pt x="34" y="29"/>
                  </a:lnTo>
                  <a:lnTo>
                    <a:pt x="36" y="32"/>
                  </a:lnTo>
                  <a:lnTo>
                    <a:pt x="38" y="37"/>
                  </a:lnTo>
                  <a:lnTo>
                    <a:pt x="41" y="39"/>
                  </a:lnTo>
                  <a:lnTo>
                    <a:pt x="47" y="40"/>
                  </a:lnTo>
                  <a:lnTo>
                    <a:pt x="47" y="35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73" name="Freeform 158"/>
            <p:cNvSpPr>
              <a:spLocks/>
            </p:cNvSpPr>
            <p:nvPr/>
          </p:nvSpPr>
          <p:spPr bwMode="auto">
            <a:xfrm>
              <a:off x="2455" y="3155"/>
              <a:ext cx="49" cy="40"/>
            </a:xfrm>
            <a:custGeom>
              <a:avLst/>
              <a:gdLst>
                <a:gd name="T0" fmla="*/ 47 w 49"/>
                <a:gd name="T1" fmla="*/ 35 h 40"/>
                <a:gd name="T2" fmla="*/ 49 w 49"/>
                <a:gd name="T3" fmla="*/ 37 h 40"/>
                <a:gd name="T4" fmla="*/ 48 w 49"/>
                <a:gd name="T5" fmla="*/ 33 h 40"/>
                <a:gd name="T6" fmla="*/ 40 w 49"/>
                <a:gd name="T7" fmla="*/ 30 h 40"/>
                <a:gd name="T8" fmla="*/ 37 w 49"/>
                <a:gd name="T9" fmla="*/ 22 h 40"/>
                <a:gd name="T10" fmla="*/ 37 w 49"/>
                <a:gd name="T11" fmla="*/ 18 h 40"/>
                <a:gd name="T12" fmla="*/ 34 w 49"/>
                <a:gd name="T13" fmla="*/ 15 h 40"/>
                <a:gd name="T14" fmla="*/ 25 w 49"/>
                <a:gd name="T15" fmla="*/ 13 h 40"/>
                <a:gd name="T16" fmla="*/ 20 w 49"/>
                <a:gd name="T17" fmla="*/ 10 h 40"/>
                <a:gd name="T18" fmla="*/ 11 w 49"/>
                <a:gd name="T19" fmla="*/ 3 h 40"/>
                <a:gd name="T20" fmla="*/ 10 w 49"/>
                <a:gd name="T21" fmla="*/ 0 h 40"/>
                <a:gd name="T22" fmla="*/ 7 w 49"/>
                <a:gd name="T23" fmla="*/ 0 h 40"/>
                <a:gd name="T24" fmla="*/ 2 w 49"/>
                <a:gd name="T25" fmla="*/ 5 h 40"/>
                <a:gd name="T26" fmla="*/ 0 w 49"/>
                <a:gd name="T27" fmla="*/ 7 h 40"/>
                <a:gd name="T28" fmla="*/ 5 w 49"/>
                <a:gd name="T29" fmla="*/ 7 h 40"/>
                <a:gd name="T30" fmla="*/ 11 w 49"/>
                <a:gd name="T31" fmla="*/ 13 h 40"/>
                <a:gd name="T32" fmla="*/ 16 w 49"/>
                <a:gd name="T33" fmla="*/ 17 h 40"/>
                <a:gd name="T34" fmla="*/ 18 w 49"/>
                <a:gd name="T35" fmla="*/ 21 h 40"/>
                <a:gd name="T36" fmla="*/ 22 w 49"/>
                <a:gd name="T37" fmla="*/ 24 h 40"/>
                <a:gd name="T38" fmla="*/ 28 w 49"/>
                <a:gd name="T39" fmla="*/ 24 h 40"/>
                <a:gd name="T40" fmla="*/ 34 w 49"/>
                <a:gd name="T41" fmla="*/ 29 h 40"/>
                <a:gd name="T42" fmla="*/ 36 w 49"/>
                <a:gd name="T43" fmla="*/ 32 h 40"/>
                <a:gd name="T44" fmla="*/ 38 w 49"/>
                <a:gd name="T45" fmla="*/ 37 h 40"/>
                <a:gd name="T46" fmla="*/ 41 w 49"/>
                <a:gd name="T47" fmla="*/ 39 h 40"/>
                <a:gd name="T48" fmla="*/ 47 w 49"/>
                <a:gd name="T49" fmla="*/ 40 h 40"/>
                <a:gd name="T50" fmla="*/ 47 w 49"/>
                <a:gd name="T51" fmla="*/ 35 h 4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9"/>
                <a:gd name="T79" fmla="*/ 0 h 40"/>
                <a:gd name="T80" fmla="*/ 49 w 49"/>
                <a:gd name="T81" fmla="*/ 40 h 4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9" h="40">
                  <a:moveTo>
                    <a:pt x="47" y="35"/>
                  </a:moveTo>
                  <a:lnTo>
                    <a:pt x="49" y="37"/>
                  </a:lnTo>
                  <a:lnTo>
                    <a:pt x="48" y="33"/>
                  </a:lnTo>
                  <a:lnTo>
                    <a:pt x="40" y="30"/>
                  </a:lnTo>
                  <a:lnTo>
                    <a:pt x="37" y="22"/>
                  </a:lnTo>
                  <a:lnTo>
                    <a:pt x="37" y="18"/>
                  </a:lnTo>
                  <a:lnTo>
                    <a:pt x="34" y="15"/>
                  </a:lnTo>
                  <a:lnTo>
                    <a:pt x="25" y="13"/>
                  </a:lnTo>
                  <a:lnTo>
                    <a:pt x="20" y="10"/>
                  </a:lnTo>
                  <a:lnTo>
                    <a:pt x="11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2" y="5"/>
                  </a:lnTo>
                  <a:lnTo>
                    <a:pt x="0" y="7"/>
                  </a:lnTo>
                  <a:lnTo>
                    <a:pt x="5" y="7"/>
                  </a:lnTo>
                  <a:lnTo>
                    <a:pt x="11" y="13"/>
                  </a:lnTo>
                  <a:lnTo>
                    <a:pt x="16" y="17"/>
                  </a:lnTo>
                  <a:lnTo>
                    <a:pt x="18" y="21"/>
                  </a:lnTo>
                  <a:lnTo>
                    <a:pt x="22" y="24"/>
                  </a:lnTo>
                  <a:lnTo>
                    <a:pt x="28" y="24"/>
                  </a:lnTo>
                  <a:lnTo>
                    <a:pt x="34" y="29"/>
                  </a:lnTo>
                  <a:lnTo>
                    <a:pt x="36" y="32"/>
                  </a:lnTo>
                  <a:lnTo>
                    <a:pt x="38" y="37"/>
                  </a:lnTo>
                  <a:lnTo>
                    <a:pt x="41" y="39"/>
                  </a:lnTo>
                  <a:lnTo>
                    <a:pt x="47" y="40"/>
                  </a:lnTo>
                  <a:lnTo>
                    <a:pt x="47" y="35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47" name="Group 162"/>
          <p:cNvGrpSpPr>
            <a:grpSpLocks/>
          </p:cNvGrpSpPr>
          <p:nvPr/>
        </p:nvGrpSpPr>
        <p:grpSpPr bwMode="auto">
          <a:xfrm>
            <a:off x="4949825" y="4965700"/>
            <a:ext cx="19050" cy="22225"/>
            <a:chOff x="2360" y="3128"/>
            <a:chExt cx="12" cy="14"/>
          </a:xfrm>
        </p:grpSpPr>
        <p:sp>
          <p:nvSpPr>
            <p:cNvPr id="34370" name="Freeform 160"/>
            <p:cNvSpPr>
              <a:spLocks/>
            </p:cNvSpPr>
            <p:nvPr/>
          </p:nvSpPr>
          <p:spPr bwMode="auto">
            <a:xfrm>
              <a:off x="2360" y="3128"/>
              <a:ext cx="12" cy="14"/>
            </a:xfrm>
            <a:custGeom>
              <a:avLst/>
              <a:gdLst>
                <a:gd name="T0" fmla="*/ 12 w 12"/>
                <a:gd name="T1" fmla="*/ 13 h 14"/>
                <a:gd name="T2" fmla="*/ 12 w 12"/>
                <a:gd name="T3" fmla="*/ 11 h 14"/>
                <a:gd name="T4" fmla="*/ 7 w 12"/>
                <a:gd name="T5" fmla="*/ 2 h 14"/>
                <a:gd name="T6" fmla="*/ 4 w 12"/>
                <a:gd name="T7" fmla="*/ 0 h 14"/>
                <a:gd name="T8" fmla="*/ 0 w 12"/>
                <a:gd name="T9" fmla="*/ 1 h 14"/>
                <a:gd name="T10" fmla="*/ 5 w 12"/>
                <a:gd name="T11" fmla="*/ 10 h 14"/>
                <a:gd name="T12" fmla="*/ 8 w 12"/>
                <a:gd name="T13" fmla="*/ 14 h 14"/>
                <a:gd name="T14" fmla="*/ 12 w 12"/>
                <a:gd name="T15" fmla="*/ 13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4"/>
                <a:gd name="T26" fmla="*/ 12 w 12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4">
                  <a:moveTo>
                    <a:pt x="12" y="13"/>
                  </a:moveTo>
                  <a:lnTo>
                    <a:pt x="12" y="11"/>
                  </a:lnTo>
                  <a:lnTo>
                    <a:pt x="7" y="2"/>
                  </a:lnTo>
                  <a:lnTo>
                    <a:pt x="4" y="0"/>
                  </a:lnTo>
                  <a:lnTo>
                    <a:pt x="0" y="1"/>
                  </a:lnTo>
                  <a:lnTo>
                    <a:pt x="5" y="10"/>
                  </a:lnTo>
                  <a:lnTo>
                    <a:pt x="8" y="14"/>
                  </a:lnTo>
                  <a:lnTo>
                    <a:pt x="12" y="13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71" name="Freeform 161"/>
            <p:cNvSpPr>
              <a:spLocks/>
            </p:cNvSpPr>
            <p:nvPr/>
          </p:nvSpPr>
          <p:spPr bwMode="auto">
            <a:xfrm>
              <a:off x="2360" y="3128"/>
              <a:ext cx="12" cy="14"/>
            </a:xfrm>
            <a:custGeom>
              <a:avLst/>
              <a:gdLst>
                <a:gd name="T0" fmla="*/ 12 w 12"/>
                <a:gd name="T1" fmla="*/ 13 h 14"/>
                <a:gd name="T2" fmla="*/ 12 w 12"/>
                <a:gd name="T3" fmla="*/ 11 h 14"/>
                <a:gd name="T4" fmla="*/ 7 w 12"/>
                <a:gd name="T5" fmla="*/ 2 h 14"/>
                <a:gd name="T6" fmla="*/ 4 w 12"/>
                <a:gd name="T7" fmla="*/ 0 h 14"/>
                <a:gd name="T8" fmla="*/ 0 w 12"/>
                <a:gd name="T9" fmla="*/ 1 h 14"/>
                <a:gd name="T10" fmla="*/ 5 w 12"/>
                <a:gd name="T11" fmla="*/ 10 h 14"/>
                <a:gd name="T12" fmla="*/ 8 w 12"/>
                <a:gd name="T13" fmla="*/ 14 h 14"/>
                <a:gd name="T14" fmla="*/ 12 w 12"/>
                <a:gd name="T15" fmla="*/ 13 h 1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2"/>
                <a:gd name="T25" fmla="*/ 0 h 14"/>
                <a:gd name="T26" fmla="*/ 12 w 12"/>
                <a:gd name="T27" fmla="*/ 14 h 1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2" h="14">
                  <a:moveTo>
                    <a:pt x="12" y="13"/>
                  </a:moveTo>
                  <a:lnTo>
                    <a:pt x="12" y="11"/>
                  </a:lnTo>
                  <a:lnTo>
                    <a:pt x="7" y="2"/>
                  </a:lnTo>
                  <a:lnTo>
                    <a:pt x="4" y="0"/>
                  </a:lnTo>
                  <a:lnTo>
                    <a:pt x="0" y="1"/>
                  </a:lnTo>
                  <a:lnTo>
                    <a:pt x="5" y="10"/>
                  </a:lnTo>
                  <a:lnTo>
                    <a:pt x="8" y="14"/>
                  </a:lnTo>
                  <a:lnTo>
                    <a:pt x="12" y="13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48" name="Group 165"/>
          <p:cNvGrpSpPr>
            <a:grpSpLocks/>
          </p:cNvGrpSpPr>
          <p:nvPr/>
        </p:nvGrpSpPr>
        <p:grpSpPr bwMode="auto">
          <a:xfrm>
            <a:off x="4973638" y="4843463"/>
            <a:ext cx="290512" cy="242887"/>
            <a:chOff x="2375" y="3051"/>
            <a:chExt cx="183" cy="153"/>
          </a:xfrm>
        </p:grpSpPr>
        <p:sp>
          <p:nvSpPr>
            <p:cNvPr id="34368" name="Freeform 163"/>
            <p:cNvSpPr>
              <a:spLocks/>
            </p:cNvSpPr>
            <p:nvPr/>
          </p:nvSpPr>
          <p:spPr bwMode="auto">
            <a:xfrm>
              <a:off x="2375" y="3051"/>
              <a:ext cx="183" cy="153"/>
            </a:xfrm>
            <a:custGeom>
              <a:avLst/>
              <a:gdLst>
                <a:gd name="T0" fmla="*/ 164 w 183"/>
                <a:gd name="T1" fmla="*/ 37 h 153"/>
                <a:gd name="T2" fmla="*/ 134 w 183"/>
                <a:gd name="T3" fmla="*/ 34 h 153"/>
                <a:gd name="T4" fmla="*/ 128 w 183"/>
                <a:gd name="T5" fmla="*/ 35 h 153"/>
                <a:gd name="T6" fmla="*/ 117 w 183"/>
                <a:gd name="T7" fmla="*/ 38 h 153"/>
                <a:gd name="T8" fmla="*/ 101 w 183"/>
                <a:gd name="T9" fmla="*/ 45 h 153"/>
                <a:gd name="T10" fmla="*/ 113 w 183"/>
                <a:gd name="T11" fmla="*/ 52 h 153"/>
                <a:gd name="T12" fmla="*/ 119 w 183"/>
                <a:gd name="T13" fmla="*/ 61 h 153"/>
                <a:gd name="T14" fmla="*/ 105 w 183"/>
                <a:gd name="T15" fmla="*/ 54 h 153"/>
                <a:gd name="T16" fmla="*/ 108 w 183"/>
                <a:gd name="T17" fmla="*/ 63 h 153"/>
                <a:gd name="T18" fmla="*/ 105 w 183"/>
                <a:gd name="T19" fmla="*/ 65 h 153"/>
                <a:gd name="T20" fmla="*/ 97 w 183"/>
                <a:gd name="T21" fmla="*/ 58 h 153"/>
                <a:gd name="T22" fmla="*/ 96 w 183"/>
                <a:gd name="T23" fmla="*/ 64 h 153"/>
                <a:gd name="T24" fmla="*/ 98 w 183"/>
                <a:gd name="T25" fmla="*/ 70 h 153"/>
                <a:gd name="T26" fmla="*/ 90 w 183"/>
                <a:gd name="T27" fmla="*/ 59 h 153"/>
                <a:gd name="T28" fmla="*/ 77 w 183"/>
                <a:gd name="T29" fmla="*/ 49 h 153"/>
                <a:gd name="T30" fmla="*/ 71 w 183"/>
                <a:gd name="T31" fmla="*/ 47 h 153"/>
                <a:gd name="T32" fmla="*/ 70 w 183"/>
                <a:gd name="T33" fmla="*/ 63 h 153"/>
                <a:gd name="T34" fmla="*/ 75 w 183"/>
                <a:gd name="T35" fmla="*/ 73 h 153"/>
                <a:gd name="T36" fmla="*/ 86 w 183"/>
                <a:gd name="T37" fmla="*/ 90 h 153"/>
                <a:gd name="T38" fmla="*/ 90 w 183"/>
                <a:gd name="T39" fmla="*/ 99 h 153"/>
                <a:gd name="T40" fmla="*/ 85 w 183"/>
                <a:gd name="T41" fmla="*/ 100 h 153"/>
                <a:gd name="T42" fmla="*/ 84 w 183"/>
                <a:gd name="T43" fmla="*/ 93 h 153"/>
                <a:gd name="T44" fmla="*/ 78 w 183"/>
                <a:gd name="T45" fmla="*/ 97 h 153"/>
                <a:gd name="T46" fmla="*/ 79 w 183"/>
                <a:gd name="T47" fmla="*/ 106 h 153"/>
                <a:gd name="T48" fmla="*/ 73 w 183"/>
                <a:gd name="T49" fmla="*/ 107 h 153"/>
                <a:gd name="T50" fmla="*/ 70 w 183"/>
                <a:gd name="T51" fmla="*/ 111 h 153"/>
                <a:gd name="T52" fmla="*/ 81 w 183"/>
                <a:gd name="T53" fmla="*/ 115 h 153"/>
                <a:gd name="T54" fmla="*/ 90 w 183"/>
                <a:gd name="T55" fmla="*/ 118 h 153"/>
                <a:gd name="T56" fmla="*/ 96 w 183"/>
                <a:gd name="T57" fmla="*/ 123 h 153"/>
                <a:gd name="T58" fmla="*/ 104 w 183"/>
                <a:gd name="T59" fmla="*/ 131 h 153"/>
                <a:gd name="T60" fmla="*/ 110 w 183"/>
                <a:gd name="T61" fmla="*/ 134 h 153"/>
                <a:gd name="T62" fmla="*/ 104 w 183"/>
                <a:gd name="T63" fmla="*/ 149 h 153"/>
                <a:gd name="T64" fmla="*/ 92 w 183"/>
                <a:gd name="T65" fmla="*/ 143 h 153"/>
                <a:gd name="T66" fmla="*/ 79 w 183"/>
                <a:gd name="T67" fmla="*/ 141 h 153"/>
                <a:gd name="T68" fmla="*/ 86 w 183"/>
                <a:gd name="T69" fmla="*/ 135 h 153"/>
                <a:gd name="T70" fmla="*/ 72 w 183"/>
                <a:gd name="T71" fmla="*/ 127 h 153"/>
                <a:gd name="T72" fmla="*/ 64 w 183"/>
                <a:gd name="T73" fmla="*/ 128 h 153"/>
                <a:gd name="T74" fmla="*/ 51 w 183"/>
                <a:gd name="T75" fmla="*/ 128 h 153"/>
                <a:gd name="T76" fmla="*/ 35 w 183"/>
                <a:gd name="T77" fmla="*/ 126 h 153"/>
                <a:gd name="T78" fmla="*/ 32 w 183"/>
                <a:gd name="T79" fmla="*/ 128 h 153"/>
                <a:gd name="T80" fmla="*/ 27 w 183"/>
                <a:gd name="T81" fmla="*/ 126 h 153"/>
                <a:gd name="T82" fmla="*/ 17 w 183"/>
                <a:gd name="T83" fmla="*/ 109 h 153"/>
                <a:gd name="T84" fmla="*/ 28 w 183"/>
                <a:gd name="T85" fmla="*/ 109 h 153"/>
                <a:gd name="T86" fmla="*/ 18 w 183"/>
                <a:gd name="T87" fmla="*/ 101 h 153"/>
                <a:gd name="T88" fmla="*/ 9 w 183"/>
                <a:gd name="T89" fmla="*/ 93 h 153"/>
                <a:gd name="T90" fmla="*/ 2 w 183"/>
                <a:gd name="T91" fmla="*/ 81 h 153"/>
                <a:gd name="T92" fmla="*/ 0 w 183"/>
                <a:gd name="T93" fmla="*/ 79 h 153"/>
                <a:gd name="T94" fmla="*/ 5 w 183"/>
                <a:gd name="T95" fmla="*/ 76 h 153"/>
                <a:gd name="T96" fmla="*/ 9 w 183"/>
                <a:gd name="T97" fmla="*/ 67 h 153"/>
                <a:gd name="T98" fmla="*/ 19 w 183"/>
                <a:gd name="T99" fmla="*/ 54 h 153"/>
                <a:gd name="T100" fmla="*/ 25 w 183"/>
                <a:gd name="T101" fmla="*/ 41 h 153"/>
                <a:gd name="T102" fmla="*/ 43 w 183"/>
                <a:gd name="T103" fmla="*/ 33 h 153"/>
                <a:gd name="T104" fmla="*/ 58 w 183"/>
                <a:gd name="T105" fmla="*/ 23 h 153"/>
                <a:gd name="T106" fmla="*/ 76 w 183"/>
                <a:gd name="T107" fmla="*/ 16 h 153"/>
                <a:gd name="T108" fmla="*/ 87 w 183"/>
                <a:gd name="T109" fmla="*/ 15 h 153"/>
                <a:gd name="T110" fmla="*/ 107 w 183"/>
                <a:gd name="T111" fmla="*/ 13 h 153"/>
                <a:gd name="T112" fmla="*/ 129 w 183"/>
                <a:gd name="T113" fmla="*/ 8 h 153"/>
                <a:gd name="T114" fmla="*/ 153 w 183"/>
                <a:gd name="T115" fmla="*/ 19 h 153"/>
                <a:gd name="T116" fmla="*/ 170 w 183"/>
                <a:gd name="T117" fmla="*/ 11 h 153"/>
                <a:gd name="T118" fmla="*/ 177 w 183"/>
                <a:gd name="T119" fmla="*/ 0 h 153"/>
                <a:gd name="T120" fmla="*/ 183 w 183"/>
                <a:gd name="T121" fmla="*/ 7 h 153"/>
                <a:gd name="T122" fmla="*/ 177 w 183"/>
                <a:gd name="T123" fmla="*/ 18 h 153"/>
                <a:gd name="T124" fmla="*/ 174 w 183"/>
                <a:gd name="T125" fmla="*/ 33 h 15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3"/>
                <a:gd name="T190" fmla="*/ 0 h 153"/>
                <a:gd name="T191" fmla="*/ 183 w 183"/>
                <a:gd name="T192" fmla="*/ 153 h 15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3" h="153">
                  <a:moveTo>
                    <a:pt x="169" y="41"/>
                  </a:moveTo>
                  <a:lnTo>
                    <a:pt x="164" y="37"/>
                  </a:lnTo>
                  <a:lnTo>
                    <a:pt x="140" y="30"/>
                  </a:lnTo>
                  <a:lnTo>
                    <a:pt x="134" y="34"/>
                  </a:lnTo>
                  <a:lnTo>
                    <a:pt x="132" y="35"/>
                  </a:lnTo>
                  <a:lnTo>
                    <a:pt x="128" y="35"/>
                  </a:lnTo>
                  <a:lnTo>
                    <a:pt x="122" y="32"/>
                  </a:lnTo>
                  <a:lnTo>
                    <a:pt x="117" y="38"/>
                  </a:lnTo>
                  <a:lnTo>
                    <a:pt x="108" y="40"/>
                  </a:lnTo>
                  <a:lnTo>
                    <a:pt x="101" y="45"/>
                  </a:lnTo>
                  <a:lnTo>
                    <a:pt x="105" y="50"/>
                  </a:lnTo>
                  <a:lnTo>
                    <a:pt x="113" y="52"/>
                  </a:lnTo>
                  <a:lnTo>
                    <a:pt x="117" y="58"/>
                  </a:lnTo>
                  <a:lnTo>
                    <a:pt x="119" y="61"/>
                  </a:lnTo>
                  <a:lnTo>
                    <a:pt x="113" y="56"/>
                  </a:lnTo>
                  <a:lnTo>
                    <a:pt x="105" y="54"/>
                  </a:lnTo>
                  <a:lnTo>
                    <a:pt x="103" y="59"/>
                  </a:lnTo>
                  <a:lnTo>
                    <a:pt x="108" y="63"/>
                  </a:lnTo>
                  <a:lnTo>
                    <a:pt x="109" y="70"/>
                  </a:lnTo>
                  <a:lnTo>
                    <a:pt x="105" y="65"/>
                  </a:lnTo>
                  <a:lnTo>
                    <a:pt x="102" y="60"/>
                  </a:lnTo>
                  <a:lnTo>
                    <a:pt x="97" y="58"/>
                  </a:lnTo>
                  <a:lnTo>
                    <a:pt x="94" y="59"/>
                  </a:lnTo>
                  <a:lnTo>
                    <a:pt x="96" y="64"/>
                  </a:lnTo>
                  <a:lnTo>
                    <a:pt x="101" y="68"/>
                  </a:lnTo>
                  <a:lnTo>
                    <a:pt x="98" y="70"/>
                  </a:lnTo>
                  <a:lnTo>
                    <a:pt x="92" y="65"/>
                  </a:lnTo>
                  <a:lnTo>
                    <a:pt x="90" y="59"/>
                  </a:lnTo>
                  <a:lnTo>
                    <a:pt x="77" y="51"/>
                  </a:lnTo>
                  <a:lnTo>
                    <a:pt x="77" y="49"/>
                  </a:lnTo>
                  <a:lnTo>
                    <a:pt x="79" y="45"/>
                  </a:lnTo>
                  <a:lnTo>
                    <a:pt x="71" y="47"/>
                  </a:lnTo>
                  <a:lnTo>
                    <a:pt x="70" y="55"/>
                  </a:lnTo>
                  <a:lnTo>
                    <a:pt x="70" y="63"/>
                  </a:lnTo>
                  <a:lnTo>
                    <a:pt x="71" y="69"/>
                  </a:lnTo>
                  <a:lnTo>
                    <a:pt x="75" y="73"/>
                  </a:lnTo>
                  <a:lnTo>
                    <a:pt x="77" y="81"/>
                  </a:lnTo>
                  <a:lnTo>
                    <a:pt x="86" y="90"/>
                  </a:lnTo>
                  <a:lnTo>
                    <a:pt x="89" y="95"/>
                  </a:lnTo>
                  <a:lnTo>
                    <a:pt x="90" y="99"/>
                  </a:lnTo>
                  <a:lnTo>
                    <a:pt x="87" y="101"/>
                  </a:lnTo>
                  <a:lnTo>
                    <a:pt x="85" y="100"/>
                  </a:lnTo>
                  <a:lnTo>
                    <a:pt x="86" y="97"/>
                  </a:lnTo>
                  <a:lnTo>
                    <a:pt x="84" y="93"/>
                  </a:lnTo>
                  <a:lnTo>
                    <a:pt x="79" y="93"/>
                  </a:lnTo>
                  <a:lnTo>
                    <a:pt x="78" y="97"/>
                  </a:lnTo>
                  <a:lnTo>
                    <a:pt x="81" y="104"/>
                  </a:lnTo>
                  <a:lnTo>
                    <a:pt x="79" y="106"/>
                  </a:lnTo>
                  <a:lnTo>
                    <a:pt x="76" y="107"/>
                  </a:lnTo>
                  <a:lnTo>
                    <a:pt x="73" y="107"/>
                  </a:lnTo>
                  <a:lnTo>
                    <a:pt x="68" y="107"/>
                  </a:lnTo>
                  <a:lnTo>
                    <a:pt x="70" y="111"/>
                  </a:lnTo>
                  <a:lnTo>
                    <a:pt x="76" y="114"/>
                  </a:lnTo>
                  <a:lnTo>
                    <a:pt x="81" y="115"/>
                  </a:lnTo>
                  <a:lnTo>
                    <a:pt x="85" y="117"/>
                  </a:lnTo>
                  <a:lnTo>
                    <a:pt x="90" y="118"/>
                  </a:lnTo>
                  <a:lnTo>
                    <a:pt x="92" y="123"/>
                  </a:lnTo>
                  <a:lnTo>
                    <a:pt x="96" y="123"/>
                  </a:lnTo>
                  <a:lnTo>
                    <a:pt x="99" y="128"/>
                  </a:lnTo>
                  <a:lnTo>
                    <a:pt x="104" y="131"/>
                  </a:lnTo>
                  <a:lnTo>
                    <a:pt x="107" y="131"/>
                  </a:lnTo>
                  <a:lnTo>
                    <a:pt x="110" y="134"/>
                  </a:lnTo>
                  <a:lnTo>
                    <a:pt x="111" y="153"/>
                  </a:lnTo>
                  <a:lnTo>
                    <a:pt x="104" y="149"/>
                  </a:lnTo>
                  <a:lnTo>
                    <a:pt x="99" y="142"/>
                  </a:lnTo>
                  <a:lnTo>
                    <a:pt x="92" y="143"/>
                  </a:lnTo>
                  <a:lnTo>
                    <a:pt x="84" y="143"/>
                  </a:lnTo>
                  <a:lnTo>
                    <a:pt x="79" y="141"/>
                  </a:lnTo>
                  <a:lnTo>
                    <a:pt x="85" y="139"/>
                  </a:lnTo>
                  <a:lnTo>
                    <a:pt x="86" y="135"/>
                  </a:lnTo>
                  <a:lnTo>
                    <a:pt x="80" y="134"/>
                  </a:lnTo>
                  <a:lnTo>
                    <a:pt x="72" y="127"/>
                  </a:lnTo>
                  <a:lnTo>
                    <a:pt x="69" y="130"/>
                  </a:lnTo>
                  <a:lnTo>
                    <a:pt x="64" y="128"/>
                  </a:lnTo>
                  <a:lnTo>
                    <a:pt x="58" y="129"/>
                  </a:lnTo>
                  <a:lnTo>
                    <a:pt x="51" y="128"/>
                  </a:lnTo>
                  <a:lnTo>
                    <a:pt x="42" y="129"/>
                  </a:lnTo>
                  <a:lnTo>
                    <a:pt x="35" y="126"/>
                  </a:lnTo>
                  <a:lnTo>
                    <a:pt x="33" y="126"/>
                  </a:lnTo>
                  <a:lnTo>
                    <a:pt x="32" y="128"/>
                  </a:lnTo>
                  <a:lnTo>
                    <a:pt x="29" y="129"/>
                  </a:lnTo>
                  <a:lnTo>
                    <a:pt x="27" y="126"/>
                  </a:lnTo>
                  <a:lnTo>
                    <a:pt x="24" y="119"/>
                  </a:lnTo>
                  <a:lnTo>
                    <a:pt x="17" y="109"/>
                  </a:lnTo>
                  <a:lnTo>
                    <a:pt x="23" y="110"/>
                  </a:lnTo>
                  <a:lnTo>
                    <a:pt x="28" y="109"/>
                  </a:lnTo>
                  <a:lnTo>
                    <a:pt x="26" y="104"/>
                  </a:lnTo>
                  <a:lnTo>
                    <a:pt x="18" y="101"/>
                  </a:lnTo>
                  <a:lnTo>
                    <a:pt x="17" y="106"/>
                  </a:lnTo>
                  <a:lnTo>
                    <a:pt x="9" y="93"/>
                  </a:lnTo>
                  <a:lnTo>
                    <a:pt x="4" y="89"/>
                  </a:lnTo>
                  <a:lnTo>
                    <a:pt x="2" y="81"/>
                  </a:lnTo>
                  <a:lnTo>
                    <a:pt x="1" y="79"/>
                  </a:lnTo>
                  <a:lnTo>
                    <a:pt x="0" y="79"/>
                  </a:lnTo>
                  <a:lnTo>
                    <a:pt x="1" y="80"/>
                  </a:lnTo>
                  <a:lnTo>
                    <a:pt x="5" y="76"/>
                  </a:lnTo>
                  <a:lnTo>
                    <a:pt x="7" y="73"/>
                  </a:lnTo>
                  <a:lnTo>
                    <a:pt x="9" y="67"/>
                  </a:lnTo>
                  <a:lnTo>
                    <a:pt x="14" y="63"/>
                  </a:lnTo>
                  <a:lnTo>
                    <a:pt x="19" y="54"/>
                  </a:lnTo>
                  <a:lnTo>
                    <a:pt x="25" y="48"/>
                  </a:lnTo>
                  <a:lnTo>
                    <a:pt x="25" y="41"/>
                  </a:lnTo>
                  <a:lnTo>
                    <a:pt x="25" y="35"/>
                  </a:lnTo>
                  <a:lnTo>
                    <a:pt x="43" y="33"/>
                  </a:lnTo>
                  <a:lnTo>
                    <a:pt x="49" y="27"/>
                  </a:lnTo>
                  <a:lnTo>
                    <a:pt x="58" y="23"/>
                  </a:lnTo>
                  <a:lnTo>
                    <a:pt x="69" y="23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7" y="15"/>
                  </a:lnTo>
                  <a:lnTo>
                    <a:pt x="95" y="13"/>
                  </a:lnTo>
                  <a:lnTo>
                    <a:pt x="107" y="13"/>
                  </a:lnTo>
                  <a:lnTo>
                    <a:pt x="123" y="8"/>
                  </a:lnTo>
                  <a:lnTo>
                    <a:pt x="129" y="8"/>
                  </a:lnTo>
                  <a:lnTo>
                    <a:pt x="134" y="13"/>
                  </a:lnTo>
                  <a:lnTo>
                    <a:pt x="153" y="19"/>
                  </a:lnTo>
                  <a:lnTo>
                    <a:pt x="163" y="17"/>
                  </a:lnTo>
                  <a:lnTo>
                    <a:pt x="170" y="11"/>
                  </a:lnTo>
                  <a:lnTo>
                    <a:pt x="171" y="1"/>
                  </a:lnTo>
                  <a:lnTo>
                    <a:pt x="177" y="0"/>
                  </a:lnTo>
                  <a:lnTo>
                    <a:pt x="179" y="3"/>
                  </a:lnTo>
                  <a:lnTo>
                    <a:pt x="183" y="7"/>
                  </a:lnTo>
                  <a:lnTo>
                    <a:pt x="183" y="13"/>
                  </a:lnTo>
                  <a:lnTo>
                    <a:pt x="177" y="18"/>
                  </a:lnTo>
                  <a:lnTo>
                    <a:pt x="176" y="25"/>
                  </a:lnTo>
                  <a:lnTo>
                    <a:pt x="174" y="33"/>
                  </a:lnTo>
                  <a:lnTo>
                    <a:pt x="169" y="4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69" name="Freeform 164"/>
            <p:cNvSpPr>
              <a:spLocks/>
            </p:cNvSpPr>
            <p:nvPr/>
          </p:nvSpPr>
          <p:spPr bwMode="auto">
            <a:xfrm>
              <a:off x="2375" y="3051"/>
              <a:ext cx="183" cy="153"/>
            </a:xfrm>
            <a:custGeom>
              <a:avLst/>
              <a:gdLst>
                <a:gd name="T0" fmla="*/ 164 w 183"/>
                <a:gd name="T1" fmla="*/ 37 h 153"/>
                <a:gd name="T2" fmla="*/ 134 w 183"/>
                <a:gd name="T3" fmla="*/ 34 h 153"/>
                <a:gd name="T4" fmla="*/ 128 w 183"/>
                <a:gd name="T5" fmla="*/ 35 h 153"/>
                <a:gd name="T6" fmla="*/ 117 w 183"/>
                <a:gd name="T7" fmla="*/ 38 h 153"/>
                <a:gd name="T8" fmla="*/ 101 w 183"/>
                <a:gd name="T9" fmla="*/ 45 h 153"/>
                <a:gd name="T10" fmla="*/ 113 w 183"/>
                <a:gd name="T11" fmla="*/ 52 h 153"/>
                <a:gd name="T12" fmla="*/ 119 w 183"/>
                <a:gd name="T13" fmla="*/ 61 h 153"/>
                <a:gd name="T14" fmla="*/ 105 w 183"/>
                <a:gd name="T15" fmla="*/ 54 h 153"/>
                <a:gd name="T16" fmla="*/ 108 w 183"/>
                <a:gd name="T17" fmla="*/ 63 h 153"/>
                <a:gd name="T18" fmla="*/ 105 w 183"/>
                <a:gd name="T19" fmla="*/ 65 h 153"/>
                <a:gd name="T20" fmla="*/ 97 w 183"/>
                <a:gd name="T21" fmla="*/ 58 h 153"/>
                <a:gd name="T22" fmla="*/ 96 w 183"/>
                <a:gd name="T23" fmla="*/ 64 h 153"/>
                <a:gd name="T24" fmla="*/ 98 w 183"/>
                <a:gd name="T25" fmla="*/ 70 h 153"/>
                <a:gd name="T26" fmla="*/ 90 w 183"/>
                <a:gd name="T27" fmla="*/ 59 h 153"/>
                <a:gd name="T28" fmla="*/ 77 w 183"/>
                <a:gd name="T29" fmla="*/ 49 h 153"/>
                <a:gd name="T30" fmla="*/ 71 w 183"/>
                <a:gd name="T31" fmla="*/ 47 h 153"/>
                <a:gd name="T32" fmla="*/ 70 w 183"/>
                <a:gd name="T33" fmla="*/ 63 h 153"/>
                <a:gd name="T34" fmla="*/ 75 w 183"/>
                <a:gd name="T35" fmla="*/ 73 h 153"/>
                <a:gd name="T36" fmla="*/ 86 w 183"/>
                <a:gd name="T37" fmla="*/ 90 h 153"/>
                <a:gd name="T38" fmla="*/ 90 w 183"/>
                <a:gd name="T39" fmla="*/ 99 h 153"/>
                <a:gd name="T40" fmla="*/ 85 w 183"/>
                <a:gd name="T41" fmla="*/ 100 h 153"/>
                <a:gd name="T42" fmla="*/ 84 w 183"/>
                <a:gd name="T43" fmla="*/ 93 h 153"/>
                <a:gd name="T44" fmla="*/ 78 w 183"/>
                <a:gd name="T45" fmla="*/ 97 h 153"/>
                <a:gd name="T46" fmla="*/ 79 w 183"/>
                <a:gd name="T47" fmla="*/ 106 h 153"/>
                <a:gd name="T48" fmla="*/ 73 w 183"/>
                <a:gd name="T49" fmla="*/ 107 h 153"/>
                <a:gd name="T50" fmla="*/ 70 w 183"/>
                <a:gd name="T51" fmla="*/ 111 h 153"/>
                <a:gd name="T52" fmla="*/ 81 w 183"/>
                <a:gd name="T53" fmla="*/ 115 h 153"/>
                <a:gd name="T54" fmla="*/ 90 w 183"/>
                <a:gd name="T55" fmla="*/ 118 h 153"/>
                <a:gd name="T56" fmla="*/ 96 w 183"/>
                <a:gd name="T57" fmla="*/ 123 h 153"/>
                <a:gd name="T58" fmla="*/ 104 w 183"/>
                <a:gd name="T59" fmla="*/ 131 h 153"/>
                <a:gd name="T60" fmla="*/ 110 w 183"/>
                <a:gd name="T61" fmla="*/ 134 h 153"/>
                <a:gd name="T62" fmla="*/ 104 w 183"/>
                <a:gd name="T63" fmla="*/ 149 h 153"/>
                <a:gd name="T64" fmla="*/ 92 w 183"/>
                <a:gd name="T65" fmla="*/ 143 h 153"/>
                <a:gd name="T66" fmla="*/ 79 w 183"/>
                <a:gd name="T67" fmla="*/ 141 h 153"/>
                <a:gd name="T68" fmla="*/ 86 w 183"/>
                <a:gd name="T69" fmla="*/ 135 h 153"/>
                <a:gd name="T70" fmla="*/ 72 w 183"/>
                <a:gd name="T71" fmla="*/ 127 h 153"/>
                <a:gd name="T72" fmla="*/ 64 w 183"/>
                <a:gd name="T73" fmla="*/ 128 h 153"/>
                <a:gd name="T74" fmla="*/ 51 w 183"/>
                <a:gd name="T75" fmla="*/ 128 h 153"/>
                <a:gd name="T76" fmla="*/ 35 w 183"/>
                <a:gd name="T77" fmla="*/ 126 h 153"/>
                <a:gd name="T78" fmla="*/ 32 w 183"/>
                <a:gd name="T79" fmla="*/ 128 h 153"/>
                <a:gd name="T80" fmla="*/ 27 w 183"/>
                <a:gd name="T81" fmla="*/ 126 h 153"/>
                <a:gd name="T82" fmla="*/ 17 w 183"/>
                <a:gd name="T83" fmla="*/ 109 h 153"/>
                <a:gd name="T84" fmla="*/ 28 w 183"/>
                <a:gd name="T85" fmla="*/ 109 h 153"/>
                <a:gd name="T86" fmla="*/ 18 w 183"/>
                <a:gd name="T87" fmla="*/ 101 h 153"/>
                <a:gd name="T88" fmla="*/ 9 w 183"/>
                <a:gd name="T89" fmla="*/ 93 h 153"/>
                <a:gd name="T90" fmla="*/ 2 w 183"/>
                <a:gd name="T91" fmla="*/ 81 h 153"/>
                <a:gd name="T92" fmla="*/ 0 w 183"/>
                <a:gd name="T93" fmla="*/ 79 h 153"/>
                <a:gd name="T94" fmla="*/ 5 w 183"/>
                <a:gd name="T95" fmla="*/ 76 h 153"/>
                <a:gd name="T96" fmla="*/ 9 w 183"/>
                <a:gd name="T97" fmla="*/ 67 h 153"/>
                <a:gd name="T98" fmla="*/ 19 w 183"/>
                <a:gd name="T99" fmla="*/ 54 h 153"/>
                <a:gd name="T100" fmla="*/ 25 w 183"/>
                <a:gd name="T101" fmla="*/ 41 h 153"/>
                <a:gd name="T102" fmla="*/ 43 w 183"/>
                <a:gd name="T103" fmla="*/ 33 h 153"/>
                <a:gd name="T104" fmla="*/ 58 w 183"/>
                <a:gd name="T105" fmla="*/ 23 h 153"/>
                <a:gd name="T106" fmla="*/ 76 w 183"/>
                <a:gd name="T107" fmla="*/ 16 h 153"/>
                <a:gd name="T108" fmla="*/ 87 w 183"/>
                <a:gd name="T109" fmla="*/ 15 h 153"/>
                <a:gd name="T110" fmla="*/ 107 w 183"/>
                <a:gd name="T111" fmla="*/ 13 h 153"/>
                <a:gd name="T112" fmla="*/ 129 w 183"/>
                <a:gd name="T113" fmla="*/ 8 h 153"/>
                <a:gd name="T114" fmla="*/ 153 w 183"/>
                <a:gd name="T115" fmla="*/ 19 h 153"/>
                <a:gd name="T116" fmla="*/ 170 w 183"/>
                <a:gd name="T117" fmla="*/ 11 h 153"/>
                <a:gd name="T118" fmla="*/ 177 w 183"/>
                <a:gd name="T119" fmla="*/ 0 h 153"/>
                <a:gd name="T120" fmla="*/ 183 w 183"/>
                <a:gd name="T121" fmla="*/ 7 h 153"/>
                <a:gd name="T122" fmla="*/ 177 w 183"/>
                <a:gd name="T123" fmla="*/ 18 h 153"/>
                <a:gd name="T124" fmla="*/ 174 w 183"/>
                <a:gd name="T125" fmla="*/ 33 h 153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3"/>
                <a:gd name="T190" fmla="*/ 0 h 153"/>
                <a:gd name="T191" fmla="*/ 183 w 183"/>
                <a:gd name="T192" fmla="*/ 153 h 153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3" h="153">
                  <a:moveTo>
                    <a:pt x="169" y="41"/>
                  </a:moveTo>
                  <a:lnTo>
                    <a:pt x="164" y="37"/>
                  </a:lnTo>
                  <a:lnTo>
                    <a:pt x="140" y="30"/>
                  </a:lnTo>
                  <a:lnTo>
                    <a:pt x="134" y="34"/>
                  </a:lnTo>
                  <a:lnTo>
                    <a:pt x="132" y="35"/>
                  </a:lnTo>
                  <a:lnTo>
                    <a:pt x="128" y="35"/>
                  </a:lnTo>
                  <a:lnTo>
                    <a:pt x="122" y="32"/>
                  </a:lnTo>
                  <a:lnTo>
                    <a:pt x="117" y="38"/>
                  </a:lnTo>
                  <a:lnTo>
                    <a:pt x="108" y="40"/>
                  </a:lnTo>
                  <a:lnTo>
                    <a:pt x="101" y="45"/>
                  </a:lnTo>
                  <a:lnTo>
                    <a:pt x="105" y="50"/>
                  </a:lnTo>
                  <a:lnTo>
                    <a:pt x="113" y="52"/>
                  </a:lnTo>
                  <a:lnTo>
                    <a:pt x="117" y="58"/>
                  </a:lnTo>
                  <a:lnTo>
                    <a:pt x="119" y="61"/>
                  </a:lnTo>
                  <a:lnTo>
                    <a:pt x="113" y="56"/>
                  </a:lnTo>
                  <a:lnTo>
                    <a:pt x="105" y="54"/>
                  </a:lnTo>
                  <a:lnTo>
                    <a:pt x="103" y="59"/>
                  </a:lnTo>
                  <a:lnTo>
                    <a:pt x="108" y="63"/>
                  </a:lnTo>
                  <a:lnTo>
                    <a:pt x="109" y="70"/>
                  </a:lnTo>
                  <a:lnTo>
                    <a:pt x="105" y="65"/>
                  </a:lnTo>
                  <a:lnTo>
                    <a:pt x="102" y="60"/>
                  </a:lnTo>
                  <a:lnTo>
                    <a:pt x="97" y="58"/>
                  </a:lnTo>
                  <a:lnTo>
                    <a:pt x="94" y="59"/>
                  </a:lnTo>
                  <a:lnTo>
                    <a:pt x="96" y="64"/>
                  </a:lnTo>
                  <a:lnTo>
                    <a:pt x="101" y="68"/>
                  </a:lnTo>
                  <a:lnTo>
                    <a:pt x="98" y="70"/>
                  </a:lnTo>
                  <a:lnTo>
                    <a:pt x="92" y="65"/>
                  </a:lnTo>
                  <a:lnTo>
                    <a:pt x="90" y="59"/>
                  </a:lnTo>
                  <a:lnTo>
                    <a:pt x="77" y="51"/>
                  </a:lnTo>
                  <a:lnTo>
                    <a:pt x="77" y="49"/>
                  </a:lnTo>
                  <a:lnTo>
                    <a:pt x="79" y="45"/>
                  </a:lnTo>
                  <a:lnTo>
                    <a:pt x="71" y="47"/>
                  </a:lnTo>
                  <a:lnTo>
                    <a:pt x="70" y="55"/>
                  </a:lnTo>
                  <a:lnTo>
                    <a:pt x="70" y="63"/>
                  </a:lnTo>
                  <a:lnTo>
                    <a:pt x="71" y="69"/>
                  </a:lnTo>
                  <a:lnTo>
                    <a:pt x="75" y="73"/>
                  </a:lnTo>
                  <a:lnTo>
                    <a:pt x="77" y="81"/>
                  </a:lnTo>
                  <a:lnTo>
                    <a:pt x="86" y="90"/>
                  </a:lnTo>
                  <a:lnTo>
                    <a:pt x="89" y="95"/>
                  </a:lnTo>
                  <a:lnTo>
                    <a:pt x="90" y="99"/>
                  </a:lnTo>
                  <a:lnTo>
                    <a:pt x="87" y="101"/>
                  </a:lnTo>
                  <a:lnTo>
                    <a:pt x="85" y="100"/>
                  </a:lnTo>
                  <a:lnTo>
                    <a:pt x="86" y="97"/>
                  </a:lnTo>
                  <a:lnTo>
                    <a:pt x="84" y="93"/>
                  </a:lnTo>
                  <a:lnTo>
                    <a:pt x="79" y="93"/>
                  </a:lnTo>
                  <a:lnTo>
                    <a:pt x="78" y="97"/>
                  </a:lnTo>
                  <a:lnTo>
                    <a:pt x="81" y="104"/>
                  </a:lnTo>
                  <a:lnTo>
                    <a:pt x="79" y="106"/>
                  </a:lnTo>
                  <a:lnTo>
                    <a:pt x="76" y="107"/>
                  </a:lnTo>
                  <a:lnTo>
                    <a:pt x="73" y="107"/>
                  </a:lnTo>
                  <a:lnTo>
                    <a:pt x="68" y="107"/>
                  </a:lnTo>
                  <a:lnTo>
                    <a:pt x="70" y="111"/>
                  </a:lnTo>
                  <a:lnTo>
                    <a:pt x="76" y="114"/>
                  </a:lnTo>
                  <a:lnTo>
                    <a:pt x="81" y="115"/>
                  </a:lnTo>
                  <a:lnTo>
                    <a:pt x="85" y="117"/>
                  </a:lnTo>
                  <a:lnTo>
                    <a:pt x="90" y="118"/>
                  </a:lnTo>
                  <a:lnTo>
                    <a:pt x="92" y="123"/>
                  </a:lnTo>
                  <a:lnTo>
                    <a:pt x="96" y="123"/>
                  </a:lnTo>
                  <a:lnTo>
                    <a:pt x="99" y="128"/>
                  </a:lnTo>
                  <a:lnTo>
                    <a:pt x="104" y="131"/>
                  </a:lnTo>
                  <a:lnTo>
                    <a:pt x="107" y="131"/>
                  </a:lnTo>
                  <a:lnTo>
                    <a:pt x="110" y="134"/>
                  </a:lnTo>
                  <a:lnTo>
                    <a:pt x="111" y="153"/>
                  </a:lnTo>
                  <a:lnTo>
                    <a:pt x="104" y="149"/>
                  </a:lnTo>
                  <a:lnTo>
                    <a:pt x="99" y="142"/>
                  </a:lnTo>
                  <a:lnTo>
                    <a:pt x="92" y="143"/>
                  </a:lnTo>
                  <a:lnTo>
                    <a:pt x="84" y="143"/>
                  </a:lnTo>
                  <a:lnTo>
                    <a:pt x="79" y="141"/>
                  </a:lnTo>
                  <a:lnTo>
                    <a:pt x="85" y="139"/>
                  </a:lnTo>
                  <a:lnTo>
                    <a:pt x="86" y="135"/>
                  </a:lnTo>
                  <a:lnTo>
                    <a:pt x="80" y="134"/>
                  </a:lnTo>
                  <a:lnTo>
                    <a:pt x="72" y="127"/>
                  </a:lnTo>
                  <a:lnTo>
                    <a:pt x="69" y="130"/>
                  </a:lnTo>
                  <a:lnTo>
                    <a:pt x="64" y="128"/>
                  </a:lnTo>
                  <a:lnTo>
                    <a:pt x="58" y="129"/>
                  </a:lnTo>
                  <a:lnTo>
                    <a:pt x="51" y="128"/>
                  </a:lnTo>
                  <a:lnTo>
                    <a:pt x="42" y="129"/>
                  </a:lnTo>
                  <a:lnTo>
                    <a:pt x="35" y="126"/>
                  </a:lnTo>
                  <a:lnTo>
                    <a:pt x="33" y="126"/>
                  </a:lnTo>
                  <a:lnTo>
                    <a:pt x="32" y="128"/>
                  </a:lnTo>
                  <a:lnTo>
                    <a:pt x="29" y="129"/>
                  </a:lnTo>
                  <a:lnTo>
                    <a:pt x="27" y="126"/>
                  </a:lnTo>
                  <a:lnTo>
                    <a:pt x="24" y="119"/>
                  </a:lnTo>
                  <a:lnTo>
                    <a:pt x="17" y="109"/>
                  </a:lnTo>
                  <a:lnTo>
                    <a:pt x="23" y="110"/>
                  </a:lnTo>
                  <a:lnTo>
                    <a:pt x="28" y="109"/>
                  </a:lnTo>
                  <a:lnTo>
                    <a:pt x="26" y="104"/>
                  </a:lnTo>
                  <a:lnTo>
                    <a:pt x="18" y="101"/>
                  </a:lnTo>
                  <a:lnTo>
                    <a:pt x="17" y="106"/>
                  </a:lnTo>
                  <a:lnTo>
                    <a:pt x="9" y="93"/>
                  </a:lnTo>
                  <a:lnTo>
                    <a:pt x="4" y="89"/>
                  </a:lnTo>
                  <a:lnTo>
                    <a:pt x="2" y="81"/>
                  </a:lnTo>
                  <a:lnTo>
                    <a:pt x="1" y="79"/>
                  </a:lnTo>
                  <a:lnTo>
                    <a:pt x="0" y="79"/>
                  </a:lnTo>
                  <a:lnTo>
                    <a:pt x="1" y="80"/>
                  </a:lnTo>
                  <a:lnTo>
                    <a:pt x="5" y="76"/>
                  </a:lnTo>
                  <a:lnTo>
                    <a:pt x="7" y="73"/>
                  </a:lnTo>
                  <a:lnTo>
                    <a:pt x="9" y="67"/>
                  </a:lnTo>
                  <a:lnTo>
                    <a:pt x="14" y="63"/>
                  </a:lnTo>
                  <a:lnTo>
                    <a:pt x="19" y="54"/>
                  </a:lnTo>
                  <a:lnTo>
                    <a:pt x="25" y="48"/>
                  </a:lnTo>
                  <a:lnTo>
                    <a:pt x="25" y="41"/>
                  </a:lnTo>
                  <a:lnTo>
                    <a:pt x="25" y="35"/>
                  </a:lnTo>
                  <a:lnTo>
                    <a:pt x="43" y="33"/>
                  </a:lnTo>
                  <a:lnTo>
                    <a:pt x="49" y="27"/>
                  </a:lnTo>
                  <a:lnTo>
                    <a:pt x="58" y="23"/>
                  </a:lnTo>
                  <a:lnTo>
                    <a:pt x="69" y="23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7" y="15"/>
                  </a:lnTo>
                  <a:lnTo>
                    <a:pt x="95" y="13"/>
                  </a:lnTo>
                  <a:lnTo>
                    <a:pt x="107" y="13"/>
                  </a:lnTo>
                  <a:lnTo>
                    <a:pt x="123" y="8"/>
                  </a:lnTo>
                  <a:lnTo>
                    <a:pt x="129" y="8"/>
                  </a:lnTo>
                  <a:lnTo>
                    <a:pt x="134" y="13"/>
                  </a:lnTo>
                  <a:lnTo>
                    <a:pt x="153" y="19"/>
                  </a:lnTo>
                  <a:lnTo>
                    <a:pt x="163" y="17"/>
                  </a:lnTo>
                  <a:lnTo>
                    <a:pt x="170" y="11"/>
                  </a:lnTo>
                  <a:lnTo>
                    <a:pt x="171" y="1"/>
                  </a:lnTo>
                  <a:lnTo>
                    <a:pt x="177" y="0"/>
                  </a:lnTo>
                  <a:lnTo>
                    <a:pt x="179" y="3"/>
                  </a:lnTo>
                  <a:lnTo>
                    <a:pt x="183" y="7"/>
                  </a:lnTo>
                  <a:lnTo>
                    <a:pt x="183" y="13"/>
                  </a:lnTo>
                  <a:lnTo>
                    <a:pt x="177" y="18"/>
                  </a:lnTo>
                  <a:lnTo>
                    <a:pt x="176" y="25"/>
                  </a:lnTo>
                  <a:lnTo>
                    <a:pt x="174" y="33"/>
                  </a:lnTo>
                  <a:lnTo>
                    <a:pt x="169" y="4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49" name="Group 168"/>
          <p:cNvGrpSpPr>
            <a:grpSpLocks/>
          </p:cNvGrpSpPr>
          <p:nvPr/>
        </p:nvGrpSpPr>
        <p:grpSpPr bwMode="auto">
          <a:xfrm>
            <a:off x="5530850" y="5197475"/>
            <a:ext cx="104775" cy="63500"/>
            <a:chOff x="2726" y="3274"/>
            <a:chExt cx="66" cy="40"/>
          </a:xfrm>
        </p:grpSpPr>
        <p:sp>
          <p:nvSpPr>
            <p:cNvPr id="34366" name="Freeform 166"/>
            <p:cNvSpPr>
              <a:spLocks/>
            </p:cNvSpPr>
            <p:nvPr/>
          </p:nvSpPr>
          <p:spPr bwMode="auto">
            <a:xfrm>
              <a:off x="2726" y="3274"/>
              <a:ext cx="66" cy="40"/>
            </a:xfrm>
            <a:custGeom>
              <a:avLst/>
              <a:gdLst>
                <a:gd name="T0" fmla="*/ 48 w 66"/>
                <a:gd name="T1" fmla="*/ 8 h 40"/>
                <a:gd name="T2" fmla="*/ 55 w 66"/>
                <a:gd name="T3" fmla="*/ 5 h 40"/>
                <a:gd name="T4" fmla="*/ 58 w 66"/>
                <a:gd name="T5" fmla="*/ 3 h 40"/>
                <a:gd name="T6" fmla="*/ 64 w 66"/>
                <a:gd name="T7" fmla="*/ 0 h 40"/>
                <a:gd name="T8" fmla="*/ 66 w 66"/>
                <a:gd name="T9" fmla="*/ 0 h 40"/>
                <a:gd name="T10" fmla="*/ 64 w 66"/>
                <a:gd name="T11" fmla="*/ 4 h 40"/>
                <a:gd name="T12" fmla="*/ 60 w 66"/>
                <a:gd name="T13" fmla="*/ 9 h 40"/>
                <a:gd name="T14" fmla="*/ 56 w 66"/>
                <a:gd name="T15" fmla="*/ 11 h 40"/>
                <a:gd name="T16" fmla="*/ 50 w 66"/>
                <a:gd name="T17" fmla="*/ 20 h 40"/>
                <a:gd name="T18" fmla="*/ 51 w 66"/>
                <a:gd name="T19" fmla="*/ 23 h 40"/>
                <a:gd name="T20" fmla="*/ 48 w 66"/>
                <a:gd name="T21" fmla="*/ 27 h 40"/>
                <a:gd name="T22" fmla="*/ 42 w 66"/>
                <a:gd name="T23" fmla="*/ 28 h 40"/>
                <a:gd name="T24" fmla="*/ 36 w 66"/>
                <a:gd name="T25" fmla="*/ 34 h 40"/>
                <a:gd name="T26" fmla="*/ 28 w 66"/>
                <a:gd name="T27" fmla="*/ 36 h 40"/>
                <a:gd name="T28" fmla="*/ 22 w 66"/>
                <a:gd name="T29" fmla="*/ 40 h 40"/>
                <a:gd name="T30" fmla="*/ 13 w 66"/>
                <a:gd name="T31" fmla="*/ 39 h 40"/>
                <a:gd name="T32" fmla="*/ 7 w 66"/>
                <a:gd name="T33" fmla="*/ 36 h 40"/>
                <a:gd name="T34" fmla="*/ 3 w 66"/>
                <a:gd name="T35" fmla="*/ 30 h 40"/>
                <a:gd name="T36" fmla="*/ 0 w 66"/>
                <a:gd name="T37" fmla="*/ 24 h 40"/>
                <a:gd name="T38" fmla="*/ 7 w 66"/>
                <a:gd name="T39" fmla="*/ 22 h 40"/>
                <a:gd name="T40" fmla="*/ 11 w 66"/>
                <a:gd name="T41" fmla="*/ 20 h 40"/>
                <a:gd name="T42" fmla="*/ 17 w 66"/>
                <a:gd name="T43" fmla="*/ 19 h 40"/>
                <a:gd name="T44" fmla="*/ 20 w 66"/>
                <a:gd name="T45" fmla="*/ 17 h 40"/>
                <a:gd name="T46" fmla="*/ 21 w 66"/>
                <a:gd name="T47" fmla="*/ 13 h 40"/>
                <a:gd name="T48" fmla="*/ 22 w 66"/>
                <a:gd name="T49" fmla="*/ 14 h 40"/>
                <a:gd name="T50" fmla="*/ 32 w 66"/>
                <a:gd name="T51" fmla="*/ 13 h 40"/>
                <a:gd name="T52" fmla="*/ 48 w 66"/>
                <a:gd name="T53" fmla="*/ 8 h 4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6"/>
                <a:gd name="T82" fmla="*/ 0 h 40"/>
                <a:gd name="T83" fmla="*/ 66 w 66"/>
                <a:gd name="T84" fmla="*/ 40 h 4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6" h="40">
                  <a:moveTo>
                    <a:pt x="48" y="8"/>
                  </a:moveTo>
                  <a:lnTo>
                    <a:pt x="55" y="5"/>
                  </a:lnTo>
                  <a:lnTo>
                    <a:pt x="58" y="3"/>
                  </a:lnTo>
                  <a:lnTo>
                    <a:pt x="64" y="0"/>
                  </a:lnTo>
                  <a:lnTo>
                    <a:pt x="66" y="0"/>
                  </a:lnTo>
                  <a:lnTo>
                    <a:pt x="64" y="4"/>
                  </a:lnTo>
                  <a:lnTo>
                    <a:pt x="60" y="9"/>
                  </a:lnTo>
                  <a:lnTo>
                    <a:pt x="56" y="11"/>
                  </a:lnTo>
                  <a:lnTo>
                    <a:pt x="50" y="20"/>
                  </a:lnTo>
                  <a:lnTo>
                    <a:pt x="51" y="23"/>
                  </a:lnTo>
                  <a:lnTo>
                    <a:pt x="48" y="27"/>
                  </a:lnTo>
                  <a:lnTo>
                    <a:pt x="42" y="28"/>
                  </a:lnTo>
                  <a:lnTo>
                    <a:pt x="36" y="34"/>
                  </a:lnTo>
                  <a:lnTo>
                    <a:pt x="28" y="36"/>
                  </a:lnTo>
                  <a:lnTo>
                    <a:pt x="22" y="40"/>
                  </a:lnTo>
                  <a:lnTo>
                    <a:pt x="13" y="39"/>
                  </a:lnTo>
                  <a:lnTo>
                    <a:pt x="7" y="36"/>
                  </a:lnTo>
                  <a:lnTo>
                    <a:pt x="3" y="30"/>
                  </a:lnTo>
                  <a:lnTo>
                    <a:pt x="0" y="24"/>
                  </a:lnTo>
                  <a:lnTo>
                    <a:pt x="7" y="22"/>
                  </a:lnTo>
                  <a:lnTo>
                    <a:pt x="11" y="20"/>
                  </a:lnTo>
                  <a:lnTo>
                    <a:pt x="17" y="19"/>
                  </a:lnTo>
                  <a:lnTo>
                    <a:pt x="20" y="17"/>
                  </a:lnTo>
                  <a:lnTo>
                    <a:pt x="21" y="13"/>
                  </a:lnTo>
                  <a:lnTo>
                    <a:pt x="22" y="14"/>
                  </a:lnTo>
                  <a:lnTo>
                    <a:pt x="32" y="13"/>
                  </a:lnTo>
                  <a:lnTo>
                    <a:pt x="48" y="8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67" name="Freeform 167"/>
            <p:cNvSpPr>
              <a:spLocks/>
            </p:cNvSpPr>
            <p:nvPr/>
          </p:nvSpPr>
          <p:spPr bwMode="auto">
            <a:xfrm>
              <a:off x="2726" y="3274"/>
              <a:ext cx="66" cy="40"/>
            </a:xfrm>
            <a:custGeom>
              <a:avLst/>
              <a:gdLst>
                <a:gd name="T0" fmla="*/ 48 w 66"/>
                <a:gd name="T1" fmla="*/ 8 h 40"/>
                <a:gd name="T2" fmla="*/ 55 w 66"/>
                <a:gd name="T3" fmla="*/ 5 h 40"/>
                <a:gd name="T4" fmla="*/ 58 w 66"/>
                <a:gd name="T5" fmla="*/ 3 h 40"/>
                <a:gd name="T6" fmla="*/ 64 w 66"/>
                <a:gd name="T7" fmla="*/ 0 h 40"/>
                <a:gd name="T8" fmla="*/ 66 w 66"/>
                <a:gd name="T9" fmla="*/ 0 h 40"/>
                <a:gd name="T10" fmla="*/ 64 w 66"/>
                <a:gd name="T11" fmla="*/ 4 h 40"/>
                <a:gd name="T12" fmla="*/ 60 w 66"/>
                <a:gd name="T13" fmla="*/ 9 h 40"/>
                <a:gd name="T14" fmla="*/ 56 w 66"/>
                <a:gd name="T15" fmla="*/ 11 h 40"/>
                <a:gd name="T16" fmla="*/ 50 w 66"/>
                <a:gd name="T17" fmla="*/ 20 h 40"/>
                <a:gd name="T18" fmla="*/ 51 w 66"/>
                <a:gd name="T19" fmla="*/ 23 h 40"/>
                <a:gd name="T20" fmla="*/ 48 w 66"/>
                <a:gd name="T21" fmla="*/ 27 h 40"/>
                <a:gd name="T22" fmla="*/ 42 w 66"/>
                <a:gd name="T23" fmla="*/ 28 h 40"/>
                <a:gd name="T24" fmla="*/ 36 w 66"/>
                <a:gd name="T25" fmla="*/ 34 h 40"/>
                <a:gd name="T26" fmla="*/ 28 w 66"/>
                <a:gd name="T27" fmla="*/ 36 h 40"/>
                <a:gd name="T28" fmla="*/ 22 w 66"/>
                <a:gd name="T29" fmla="*/ 40 h 40"/>
                <a:gd name="T30" fmla="*/ 13 w 66"/>
                <a:gd name="T31" fmla="*/ 39 h 40"/>
                <a:gd name="T32" fmla="*/ 7 w 66"/>
                <a:gd name="T33" fmla="*/ 36 h 40"/>
                <a:gd name="T34" fmla="*/ 3 w 66"/>
                <a:gd name="T35" fmla="*/ 30 h 40"/>
                <a:gd name="T36" fmla="*/ 0 w 66"/>
                <a:gd name="T37" fmla="*/ 24 h 40"/>
                <a:gd name="T38" fmla="*/ 7 w 66"/>
                <a:gd name="T39" fmla="*/ 22 h 40"/>
                <a:gd name="T40" fmla="*/ 11 w 66"/>
                <a:gd name="T41" fmla="*/ 20 h 40"/>
                <a:gd name="T42" fmla="*/ 17 w 66"/>
                <a:gd name="T43" fmla="*/ 19 h 40"/>
                <a:gd name="T44" fmla="*/ 20 w 66"/>
                <a:gd name="T45" fmla="*/ 17 h 40"/>
                <a:gd name="T46" fmla="*/ 21 w 66"/>
                <a:gd name="T47" fmla="*/ 13 h 40"/>
                <a:gd name="T48" fmla="*/ 22 w 66"/>
                <a:gd name="T49" fmla="*/ 14 h 40"/>
                <a:gd name="T50" fmla="*/ 32 w 66"/>
                <a:gd name="T51" fmla="*/ 13 h 40"/>
                <a:gd name="T52" fmla="*/ 48 w 66"/>
                <a:gd name="T53" fmla="*/ 8 h 4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66"/>
                <a:gd name="T82" fmla="*/ 0 h 40"/>
                <a:gd name="T83" fmla="*/ 66 w 66"/>
                <a:gd name="T84" fmla="*/ 40 h 4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66" h="40">
                  <a:moveTo>
                    <a:pt x="48" y="8"/>
                  </a:moveTo>
                  <a:lnTo>
                    <a:pt x="55" y="5"/>
                  </a:lnTo>
                  <a:lnTo>
                    <a:pt x="58" y="3"/>
                  </a:lnTo>
                  <a:lnTo>
                    <a:pt x="64" y="0"/>
                  </a:lnTo>
                  <a:lnTo>
                    <a:pt x="66" y="0"/>
                  </a:lnTo>
                  <a:lnTo>
                    <a:pt x="64" y="4"/>
                  </a:lnTo>
                  <a:lnTo>
                    <a:pt x="60" y="9"/>
                  </a:lnTo>
                  <a:lnTo>
                    <a:pt x="56" y="11"/>
                  </a:lnTo>
                  <a:lnTo>
                    <a:pt x="50" y="20"/>
                  </a:lnTo>
                  <a:lnTo>
                    <a:pt x="51" y="23"/>
                  </a:lnTo>
                  <a:lnTo>
                    <a:pt x="48" y="27"/>
                  </a:lnTo>
                  <a:lnTo>
                    <a:pt x="42" y="28"/>
                  </a:lnTo>
                  <a:lnTo>
                    <a:pt x="36" y="34"/>
                  </a:lnTo>
                  <a:lnTo>
                    <a:pt x="28" y="36"/>
                  </a:lnTo>
                  <a:lnTo>
                    <a:pt x="22" y="40"/>
                  </a:lnTo>
                  <a:lnTo>
                    <a:pt x="13" y="39"/>
                  </a:lnTo>
                  <a:lnTo>
                    <a:pt x="7" y="36"/>
                  </a:lnTo>
                  <a:lnTo>
                    <a:pt x="3" y="30"/>
                  </a:lnTo>
                  <a:lnTo>
                    <a:pt x="0" y="24"/>
                  </a:lnTo>
                  <a:lnTo>
                    <a:pt x="7" y="22"/>
                  </a:lnTo>
                  <a:lnTo>
                    <a:pt x="11" y="20"/>
                  </a:lnTo>
                  <a:lnTo>
                    <a:pt x="17" y="19"/>
                  </a:lnTo>
                  <a:lnTo>
                    <a:pt x="20" y="17"/>
                  </a:lnTo>
                  <a:lnTo>
                    <a:pt x="21" y="13"/>
                  </a:lnTo>
                  <a:lnTo>
                    <a:pt x="22" y="14"/>
                  </a:lnTo>
                  <a:lnTo>
                    <a:pt x="32" y="13"/>
                  </a:lnTo>
                  <a:lnTo>
                    <a:pt x="48" y="8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50" name="Group 171"/>
          <p:cNvGrpSpPr>
            <a:grpSpLocks/>
          </p:cNvGrpSpPr>
          <p:nvPr/>
        </p:nvGrpSpPr>
        <p:grpSpPr bwMode="auto">
          <a:xfrm>
            <a:off x="5073650" y="4695825"/>
            <a:ext cx="287338" cy="177800"/>
            <a:chOff x="2438" y="2958"/>
            <a:chExt cx="181" cy="112"/>
          </a:xfrm>
        </p:grpSpPr>
        <p:sp>
          <p:nvSpPr>
            <p:cNvPr id="34364" name="Freeform 169"/>
            <p:cNvSpPr>
              <a:spLocks/>
            </p:cNvSpPr>
            <p:nvPr/>
          </p:nvSpPr>
          <p:spPr bwMode="auto">
            <a:xfrm>
              <a:off x="2438" y="2958"/>
              <a:ext cx="181" cy="112"/>
            </a:xfrm>
            <a:custGeom>
              <a:avLst/>
              <a:gdLst>
                <a:gd name="T0" fmla="*/ 17 w 181"/>
                <a:gd name="T1" fmla="*/ 109 h 112"/>
                <a:gd name="T2" fmla="*/ 16 w 181"/>
                <a:gd name="T3" fmla="*/ 100 h 112"/>
                <a:gd name="T4" fmla="*/ 13 w 181"/>
                <a:gd name="T5" fmla="*/ 84 h 112"/>
                <a:gd name="T6" fmla="*/ 1 w 181"/>
                <a:gd name="T7" fmla="*/ 74 h 112"/>
                <a:gd name="T8" fmla="*/ 1 w 181"/>
                <a:gd name="T9" fmla="*/ 62 h 112"/>
                <a:gd name="T10" fmla="*/ 7 w 181"/>
                <a:gd name="T11" fmla="*/ 48 h 112"/>
                <a:gd name="T12" fmla="*/ 14 w 181"/>
                <a:gd name="T13" fmla="*/ 42 h 112"/>
                <a:gd name="T14" fmla="*/ 6 w 181"/>
                <a:gd name="T15" fmla="*/ 34 h 112"/>
                <a:gd name="T16" fmla="*/ 1 w 181"/>
                <a:gd name="T17" fmla="*/ 26 h 112"/>
                <a:gd name="T18" fmla="*/ 0 w 181"/>
                <a:gd name="T19" fmla="*/ 15 h 112"/>
                <a:gd name="T20" fmla="*/ 1 w 181"/>
                <a:gd name="T21" fmla="*/ 4 h 112"/>
                <a:gd name="T22" fmla="*/ 10 w 181"/>
                <a:gd name="T23" fmla="*/ 0 h 112"/>
                <a:gd name="T24" fmla="*/ 17 w 181"/>
                <a:gd name="T25" fmla="*/ 2 h 112"/>
                <a:gd name="T26" fmla="*/ 14 w 181"/>
                <a:gd name="T27" fmla="*/ 10 h 112"/>
                <a:gd name="T28" fmla="*/ 19 w 181"/>
                <a:gd name="T29" fmla="*/ 14 h 112"/>
                <a:gd name="T30" fmla="*/ 26 w 181"/>
                <a:gd name="T31" fmla="*/ 14 h 112"/>
                <a:gd name="T32" fmla="*/ 44 w 181"/>
                <a:gd name="T33" fmla="*/ 16 h 112"/>
                <a:gd name="T34" fmla="*/ 66 w 181"/>
                <a:gd name="T35" fmla="*/ 17 h 112"/>
                <a:gd name="T36" fmla="*/ 89 w 181"/>
                <a:gd name="T37" fmla="*/ 20 h 112"/>
                <a:gd name="T38" fmla="*/ 98 w 181"/>
                <a:gd name="T39" fmla="*/ 18 h 112"/>
                <a:gd name="T40" fmla="*/ 107 w 181"/>
                <a:gd name="T41" fmla="*/ 12 h 112"/>
                <a:gd name="T42" fmla="*/ 119 w 181"/>
                <a:gd name="T43" fmla="*/ 6 h 112"/>
                <a:gd name="T44" fmla="*/ 132 w 181"/>
                <a:gd name="T45" fmla="*/ 2 h 112"/>
                <a:gd name="T46" fmla="*/ 142 w 181"/>
                <a:gd name="T47" fmla="*/ 3 h 112"/>
                <a:gd name="T48" fmla="*/ 146 w 181"/>
                <a:gd name="T49" fmla="*/ 5 h 112"/>
                <a:gd name="T50" fmla="*/ 161 w 181"/>
                <a:gd name="T51" fmla="*/ 9 h 112"/>
                <a:gd name="T52" fmla="*/ 172 w 181"/>
                <a:gd name="T53" fmla="*/ 17 h 112"/>
                <a:gd name="T54" fmla="*/ 181 w 181"/>
                <a:gd name="T55" fmla="*/ 16 h 112"/>
                <a:gd name="T56" fmla="*/ 180 w 181"/>
                <a:gd name="T57" fmla="*/ 24 h 112"/>
                <a:gd name="T58" fmla="*/ 177 w 181"/>
                <a:gd name="T59" fmla="*/ 30 h 112"/>
                <a:gd name="T60" fmla="*/ 167 w 181"/>
                <a:gd name="T61" fmla="*/ 33 h 112"/>
                <a:gd name="T62" fmla="*/ 161 w 181"/>
                <a:gd name="T63" fmla="*/ 40 h 112"/>
                <a:gd name="T64" fmla="*/ 160 w 181"/>
                <a:gd name="T65" fmla="*/ 56 h 112"/>
                <a:gd name="T66" fmla="*/ 156 w 181"/>
                <a:gd name="T67" fmla="*/ 57 h 112"/>
                <a:gd name="T68" fmla="*/ 154 w 181"/>
                <a:gd name="T69" fmla="*/ 60 h 112"/>
                <a:gd name="T70" fmla="*/ 149 w 181"/>
                <a:gd name="T71" fmla="*/ 65 h 112"/>
                <a:gd name="T72" fmla="*/ 150 w 181"/>
                <a:gd name="T73" fmla="*/ 67 h 112"/>
                <a:gd name="T74" fmla="*/ 153 w 181"/>
                <a:gd name="T75" fmla="*/ 68 h 112"/>
                <a:gd name="T76" fmla="*/ 155 w 181"/>
                <a:gd name="T77" fmla="*/ 72 h 112"/>
                <a:gd name="T78" fmla="*/ 157 w 181"/>
                <a:gd name="T79" fmla="*/ 77 h 112"/>
                <a:gd name="T80" fmla="*/ 163 w 181"/>
                <a:gd name="T81" fmla="*/ 85 h 112"/>
                <a:gd name="T82" fmla="*/ 163 w 181"/>
                <a:gd name="T83" fmla="*/ 88 h 112"/>
                <a:gd name="T84" fmla="*/ 159 w 181"/>
                <a:gd name="T85" fmla="*/ 87 h 112"/>
                <a:gd name="T86" fmla="*/ 147 w 181"/>
                <a:gd name="T87" fmla="*/ 89 h 112"/>
                <a:gd name="T88" fmla="*/ 138 w 181"/>
                <a:gd name="T89" fmla="*/ 84 h 112"/>
                <a:gd name="T90" fmla="*/ 127 w 181"/>
                <a:gd name="T91" fmla="*/ 88 h 112"/>
                <a:gd name="T92" fmla="*/ 120 w 181"/>
                <a:gd name="T93" fmla="*/ 89 h 112"/>
                <a:gd name="T94" fmla="*/ 115 w 181"/>
                <a:gd name="T95" fmla="*/ 93 h 112"/>
                <a:gd name="T96" fmla="*/ 109 w 181"/>
                <a:gd name="T97" fmla="*/ 94 h 112"/>
                <a:gd name="T98" fmla="*/ 108 w 181"/>
                <a:gd name="T99" fmla="*/ 104 h 112"/>
                <a:gd name="T100" fmla="*/ 100 w 181"/>
                <a:gd name="T101" fmla="*/ 110 h 112"/>
                <a:gd name="T102" fmla="*/ 90 w 181"/>
                <a:gd name="T103" fmla="*/ 112 h 112"/>
                <a:gd name="T104" fmla="*/ 71 w 181"/>
                <a:gd name="T105" fmla="*/ 106 h 112"/>
                <a:gd name="T106" fmla="*/ 66 w 181"/>
                <a:gd name="T107" fmla="*/ 101 h 112"/>
                <a:gd name="T108" fmla="*/ 60 w 181"/>
                <a:gd name="T109" fmla="*/ 101 h 112"/>
                <a:gd name="T110" fmla="*/ 44 w 181"/>
                <a:gd name="T111" fmla="*/ 106 h 112"/>
                <a:gd name="T112" fmla="*/ 32 w 181"/>
                <a:gd name="T113" fmla="*/ 106 h 112"/>
                <a:gd name="T114" fmla="*/ 23 w 181"/>
                <a:gd name="T115" fmla="*/ 108 h 112"/>
                <a:gd name="T116" fmla="*/ 17 w 181"/>
                <a:gd name="T117" fmla="*/ 109 h 11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81"/>
                <a:gd name="T178" fmla="*/ 0 h 112"/>
                <a:gd name="T179" fmla="*/ 181 w 181"/>
                <a:gd name="T180" fmla="*/ 112 h 11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81" h="112">
                  <a:moveTo>
                    <a:pt x="17" y="109"/>
                  </a:moveTo>
                  <a:lnTo>
                    <a:pt x="16" y="100"/>
                  </a:lnTo>
                  <a:lnTo>
                    <a:pt x="13" y="84"/>
                  </a:lnTo>
                  <a:lnTo>
                    <a:pt x="1" y="74"/>
                  </a:lnTo>
                  <a:lnTo>
                    <a:pt x="1" y="62"/>
                  </a:lnTo>
                  <a:lnTo>
                    <a:pt x="7" y="48"/>
                  </a:lnTo>
                  <a:lnTo>
                    <a:pt x="14" y="42"/>
                  </a:lnTo>
                  <a:lnTo>
                    <a:pt x="6" y="34"/>
                  </a:lnTo>
                  <a:lnTo>
                    <a:pt x="1" y="26"/>
                  </a:lnTo>
                  <a:lnTo>
                    <a:pt x="0" y="15"/>
                  </a:lnTo>
                  <a:lnTo>
                    <a:pt x="1" y="4"/>
                  </a:lnTo>
                  <a:lnTo>
                    <a:pt x="10" y="0"/>
                  </a:lnTo>
                  <a:lnTo>
                    <a:pt x="17" y="2"/>
                  </a:lnTo>
                  <a:lnTo>
                    <a:pt x="14" y="10"/>
                  </a:lnTo>
                  <a:lnTo>
                    <a:pt x="19" y="14"/>
                  </a:lnTo>
                  <a:lnTo>
                    <a:pt x="26" y="14"/>
                  </a:lnTo>
                  <a:lnTo>
                    <a:pt x="44" y="16"/>
                  </a:lnTo>
                  <a:lnTo>
                    <a:pt x="66" y="17"/>
                  </a:lnTo>
                  <a:lnTo>
                    <a:pt x="89" y="20"/>
                  </a:lnTo>
                  <a:lnTo>
                    <a:pt x="98" y="18"/>
                  </a:lnTo>
                  <a:lnTo>
                    <a:pt x="107" y="12"/>
                  </a:lnTo>
                  <a:lnTo>
                    <a:pt x="119" y="6"/>
                  </a:lnTo>
                  <a:lnTo>
                    <a:pt x="132" y="2"/>
                  </a:lnTo>
                  <a:lnTo>
                    <a:pt x="142" y="3"/>
                  </a:lnTo>
                  <a:lnTo>
                    <a:pt x="146" y="5"/>
                  </a:lnTo>
                  <a:lnTo>
                    <a:pt x="161" y="9"/>
                  </a:lnTo>
                  <a:lnTo>
                    <a:pt x="172" y="17"/>
                  </a:lnTo>
                  <a:lnTo>
                    <a:pt x="181" y="16"/>
                  </a:lnTo>
                  <a:lnTo>
                    <a:pt x="180" y="24"/>
                  </a:lnTo>
                  <a:lnTo>
                    <a:pt x="177" y="30"/>
                  </a:lnTo>
                  <a:lnTo>
                    <a:pt x="167" y="33"/>
                  </a:lnTo>
                  <a:lnTo>
                    <a:pt x="161" y="40"/>
                  </a:lnTo>
                  <a:lnTo>
                    <a:pt x="160" y="56"/>
                  </a:lnTo>
                  <a:lnTo>
                    <a:pt x="156" y="57"/>
                  </a:lnTo>
                  <a:lnTo>
                    <a:pt x="154" y="60"/>
                  </a:lnTo>
                  <a:lnTo>
                    <a:pt x="149" y="65"/>
                  </a:lnTo>
                  <a:lnTo>
                    <a:pt x="150" y="67"/>
                  </a:lnTo>
                  <a:lnTo>
                    <a:pt x="153" y="68"/>
                  </a:lnTo>
                  <a:lnTo>
                    <a:pt x="155" y="72"/>
                  </a:lnTo>
                  <a:lnTo>
                    <a:pt x="157" y="77"/>
                  </a:lnTo>
                  <a:lnTo>
                    <a:pt x="163" y="85"/>
                  </a:lnTo>
                  <a:lnTo>
                    <a:pt x="163" y="88"/>
                  </a:lnTo>
                  <a:lnTo>
                    <a:pt x="159" y="87"/>
                  </a:lnTo>
                  <a:lnTo>
                    <a:pt x="147" y="89"/>
                  </a:lnTo>
                  <a:lnTo>
                    <a:pt x="138" y="84"/>
                  </a:lnTo>
                  <a:lnTo>
                    <a:pt x="127" y="88"/>
                  </a:lnTo>
                  <a:lnTo>
                    <a:pt x="120" y="89"/>
                  </a:lnTo>
                  <a:lnTo>
                    <a:pt x="115" y="93"/>
                  </a:lnTo>
                  <a:lnTo>
                    <a:pt x="109" y="94"/>
                  </a:lnTo>
                  <a:lnTo>
                    <a:pt x="108" y="104"/>
                  </a:lnTo>
                  <a:lnTo>
                    <a:pt x="100" y="110"/>
                  </a:lnTo>
                  <a:lnTo>
                    <a:pt x="90" y="112"/>
                  </a:lnTo>
                  <a:lnTo>
                    <a:pt x="71" y="106"/>
                  </a:lnTo>
                  <a:lnTo>
                    <a:pt x="66" y="101"/>
                  </a:lnTo>
                  <a:lnTo>
                    <a:pt x="60" y="101"/>
                  </a:lnTo>
                  <a:lnTo>
                    <a:pt x="44" y="106"/>
                  </a:lnTo>
                  <a:lnTo>
                    <a:pt x="32" y="106"/>
                  </a:lnTo>
                  <a:lnTo>
                    <a:pt x="23" y="108"/>
                  </a:lnTo>
                  <a:lnTo>
                    <a:pt x="17" y="109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65" name="Freeform 170"/>
            <p:cNvSpPr>
              <a:spLocks/>
            </p:cNvSpPr>
            <p:nvPr/>
          </p:nvSpPr>
          <p:spPr bwMode="auto">
            <a:xfrm>
              <a:off x="2438" y="2958"/>
              <a:ext cx="181" cy="112"/>
            </a:xfrm>
            <a:custGeom>
              <a:avLst/>
              <a:gdLst>
                <a:gd name="T0" fmla="*/ 17 w 181"/>
                <a:gd name="T1" fmla="*/ 109 h 112"/>
                <a:gd name="T2" fmla="*/ 16 w 181"/>
                <a:gd name="T3" fmla="*/ 100 h 112"/>
                <a:gd name="T4" fmla="*/ 13 w 181"/>
                <a:gd name="T5" fmla="*/ 84 h 112"/>
                <a:gd name="T6" fmla="*/ 1 w 181"/>
                <a:gd name="T7" fmla="*/ 74 h 112"/>
                <a:gd name="T8" fmla="*/ 1 w 181"/>
                <a:gd name="T9" fmla="*/ 62 h 112"/>
                <a:gd name="T10" fmla="*/ 7 w 181"/>
                <a:gd name="T11" fmla="*/ 48 h 112"/>
                <a:gd name="T12" fmla="*/ 14 w 181"/>
                <a:gd name="T13" fmla="*/ 42 h 112"/>
                <a:gd name="T14" fmla="*/ 6 w 181"/>
                <a:gd name="T15" fmla="*/ 34 h 112"/>
                <a:gd name="T16" fmla="*/ 1 w 181"/>
                <a:gd name="T17" fmla="*/ 26 h 112"/>
                <a:gd name="T18" fmla="*/ 0 w 181"/>
                <a:gd name="T19" fmla="*/ 15 h 112"/>
                <a:gd name="T20" fmla="*/ 1 w 181"/>
                <a:gd name="T21" fmla="*/ 4 h 112"/>
                <a:gd name="T22" fmla="*/ 10 w 181"/>
                <a:gd name="T23" fmla="*/ 0 h 112"/>
                <a:gd name="T24" fmla="*/ 17 w 181"/>
                <a:gd name="T25" fmla="*/ 2 h 112"/>
                <a:gd name="T26" fmla="*/ 14 w 181"/>
                <a:gd name="T27" fmla="*/ 10 h 112"/>
                <a:gd name="T28" fmla="*/ 19 w 181"/>
                <a:gd name="T29" fmla="*/ 14 h 112"/>
                <a:gd name="T30" fmla="*/ 26 w 181"/>
                <a:gd name="T31" fmla="*/ 14 h 112"/>
                <a:gd name="T32" fmla="*/ 44 w 181"/>
                <a:gd name="T33" fmla="*/ 16 h 112"/>
                <a:gd name="T34" fmla="*/ 66 w 181"/>
                <a:gd name="T35" fmla="*/ 17 h 112"/>
                <a:gd name="T36" fmla="*/ 89 w 181"/>
                <a:gd name="T37" fmla="*/ 20 h 112"/>
                <a:gd name="T38" fmla="*/ 98 w 181"/>
                <a:gd name="T39" fmla="*/ 18 h 112"/>
                <a:gd name="T40" fmla="*/ 107 w 181"/>
                <a:gd name="T41" fmla="*/ 12 h 112"/>
                <a:gd name="T42" fmla="*/ 119 w 181"/>
                <a:gd name="T43" fmla="*/ 6 h 112"/>
                <a:gd name="T44" fmla="*/ 132 w 181"/>
                <a:gd name="T45" fmla="*/ 2 h 112"/>
                <a:gd name="T46" fmla="*/ 142 w 181"/>
                <a:gd name="T47" fmla="*/ 3 h 112"/>
                <a:gd name="T48" fmla="*/ 146 w 181"/>
                <a:gd name="T49" fmla="*/ 5 h 112"/>
                <a:gd name="T50" fmla="*/ 161 w 181"/>
                <a:gd name="T51" fmla="*/ 9 h 112"/>
                <a:gd name="T52" fmla="*/ 172 w 181"/>
                <a:gd name="T53" fmla="*/ 17 h 112"/>
                <a:gd name="T54" fmla="*/ 181 w 181"/>
                <a:gd name="T55" fmla="*/ 16 h 112"/>
                <a:gd name="T56" fmla="*/ 180 w 181"/>
                <a:gd name="T57" fmla="*/ 24 h 112"/>
                <a:gd name="T58" fmla="*/ 177 w 181"/>
                <a:gd name="T59" fmla="*/ 30 h 112"/>
                <a:gd name="T60" fmla="*/ 167 w 181"/>
                <a:gd name="T61" fmla="*/ 33 h 112"/>
                <a:gd name="T62" fmla="*/ 161 w 181"/>
                <a:gd name="T63" fmla="*/ 40 h 112"/>
                <a:gd name="T64" fmla="*/ 160 w 181"/>
                <a:gd name="T65" fmla="*/ 56 h 112"/>
                <a:gd name="T66" fmla="*/ 156 w 181"/>
                <a:gd name="T67" fmla="*/ 57 h 112"/>
                <a:gd name="T68" fmla="*/ 154 w 181"/>
                <a:gd name="T69" fmla="*/ 60 h 112"/>
                <a:gd name="T70" fmla="*/ 149 w 181"/>
                <a:gd name="T71" fmla="*/ 65 h 112"/>
                <a:gd name="T72" fmla="*/ 150 w 181"/>
                <a:gd name="T73" fmla="*/ 67 h 112"/>
                <a:gd name="T74" fmla="*/ 153 w 181"/>
                <a:gd name="T75" fmla="*/ 68 h 112"/>
                <a:gd name="T76" fmla="*/ 155 w 181"/>
                <a:gd name="T77" fmla="*/ 72 h 112"/>
                <a:gd name="T78" fmla="*/ 157 w 181"/>
                <a:gd name="T79" fmla="*/ 77 h 112"/>
                <a:gd name="T80" fmla="*/ 163 w 181"/>
                <a:gd name="T81" fmla="*/ 85 h 112"/>
                <a:gd name="T82" fmla="*/ 163 w 181"/>
                <a:gd name="T83" fmla="*/ 88 h 112"/>
                <a:gd name="T84" fmla="*/ 159 w 181"/>
                <a:gd name="T85" fmla="*/ 87 h 112"/>
                <a:gd name="T86" fmla="*/ 147 w 181"/>
                <a:gd name="T87" fmla="*/ 89 h 112"/>
                <a:gd name="T88" fmla="*/ 138 w 181"/>
                <a:gd name="T89" fmla="*/ 84 h 112"/>
                <a:gd name="T90" fmla="*/ 127 w 181"/>
                <a:gd name="T91" fmla="*/ 88 h 112"/>
                <a:gd name="T92" fmla="*/ 120 w 181"/>
                <a:gd name="T93" fmla="*/ 89 h 112"/>
                <a:gd name="T94" fmla="*/ 115 w 181"/>
                <a:gd name="T95" fmla="*/ 93 h 112"/>
                <a:gd name="T96" fmla="*/ 109 w 181"/>
                <a:gd name="T97" fmla="*/ 94 h 112"/>
                <a:gd name="T98" fmla="*/ 108 w 181"/>
                <a:gd name="T99" fmla="*/ 104 h 112"/>
                <a:gd name="T100" fmla="*/ 100 w 181"/>
                <a:gd name="T101" fmla="*/ 110 h 112"/>
                <a:gd name="T102" fmla="*/ 90 w 181"/>
                <a:gd name="T103" fmla="*/ 112 h 112"/>
                <a:gd name="T104" fmla="*/ 71 w 181"/>
                <a:gd name="T105" fmla="*/ 106 h 112"/>
                <a:gd name="T106" fmla="*/ 66 w 181"/>
                <a:gd name="T107" fmla="*/ 101 h 112"/>
                <a:gd name="T108" fmla="*/ 60 w 181"/>
                <a:gd name="T109" fmla="*/ 101 h 112"/>
                <a:gd name="T110" fmla="*/ 44 w 181"/>
                <a:gd name="T111" fmla="*/ 106 h 112"/>
                <a:gd name="T112" fmla="*/ 32 w 181"/>
                <a:gd name="T113" fmla="*/ 106 h 112"/>
                <a:gd name="T114" fmla="*/ 23 w 181"/>
                <a:gd name="T115" fmla="*/ 108 h 112"/>
                <a:gd name="T116" fmla="*/ 17 w 181"/>
                <a:gd name="T117" fmla="*/ 109 h 11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81"/>
                <a:gd name="T178" fmla="*/ 0 h 112"/>
                <a:gd name="T179" fmla="*/ 181 w 181"/>
                <a:gd name="T180" fmla="*/ 112 h 112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81" h="112">
                  <a:moveTo>
                    <a:pt x="17" y="109"/>
                  </a:moveTo>
                  <a:lnTo>
                    <a:pt x="16" y="100"/>
                  </a:lnTo>
                  <a:lnTo>
                    <a:pt x="13" y="84"/>
                  </a:lnTo>
                  <a:lnTo>
                    <a:pt x="1" y="74"/>
                  </a:lnTo>
                  <a:lnTo>
                    <a:pt x="1" y="62"/>
                  </a:lnTo>
                  <a:lnTo>
                    <a:pt x="7" y="48"/>
                  </a:lnTo>
                  <a:lnTo>
                    <a:pt x="14" y="42"/>
                  </a:lnTo>
                  <a:lnTo>
                    <a:pt x="6" y="34"/>
                  </a:lnTo>
                  <a:lnTo>
                    <a:pt x="1" y="26"/>
                  </a:lnTo>
                  <a:lnTo>
                    <a:pt x="0" y="15"/>
                  </a:lnTo>
                  <a:lnTo>
                    <a:pt x="1" y="4"/>
                  </a:lnTo>
                  <a:lnTo>
                    <a:pt x="10" y="0"/>
                  </a:lnTo>
                  <a:lnTo>
                    <a:pt x="17" y="2"/>
                  </a:lnTo>
                  <a:lnTo>
                    <a:pt x="14" y="10"/>
                  </a:lnTo>
                  <a:lnTo>
                    <a:pt x="19" y="14"/>
                  </a:lnTo>
                  <a:lnTo>
                    <a:pt x="26" y="14"/>
                  </a:lnTo>
                  <a:lnTo>
                    <a:pt x="44" y="16"/>
                  </a:lnTo>
                  <a:lnTo>
                    <a:pt x="66" y="17"/>
                  </a:lnTo>
                  <a:lnTo>
                    <a:pt x="89" y="20"/>
                  </a:lnTo>
                  <a:lnTo>
                    <a:pt x="98" y="18"/>
                  </a:lnTo>
                  <a:lnTo>
                    <a:pt x="107" y="12"/>
                  </a:lnTo>
                  <a:lnTo>
                    <a:pt x="119" y="6"/>
                  </a:lnTo>
                  <a:lnTo>
                    <a:pt x="132" y="2"/>
                  </a:lnTo>
                  <a:lnTo>
                    <a:pt x="142" y="3"/>
                  </a:lnTo>
                  <a:lnTo>
                    <a:pt x="146" y="5"/>
                  </a:lnTo>
                  <a:lnTo>
                    <a:pt x="161" y="9"/>
                  </a:lnTo>
                  <a:lnTo>
                    <a:pt x="172" y="17"/>
                  </a:lnTo>
                  <a:lnTo>
                    <a:pt x="181" y="16"/>
                  </a:lnTo>
                  <a:lnTo>
                    <a:pt x="180" y="24"/>
                  </a:lnTo>
                  <a:lnTo>
                    <a:pt x="177" y="30"/>
                  </a:lnTo>
                  <a:lnTo>
                    <a:pt x="167" y="33"/>
                  </a:lnTo>
                  <a:lnTo>
                    <a:pt x="161" y="40"/>
                  </a:lnTo>
                  <a:lnTo>
                    <a:pt x="160" y="56"/>
                  </a:lnTo>
                  <a:lnTo>
                    <a:pt x="156" y="57"/>
                  </a:lnTo>
                  <a:lnTo>
                    <a:pt x="154" y="60"/>
                  </a:lnTo>
                  <a:lnTo>
                    <a:pt x="149" y="65"/>
                  </a:lnTo>
                  <a:lnTo>
                    <a:pt x="150" y="67"/>
                  </a:lnTo>
                  <a:lnTo>
                    <a:pt x="153" y="68"/>
                  </a:lnTo>
                  <a:lnTo>
                    <a:pt x="155" y="72"/>
                  </a:lnTo>
                  <a:lnTo>
                    <a:pt x="157" y="77"/>
                  </a:lnTo>
                  <a:lnTo>
                    <a:pt x="163" y="85"/>
                  </a:lnTo>
                  <a:lnTo>
                    <a:pt x="163" y="88"/>
                  </a:lnTo>
                  <a:lnTo>
                    <a:pt x="159" y="87"/>
                  </a:lnTo>
                  <a:lnTo>
                    <a:pt x="147" y="89"/>
                  </a:lnTo>
                  <a:lnTo>
                    <a:pt x="138" y="84"/>
                  </a:lnTo>
                  <a:lnTo>
                    <a:pt x="127" y="88"/>
                  </a:lnTo>
                  <a:lnTo>
                    <a:pt x="120" y="89"/>
                  </a:lnTo>
                  <a:lnTo>
                    <a:pt x="115" y="93"/>
                  </a:lnTo>
                  <a:lnTo>
                    <a:pt x="109" y="94"/>
                  </a:lnTo>
                  <a:lnTo>
                    <a:pt x="108" y="104"/>
                  </a:lnTo>
                  <a:lnTo>
                    <a:pt x="100" y="110"/>
                  </a:lnTo>
                  <a:lnTo>
                    <a:pt x="90" y="112"/>
                  </a:lnTo>
                  <a:lnTo>
                    <a:pt x="71" y="106"/>
                  </a:lnTo>
                  <a:lnTo>
                    <a:pt x="66" y="101"/>
                  </a:lnTo>
                  <a:lnTo>
                    <a:pt x="60" y="101"/>
                  </a:lnTo>
                  <a:lnTo>
                    <a:pt x="44" y="106"/>
                  </a:lnTo>
                  <a:lnTo>
                    <a:pt x="32" y="106"/>
                  </a:lnTo>
                  <a:lnTo>
                    <a:pt x="23" y="108"/>
                  </a:lnTo>
                  <a:lnTo>
                    <a:pt x="17" y="109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51" name="Group 174"/>
          <p:cNvGrpSpPr>
            <a:grpSpLocks/>
          </p:cNvGrpSpPr>
          <p:nvPr/>
        </p:nvGrpSpPr>
        <p:grpSpPr bwMode="auto">
          <a:xfrm>
            <a:off x="4711700" y="4629150"/>
            <a:ext cx="11113" cy="15875"/>
            <a:chOff x="2210" y="2916"/>
            <a:chExt cx="7" cy="10"/>
          </a:xfrm>
        </p:grpSpPr>
        <p:sp>
          <p:nvSpPr>
            <p:cNvPr id="34362" name="Freeform 172"/>
            <p:cNvSpPr>
              <a:spLocks/>
            </p:cNvSpPr>
            <p:nvPr/>
          </p:nvSpPr>
          <p:spPr bwMode="auto">
            <a:xfrm>
              <a:off x="2210" y="2916"/>
              <a:ext cx="7" cy="10"/>
            </a:xfrm>
            <a:custGeom>
              <a:avLst/>
              <a:gdLst>
                <a:gd name="T0" fmla="*/ 2 w 7"/>
                <a:gd name="T1" fmla="*/ 0 h 10"/>
                <a:gd name="T2" fmla="*/ 3 w 7"/>
                <a:gd name="T3" fmla="*/ 5 h 10"/>
                <a:gd name="T4" fmla="*/ 7 w 7"/>
                <a:gd name="T5" fmla="*/ 8 h 10"/>
                <a:gd name="T6" fmla="*/ 7 w 7"/>
                <a:gd name="T7" fmla="*/ 10 h 10"/>
                <a:gd name="T8" fmla="*/ 4 w 7"/>
                <a:gd name="T9" fmla="*/ 8 h 10"/>
                <a:gd name="T10" fmla="*/ 1 w 7"/>
                <a:gd name="T11" fmla="*/ 8 h 10"/>
                <a:gd name="T12" fmla="*/ 0 w 7"/>
                <a:gd name="T13" fmla="*/ 6 h 10"/>
                <a:gd name="T14" fmla="*/ 1 w 7"/>
                <a:gd name="T15" fmla="*/ 2 h 10"/>
                <a:gd name="T16" fmla="*/ 2 w 7"/>
                <a:gd name="T17" fmla="*/ 0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0"/>
                <a:gd name="T29" fmla="*/ 7 w 7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0">
                  <a:moveTo>
                    <a:pt x="2" y="0"/>
                  </a:moveTo>
                  <a:lnTo>
                    <a:pt x="3" y="5"/>
                  </a:lnTo>
                  <a:lnTo>
                    <a:pt x="7" y="8"/>
                  </a:lnTo>
                  <a:lnTo>
                    <a:pt x="7" y="10"/>
                  </a:lnTo>
                  <a:lnTo>
                    <a:pt x="4" y="8"/>
                  </a:lnTo>
                  <a:lnTo>
                    <a:pt x="1" y="8"/>
                  </a:lnTo>
                  <a:lnTo>
                    <a:pt x="0" y="6"/>
                  </a:lnTo>
                  <a:lnTo>
                    <a:pt x="1" y="2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63" name="Freeform 173"/>
            <p:cNvSpPr>
              <a:spLocks/>
            </p:cNvSpPr>
            <p:nvPr/>
          </p:nvSpPr>
          <p:spPr bwMode="auto">
            <a:xfrm>
              <a:off x="2210" y="2916"/>
              <a:ext cx="7" cy="10"/>
            </a:xfrm>
            <a:custGeom>
              <a:avLst/>
              <a:gdLst>
                <a:gd name="T0" fmla="*/ 2 w 7"/>
                <a:gd name="T1" fmla="*/ 0 h 10"/>
                <a:gd name="T2" fmla="*/ 3 w 7"/>
                <a:gd name="T3" fmla="*/ 5 h 10"/>
                <a:gd name="T4" fmla="*/ 7 w 7"/>
                <a:gd name="T5" fmla="*/ 8 h 10"/>
                <a:gd name="T6" fmla="*/ 7 w 7"/>
                <a:gd name="T7" fmla="*/ 10 h 10"/>
                <a:gd name="T8" fmla="*/ 4 w 7"/>
                <a:gd name="T9" fmla="*/ 8 h 10"/>
                <a:gd name="T10" fmla="*/ 1 w 7"/>
                <a:gd name="T11" fmla="*/ 8 h 10"/>
                <a:gd name="T12" fmla="*/ 0 w 7"/>
                <a:gd name="T13" fmla="*/ 6 h 10"/>
                <a:gd name="T14" fmla="*/ 1 w 7"/>
                <a:gd name="T15" fmla="*/ 2 h 10"/>
                <a:gd name="T16" fmla="*/ 2 w 7"/>
                <a:gd name="T17" fmla="*/ 0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"/>
                <a:gd name="T28" fmla="*/ 0 h 10"/>
                <a:gd name="T29" fmla="*/ 7 w 7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" h="10">
                  <a:moveTo>
                    <a:pt x="2" y="0"/>
                  </a:moveTo>
                  <a:lnTo>
                    <a:pt x="3" y="5"/>
                  </a:lnTo>
                  <a:lnTo>
                    <a:pt x="7" y="8"/>
                  </a:lnTo>
                  <a:lnTo>
                    <a:pt x="7" y="10"/>
                  </a:lnTo>
                  <a:lnTo>
                    <a:pt x="4" y="8"/>
                  </a:lnTo>
                  <a:lnTo>
                    <a:pt x="1" y="8"/>
                  </a:lnTo>
                  <a:lnTo>
                    <a:pt x="0" y="6"/>
                  </a:lnTo>
                  <a:lnTo>
                    <a:pt x="1" y="2"/>
                  </a:lnTo>
                  <a:lnTo>
                    <a:pt x="2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52" name="Group 177"/>
          <p:cNvGrpSpPr>
            <a:grpSpLocks/>
          </p:cNvGrpSpPr>
          <p:nvPr/>
        </p:nvGrpSpPr>
        <p:grpSpPr bwMode="auto">
          <a:xfrm>
            <a:off x="4703763" y="4630738"/>
            <a:ext cx="9525" cy="33337"/>
            <a:chOff x="2205" y="2917"/>
            <a:chExt cx="6" cy="21"/>
          </a:xfrm>
        </p:grpSpPr>
        <p:sp>
          <p:nvSpPr>
            <p:cNvPr id="34360" name="Freeform 175"/>
            <p:cNvSpPr>
              <a:spLocks/>
            </p:cNvSpPr>
            <p:nvPr/>
          </p:nvSpPr>
          <p:spPr bwMode="auto">
            <a:xfrm>
              <a:off x="2205" y="2917"/>
              <a:ext cx="6" cy="21"/>
            </a:xfrm>
            <a:custGeom>
              <a:avLst/>
              <a:gdLst>
                <a:gd name="T0" fmla="*/ 0 w 6"/>
                <a:gd name="T1" fmla="*/ 1 h 21"/>
                <a:gd name="T2" fmla="*/ 0 w 6"/>
                <a:gd name="T3" fmla="*/ 0 h 21"/>
                <a:gd name="T4" fmla="*/ 1 w 6"/>
                <a:gd name="T5" fmla="*/ 0 h 21"/>
                <a:gd name="T6" fmla="*/ 2 w 6"/>
                <a:gd name="T7" fmla="*/ 2 h 21"/>
                <a:gd name="T8" fmla="*/ 2 w 6"/>
                <a:gd name="T9" fmla="*/ 6 h 21"/>
                <a:gd name="T10" fmla="*/ 3 w 6"/>
                <a:gd name="T11" fmla="*/ 9 h 21"/>
                <a:gd name="T12" fmla="*/ 3 w 6"/>
                <a:gd name="T13" fmla="*/ 14 h 21"/>
                <a:gd name="T14" fmla="*/ 6 w 6"/>
                <a:gd name="T15" fmla="*/ 21 h 21"/>
                <a:gd name="T16" fmla="*/ 0 w 6"/>
                <a:gd name="T17" fmla="*/ 13 h 21"/>
                <a:gd name="T18" fmla="*/ 0 w 6"/>
                <a:gd name="T19" fmla="*/ 12 h 21"/>
                <a:gd name="T20" fmla="*/ 2 w 6"/>
                <a:gd name="T21" fmla="*/ 9 h 21"/>
                <a:gd name="T22" fmla="*/ 2 w 6"/>
                <a:gd name="T23" fmla="*/ 6 h 21"/>
                <a:gd name="T24" fmla="*/ 0 w 6"/>
                <a:gd name="T25" fmla="*/ 1 h 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"/>
                <a:gd name="T40" fmla="*/ 0 h 21"/>
                <a:gd name="T41" fmla="*/ 6 w 6"/>
                <a:gd name="T42" fmla="*/ 21 h 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" h="21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3" y="9"/>
                  </a:lnTo>
                  <a:lnTo>
                    <a:pt x="3" y="14"/>
                  </a:lnTo>
                  <a:lnTo>
                    <a:pt x="6" y="21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2" y="9"/>
                  </a:lnTo>
                  <a:lnTo>
                    <a:pt x="2" y="6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61" name="Freeform 176"/>
            <p:cNvSpPr>
              <a:spLocks/>
            </p:cNvSpPr>
            <p:nvPr/>
          </p:nvSpPr>
          <p:spPr bwMode="auto">
            <a:xfrm>
              <a:off x="2205" y="2917"/>
              <a:ext cx="6" cy="21"/>
            </a:xfrm>
            <a:custGeom>
              <a:avLst/>
              <a:gdLst>
                <a:gd name="T0" fmla="*/ 0 w 6"/>
                <a:gd name="T1" fmla="*/ 1 h 21"/>
                <a:gd name="T2" fmla="*/ 0 w 6"/>
                <a:gd name="T3" fmla="*/ 0 h 21"/>
                <a:gd name="T4" fmla="*/ 1 w 6"/>
                <a:gd name="T5" fmla="*/ 0 h 21"/>
                <a:gd name="T6" fmla="*/ 2 w 6"/>
                <a:gd name="T7" fmla="*/ 2 h 21"/>
                <a:gd name="T8" fmla="*/ 2 w 6"/>
                <a:gd name="T9" fmla="*/ 6 h 21"/>
                <a:gd name="T10" fmla="*/ 3 w 6"/>
                <a:gd name="T11" fmla="*/ 9 h 21"/>
                <a:gd name="T12" fmla="*/ 3 w 6"/>
                <a:gd name="T13" fmla="*/ 14 h 21"/>
                <a:gd name="T14" fmla="*/ 6 w 6"/>
                <a:gd name="T15" fmla="*/ 21 h 21"/>
                <a:gd name="T16" fmla="*/ 0 w 6"/>
                <a:gd name="T17" fmla="*/ 13 h 21"/>
                <a:gd name="T18" fmla="*/ 0 w 6"/>
                <a:gd name="T19" fmla="*/ 12 h 21"/>
                <a:gd name="T20" fmla="*/ 2 w 6"/>
                <a:gd name="T21" fmla="*/ 9 h 21"/>
                <a:gd name="T22" fmla="*/ 2 w 6"/>
                <a:gd name="T23" fmla="*/ 6 h 21"/>
                <a:gd name="T24" fmla="*/ 0 w 6"/>
                <a:gd name="T25" fmla="*/ 1 h 2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"/>
                <a:gd name="T40" fmla="*/ 0 h 21"/>
                <a:gd name="T41" fmla="*/ 6 w 6"/>
                <a:gd name="T42" fmla="*/ 21 h 2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" h="21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2"/>
                  </a:lnTo>
                  <a:lnTo>
                    <a:pt x="2" y="6"/>
                  </a:lnTo>
                  <a:lnTo>
                    <a:pt x="3" y="9"/>
                  </a:lnTo>
                  <a:lnTo>
                    <a:pt x="3" y="14"/>
                  </a:lnTo>
                  <a:lnTo>
                    <a:pt x="6" y="21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2" y="9"/>
                  </a:lnTo>
                  <a:lnTo>
                    <a:pt x="2" y="6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53" name="Group 180"/>
          <p:cNvGrpSpPr>
            <a:grpSpLocks/>
          </p:cNvGrpSpPr>
          <p:nvPr/>
        </p:nvGrpSpPr>
        <p:grpSpPr bwMode="auto">
          <a:xfrm>
            <a:off x="4799013" y="4743450"/>
            <a:ext cx="20637" cy="7938"/>
            <a:chOff x="2265" y="2988"/>
            <a:chExt cx="13" cy="5"/>
          </a:xfrm>
        </p:grpSpPr>
        <p:sp>
          <p:nvSpPr>
            <p:cNvPr id="34358" name="Freeform 178"/>
            <p:cNvSpPr>
              <a:spLocks/>
            </p:cNvSpPr>
            <p:nvPr/>
          </p:nvSpPr>
          <p:spPr bwMode="auto">
            <a:xfrm>
              <a:off x="2265" y="2988"/>
              <a:ext cx="13" cy="5"/>
            </a:xfrm>
            <a:custGeom>
              <a:avLst/>
              <a:gdLst>
                <a:gd name="T0" fmla="*/ 0 w 13"/>
                <a:gd name="T1" fmla="*/ 1 h 5"/>
                <a:gd name="T2" fmla="*/ 2 w 13"/>
                <a:gd name="T3" fmla="*/ 0 h 5"/>
                <a:gd name="T4" fmla="*/ 8 w 13"/>
                <a:gd name="T5" fmla="*/ 2 h 5"/>
                <a:gd name="T6" fmla="*/ 12 w 13"/>
                <a:gd name="T7" fmla="*/ 3 h 5"/>
                <a:gd name="T8" fmla="*/ 13 w 13"/>
                <a:gd name="T9" fmla="*/ 4 h 5"/>
                <a:gd name="T10" fmla="*/ 12 w 13"/>
                <a:gd name="T11" fmla="*/ 5 h 5"/>
                <a:gd name="T12" fmla="*/ 7 w 13"/>
                <a:gd name="T13" fmla="*/ 5 h 5"/>
                <a:gd name="T14" fmla="*/ 2 w 13"/>
                <a:gd name="T15" fmla="*/ 5 h 5"/>
                <a:gd name="T16" fmla="*/ 0 w 13"/>
                <a:gd name="T17" fmla="*/ 1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5"/>
                <a:gd name="T29" fmla="*/ 13 w 13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5">
                  <a:moveTo>
                    <a:pt x="0" y="1"/>
                  </a:moveTo>
                  <a:lnTo>
                    <a:pt x="2" y="0"/>
                  </a:lnTo>
                  <a:lnTo>
                    <a:pt x="8" y="2"/>
                  </a:lnTo>
                  <a:lnTo>
                    <a:pt x="12" y="3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7" y="5"/>
                  </a:lnTo>
                  <a:lnTo>
                    <a:pt x="2" y="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59" name="Freeform 179"/>
            <p:cNvSpPr>
              <a:spLocks/>
            </p:cNvSpPr>
            <p:nvPr/>
          </p:nvSpPr>
          <p:spPr bwMode="auto">
            <a:xfrm>
              <a:off x="2265" y="2988"/>
              <a:ext cx="13" cy="5"/>
            </a:xfrm>
            <a:custGeom>
              <a:avLst/>
              <a:gdLst>
                <a:gd name="T0" fmla="*/ 0 w 13"/>
                <a:gd name="T1" fmla="*/ 1 h 5"/>
                <a:gd name="T2" fmla="*/ 2 w 13"/>
                <a:gd name="T3" fmla="*/ 0 h 5"/>
                <a:gd name="T4" fmla="*/ 8 w 13"/>
                <a:gd name="T5" fmla="*/ 2 h 5"/>
                <a:gd name="T6" fmla="*/ 12 w 13"/>
                <a:gd name="T7" fmla="*/ 3 h 5"/>
                <a:gd name="T8" fmla="*/ 13 w 13"/>
                <a:gd name="T9" fmla="*/ 4 h 5"/>
                <a:gd name="T10" fmla="*/ 12 w 13"/>
                <a:gd name="T11" fmla="*/ 5 h 5"/>
                <a:gd name="T12" fmla="*/ 7 w 13"/>
                <a:gd name="T13" fmla="*/ 5 h 5"/>
                <a:gd name="T14" fmla="*/ 2 w 13"/>
                <a:gd name="T15" fmla="*/ 5 h 5"/>
                <a:gd name="T16" fmla="*/ 0 w 13"/>
                <a:gd name="T17" fmla="*/ 1 h 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5"/>
                <a:gd name="T29" fmla="*/ 13 w 13"/>
                <a:gd name="T30" fmla="*/ 5 h 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5">
                  <a:moveTo>
                    <a:pt x="0" y="1"/>
                  </a:moveTo>
                  <a:lnTo>
                    <a:pt x="2" y="0"/>
                  </a:lnTo>
                  <a:lnTo>
                    <a:pt x="8" y="2"/>
                  </a:lnTo>
                  <a:lnTo>
                    <a:pt x="12" y="3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7" y="5"/>
                  </a:lnTo>
                  <a:lnTo>
                    <a:pt x="2" y="5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54" name="Group 183"/>
          <p:cNvGrpSpPr>
            <a:grpSpLocks/>
          </p:cNvGrpSpPr>
          <p:nvPr/>
        </p:nvGrpSpPr>
        <p:grpSpPr bwMode="auto">
          <a:xfrm>
            <a:off x="4811713" y="4768850"/>
            <a:ext cx="20637" cy="6350"/>
            <a:chOff x="2273" y="3004"/>
            <a:chExt cx="13" cy="4"/>
          </a:xfrm>
        </p:grpSpPr>
        <p:sp>
          <p:nvSpPr>
            <p:cNvPr id="34356" name="Freeform 181"/>
            <p:cNvSpPr>
              <a:spLocks/>
            </p:cNvSpPr>
            <p:nvPr/>
          </p:nvSpPr>
          <p:spPr bwMode="auto">
            <a:xfrm>
              <a:off x="2273" y="3004"/>
              <a:ext cx="13" cy="4"/>
            </a:xfrm>
            <a:custGeom>
              <a:avLst/>
              <a:gdLst>
                <a:gd name="T0" fmla="*/ 0 w 13"/>
                <a:gd name="T1" fmla="*/ 1 h 4"/>
                <a:gd name="T2" fmla="*/ 1 w 13"/>
                <a:gd name="T3" fmla="*/ 0 h 4"/>
                <a:gd name="T4" fmla="*/ 11 w 13"/>
                <a:gd name="T5" fmla="*/ 0 h 4"/>
                <a:gd name="T6" fmla="*/ 12 w 13"/>
                <a:gd name="T7" fmla="*/ 1 h 4"/>
                <a:gd name="T8" fmla="*/ 13 w 13"/>
                <a:gd name="T9" fmla="*/ 3 h 4"/>
                <a:gd name="T10" fmla="*/ 1 w 13"/>
                <a:gd name="T11" fmla="*/ 4 h 4"/>
                <a:gd name="T12" fmla="*/ 0 w 13"/>
                <a:gd name="T13" fmla="*/ 1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4"/>
                <a:gd name="T23" fmla="*/ 13 w 1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4">
                  <a:moveTo>
                    <a:pt x="0" y="1"/>
                  </a:moveTo>
                  <a:lnTo>
                    <a:pt x="1" y="0"/>
                  </a:lnTo>
                  <a:lnTo>
                    <a:pt x="11" y="0"/>
                  </a:lnTo>
                  <a:lnTo>
                    <a:pt x="12" y="1"/>
                  </a:lnTo>
                  <a:lnTo>
                    <a:pt x="13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57" name="Freeform 182"/>
            <p:cNvSpPr>
              <a:spLocks/>
            </p:cNvSpPr>
            <p:nvPr/>
          </p:nvSpPr>
          <p:spPr bwMode="auto">
            <a:xfrm>
              <a:off x="2273" y="3004"/>
              <a:ext cx="13" cy="4"/>
            </a:xfrm>
            <a:custGeom>
              <a:avLst/>
              <a:gdLst>
                <a:gd name="T0" fmla="*/ 0 w 13"/>
                <a:gd name="T1" fmla="*/ 1 h 4"/>
                <a:gd name="T2" fmla="*/ 1 w 13"/>
                <a:gd name="T3" fmla="*/ 0 h 4"/>
                <a:gd name="T4" fmla="*/ 11 w 13"/>
                <a:gd name="T5" fmla="*/ 0 h 4"/>
                <a:gd name="T6" fmla="*/ 12 w 13"/>
                <a:gd name="T7" fmla="*/ 1 h 4"/>
                <a:gd name="T8" fmla="*/ 13 w 13"/>
                <a:gd name="T9" fmla="*/ 3 h 4"/>
                <a:gd name="T10" fmla="*/ 1 w 13"/>
                <a:gd name="T11" fmla="*/ 4 h 4"/>
                <a:gd name="T12" fmla="*/ 0 w 13"/>
                <a:gd name="T13" fmla="*/ 1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4"/>
                <a:gd name="T23" fmla="*/ 13 w 13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4">
                  <a:moveTo>
                    <a:pt x="0" y="1"/>
                  </a:moveTo>
                  <a:lnTo>
                    <a:pt x="1" y="0"/>
                  </a:lnTo>
                  <a:lnTo>
                    <a:pt x="11" y="0"/>
                  </a:lnTo>
                  <a:lnTo>
                    <a:pt x="12" y="1"/>
                  </a:lnTo>
                  <a:lnTo>
                    <a:pt x="13" y="3"/>
                  </a:lnTo>
                  <a:lnTo>
                    <a:pt x="1" y="4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55" name="Group 186"/>
          <p:cNvGrpSpPr>
            <a:grpSpLocks/>
          </p:cNvGrpSpPr>
          <p:nvPr/>
        </p:nvGrpSpPr>
        <p:grpSpPr bwMode="auto">
          <a:xfrm>
            <a:off x="4832350" y="4765675"/>
            <a:ext cx="61913" cy="33338"/>
            <a:chOff x="2286" y="3002"/>
            <a:chExt cx="39" cy="21"/>
          </a:xfrm>
        </p:grpSpPr>
        <p:sp>
          <p:nvSpPr>
            <p:cNvPr id="34354" name="Freeform 184"/>
            <p:cNvSpPr>
              <a:spLocks/>
            </p:cNvSpPr>
            <p:nvPr/>
          </p:nvSpPr>
          <p:spPr bwMode="auto">
            <a:xfrm>
              <a:off x="2286" y="3002"/>
              <a:ext cx="39" cy="21"/>
            </a:xfrm>
            <a:custGeom>
              <a:avLst/>
              <a:gdLst>
                <a:gd name="T0" fmla="*/ 39 w 39"/>
                <a:gd name="T1" fmla="*/ 21 h 21"/>
                <a:gd name="T2" fmla="*/ 23 w 39"/>
                <a:gd name="T3" fmla="*/ 10 h 21"/>
                <a:gd name="T4" fmla="*/ 15 w 39"/>
                <a:gd name="T5" fmla="*/ 9 h 21"/>
                <a:gd name="T6" fmla="*/ 7 w 39"/>
                <a:gd name="T7" fmla="*/ 4 h 21"/>
                <a:gd name="T8" fmla="*/ 0 w 39"/>
                <a:gd name="T9" fmla="*/ 2 h 21"/>
                <a:gd name="T10" fmla="*/ 2 w 39"/>
                <a:gd name="T11" fmla="*/ 0 h 21"/>
                <a:gd name="T12" fmla="*/ 8 w 39"/>
                <a:gd name="T13" fmla="*/ 1 h 21"/>
                <a:gd name="T14" fmla="*/ 10 w 39"/>
                <a:gd name="T15" fmla="*/ 4 h 21"/>
                <a:gd name="T16" fmla="*/ 13 w 39"/>
                <a:gd name="T17" fmla="*/ 5 h 21"/>
                <a:gd name="T18" fmla="*/ 17 w 39"/>
                <a:gd name="T19" fmla="*/ 3 h 21"/>
                <a:gd name="T20" fmla="*/ 21 w 39"/>
                <a:gd name="T21" fmla="*/ 3 h 21"/>
                <a:gd name="T22" fmla="*/ 21 w 39"/>
                <a:gd name="T23" fmla="*/ 6 h 21"/>
                <a:gd name="T24" fmla="*/ 25 w 39"/>
                <a:gd name="T25" fmla="*/ 9 h 21"/>
                <a:gd name="T26" fmla="*/ 28 w 39"/>
                <a:gd name="T27" fmla="*/ 10 h 21"/>
                <a:gd name="T28" fmla="*/ 33 w 39"/>
                <a:gd name="T29" fmla="*/ 14 h 21"/>
                <a:gd name="T30" fmla="*/ 37 w 39"/>
                <a:gd name="T31" fmla="*/ 15 h 21"/>
                <a:gd name="T32" fmla="*/ 37 w 39"/>
                <a:gd name="T33" fmla="*/ 18 h 21"/>
                <a:gd name="T34" fmla="*/ 39 w 39"/>
                <a:gd name="T35" fmla="*/ 18 h 21"/>
                <a:gd name="T36" fmla="*/ 39 w 39"/>
                <a:gd name="T37" fmla="*/ 21 h 2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9"/>
                <a:gd name="T58" fmla="*/ 0 h 21"/>
                <a:gd name="T59" fmla="*/ 39 w 39"/>
                <a:gd name="T60" fmla="*/ 21 h 2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9" h="21">
                  <a:moveTo>
                    <a:pt x="39" y="21"/>
                  </a:moveTo>
                  <a:lnTo>
                    <a:pt x="23" y="10"/>
                  </a:lnTo>
                  <a:lnTo>
                    <a:pt x="15" y="9"/>
                  </a:lnTo>
                  <a:lnTo>
                    <a:pt x="7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8" y="1"/>
                  </a:lnTo>
                  <a:lnTo>
                    <a:pt x="10" y="4"/>
                  </a:lnTo>
                  <a:lnTo>
                    <a:pt x="13" y="5"/>
                  </a:lnTo>
                  <a:lnTo>
                    <a:pt x="17" y="3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5" y="9"/>
                  </a:lnTo>
                  <a:lnTo>
                    <a:pt x="28" y="10"/>
                  </a:lnTo>
                  <a:lnTo>
                    <a:pt x="33" y="14"/>
                  </a:lnTo>
                  <a:lnTo>
                    <a:pt x="37" y="15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39" y="2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55" name="Freeform 185"/>
            <p:cNvSpPr>
              <a:spLocks/>
            </p:cNvSpPr>
            <p:nvPr/>
          </p:nvSpPr>
          <p:spPr bwMode="auto">
            <a:xfrm>
              <a:off x="2286" y="3002"/>
              <a:ext cx="39" cy="21"/>
            </a:xfrm>
            <a:custGeom>
              <a:avLst/>
              <a:gdLst>
                <a:gd name="T0" fmla="*/ 39 w 39"/>
                <a:gd name="T1" fmla="*/ 21 h 21"/>
                <a:gd name="T2" fmla="*/ 23 w 39"/>
                <a:gd name="T3" fmla="*/ 10 h 21"/>
                <a:gd name="T4" fmla="*/ 15 w 39"/>
                <a:gd name="T5" fmla="*/ 9 h 21"/>
                <a:gd name="T6" fmla="*/ 7 w 39"/>
                <a:gd name="T7" fmla="*/ 4 h 21"/>
                <a:gd name="T8" fmla="*/ 0 w 39"/>
                <a:gd name="T9" fmla="*/ 2 h 21"/>
                <a:gd name="T10" fmla="*/ 2 w 39"/>
                <a:gd name="T11" fmla="*/ 0 h 21"/>
                <a:gd name="T12" fmla="*/ 8 w 39"/>
                <a:gd name="T13" fmla="*/ 1 h 21"/>
                <a:gd name="T14" fmla="*/ 10 w 39"/>
                <a:gd name="T15" fmla="*/ 4 h 21"/>
                <a:gd name="T16" fmla="*/ 13 w 39"/>
                <a:gd name="T17" fmla="*/ 5 h 21"/>
                <a:gd name="T18" fmla="*/ 17 w 39"/>
                <a:gd name="T19" fmla="*/ 3 h 21"/>
                <a:gd name="T20" fmla="*/ 21 w 39"/>
                <a:gd name="T21" fmla="*/ 3 h 21"/>
                <a:gd name="T22" fmla="*/ 21 w 39"/>
                <a:gd name="T23" fmla="*/ 6 h 21"/>
                <a:gd name="T24" fmla="*/ 25 w 39"/>
                <a:gd name="T25" fmla="*/ 9 h 21"/>
                <a:gd name="T26" fmla="*/ 28 w 39"/>
                <a:gd name="T27" fmla="*/ 10 h 21"/>
                <a:gd name="T28" fmla="*/ 33 w 39"/>
                <a:gd name="T29" fmla="*/ 14 h 21"/>
                <a:gd name="T30" fmla="*/ 37 w 39"/>
                <a:gd name="T31" fmla="*/ 15 h 21"/>
                <a:gd name="T32" fmla="*/ 37 w 39"/>
                <a:gd name="T33" fmla="*/ 18 h 21"/>
                <a:gd name="T34" fmla="*/ 39 w 39"/>
                <a:gd name="T35" fmla="*/ 18 h 21"/>
                <a:gd name="T36" fmla="*/ 39 w 39"/>
                <a:gd name="T37" fmla="*/ 21 h 2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9"/>
                <a:gd name="T58" fmla="*/ 0 h 21"/>
                <a:gd name="T59" fmla="*/ 39 w 39"/>
                <a:gd name="T60" fmla="*/ 21 h 2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9" h="21">
                  <a:moveTo>
                    <a:pt x="39" y="21"/>
                  </a:moveTo>
                  <a:lnTo>
                    <a:pt x="23" y="10"/>
                  </a:lnTo>
                  <a:lnTo>
                    <a:pt x="15" y="9"/>
                  </a:lnTo>
                  <a:lnTo>
                    <a:pt x="7" y="4"/>
                  </a:lnTo>
                  <a:lnTo>
                    <a:pt x="0" y="2"/>
                  </a:lnTo>
                  <a:lnTo>
                    <a:pt x="2" y="0"/>
                  </a:lnTo>
                  <a:lnTo>
                    <a:pt x="8" y="1"/>
                  </a:lnTo>
                  <a:lnTo>
                    <a:pt x="10" y="4"/>
                  </a:lnTo>
                  <a:lnTo>
                    <a:pt x="13" y="5"/>
                  </a:lnTo>
                  <a:lnTo>
                    <a:pt x="17" y="3"/>
                  </a:lnTo>
                  <a:lnTo>
                    <a:pt x="21" y="3"/>
                  </a:lnTo>
                  <a:lnTo>
                    <a:pt x="21" y="6"/>
                  </a:lnTo>
                  <a:lnTo>
                    <a:pt x="25" y="9"/>
                  </a:lnTo>
                  <a:lnTo>
                    <a:pt x="28" y="10"/>
                  </a:lnTo>
                  <a:lnTo>
                    <a:pt x="33" y="14"/>
                  </a:lnTo>
                  <a:lnTo>
                    <a:pt x="37" y="15"/>
                  </a:lnTo>
                  <a:lnTo>
                    <a:pt x="37" y="18"/>
                  </a:lnTo>
                  <a:lnTo>
                    <a:pt x="39" y="18"/>
                  </a:lnTo>
                  <a:lnTo>
                    <a:pt x="39" y="2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56" name="Group 189"/>
          <p:cNvGrpSpPr>
            <a:grpSpLocks/>
          </p:cNvGrpSpPr>
          <p:nvPr/>
        </p:nvGrpSpPr>
        <p:grpSpPr bwMode="auto">
          <a:xfrm>
            <a:off x="4668838" y="4538663"/>
            <a:ext cx="269875" cy="230187"/>
            <a:chOff x="2183" y="2859"/>
            <a:chExt cx="170" cy="145"/>
          </a:xfrm>
        </p:grpSpPr>
        <p:sp>
          <p:nvSpPr>
            <p:cNvPr id="34352" name="Freeform 187"/>
            <p:cNvSpPr>
              <a:spLocks/>
            </p:cNvSpPr>
            <p:nvPr/>
          </p:nvSpPr>
          <p:spPr bwMode="auto">
            <a:xfrm>
              <a:off x="2183" y="2859"/>
              <a:ext cx="170" cy="145"/>
            </a:xfrm>
            <a:custGeom>
              <a:avLst/>
              <a:gdLst>
                <a:gd name="T0" fmla="*/ 136 w 170"/>
                <a:gd name="T1" fmla="*/ 33 h 145"/>
                <a:gd name="T2" fmla="*/ 113 w 170"/>
                <a:gd name="T3" fmla="*/ 26 h 145"/>
                <a:gd name="T4" fmla="*/ 94 w 170"/>
                <a:gd name="T5" fmla="*/ 7 h 145"/>
                <a:gd name="T6" fmla="*/ 86 w 170"/>
                <a:gd name="T7" fmla="*/ 4 h 145"/>
                <a:gd name="T8" fmla="*/ 78 w 170"/>
                <a:gd name="T9" fmla="*/ 2 h 145"/>
                <a:gd name="T10" fmla="*/ 78 w 170"/>
                <a:gd name="T11" fmla="*/ 9 h 145"/>
                <a:gd name="T12" fmla="*/ 72 w 170"/>
                <a:gd name="T13" fmla="*/ 10 h 145"/>
                <a:gd name="T14" fmla="*/ 59 w 170"/>
                <a:gd name="T15" fmla="*/ 18 h 145"/>
                <a:gd name="T16" fmla="*/ 62 w 170"/>
                <a:gd name="T17" fmla="*/ 30 h 145"/>
                <a:gd name="T18" fmla="*/ 50 w 170"/>
                <a:gd name="T19" fmla="*/ 39 h 145"/>
                <a:gd name="T20" fmla="*/ 50 w 170"/>
                <a:gd name="T21" fmla="*/ 50 h 145"/>
                <a:gd name="T22" fmla="*/ 43 w 170"/>
                <a:gd name="T23" fmla="*/ 49 h 145"/>
                <a:gd name="T24" fmla="*/ 39 w 170"/>
                <a:gd name="T25" fmla="*/ 47 h 145"/>
                <a:gd name="T26" fmla="*/ 30 w 170"/>
                <a:gd name="T27" fmla="*/ 40 h 145"/>
                <a:gd name="T28" fmla="*/ 16 w 170"/>
                <a:gd name="T29" fmla="*/ 48 h 145"/>
                <a:gd name="T30" fmla="*/ 4 w 170"/>
                <a:gd name="T31" fmla="*/ 49 h 145"/>
                <a:gd name="T32" fmla="*/ 9 w 170"/>
                <a:gd name="T33" fmla="*/ 71 h 145"/>
                <a:gd name="T34" fmla="*/ 20 w 170"/>
                <a:gd name="T35" fmla="*/ 61 h 145"/>
                <a:gd name="T36" fmla="*/ 34 w 170"/>
                <a:gd name="T37" fmla="*/ 59 h 145"/>
                <a:gd name="T38" fmla="*/ 40 w 170"/>
                <a:gd name="T39" fmla="*/ 68 h 145"/>
                <a:gd name="T40" fmla="*/ 55 w 170"/>
                <a:gd name="T41" fmla="*/ 92 h 145"/>
                <a:gd name="T42" fmla="*/ 48 w 170"/>
                <a:gd name="T43" fmla="*/ 99 h 145"/>
                <a:gd name="T44" fmla="*/ 63 w 170"/>
                <a:gd name="T45" fmla="*/ 113 h 145"/>
                <a:gd name="T46" fmla="*/ 72 w 170"/>
                <a:gd name="T47" fmla="*/ 125 h 145"/>
                <a:gd name="T48" fmla="*/ 97 w 170"/>
                <a:gd name="T49" fmla="*/ 129 h 145"/>
                <a:gd name="T50" fmla="*/ 115 w 170"/>
                <a:gd name="T51" fmla="*/ 145 h 145"/>
                <a:gd name="T52" fmla="*/ 107 w 170"/>
                <a:gd name="T53" fmla="*/ 124 h 145"/>
                <a:gd name="T54" fmla="*/ 91 w 170"/>
                <a:gd name="T55" fmla="*/ 110 h 145"/>
                <a:gd name="T56" fmla="*/ 82 w 170"/>
                <a:gd name="T57" fmla="*/ 100 h 145"/>
                <a:gd name="T58" fmla="*/ 76 w 170"/>
                <a:gd name="T59" fmla="*/ 89 h 145"/>
                <a:gd name="T60" fmla="*/ 75 w 170"/>
                <a:gd name="T61" fmla="*/ 82 h 145"/>
                <a:gd name="T62" fmla="*/ 68 w 170"/>
                <a:gd name="T63" fmla="*/ 72 h 145"/>
                <a:gd name="T64" fmla="*/ 65 w 170"/>
                <a:gd name="T65" fmla="*/ 66 h 145"/>
                <a:gd name="T66" fmla="*/ 68 w 170"/>
                <a:gd name="T67" fmla="*/ 51 h 145"/>
                <a:gd name="T68" fmla="*/ 80 w 170"/>
                <a:gd name="T69" fmla="*/ 61 h 145"/>
                <a:gd name="T70" fmla="*/ 96 w 170"/>
                <a:gd name="T71" fmla="*/ 53 h 145"/>
                <a:gd name="T72" fmla="*/ 105 w 170"/>
                <a:gd name="T73" fmla="*/ 55 h 145"/>
                <a:gd name="T74" fmla="*/ 111 w 170"/>
                <a:gd name="T75" fmla="*/ 56 h 145"/>
                <a:gd name="T76" fmla="*/ 120 w 170"/>
                <a:gd name="T77" fmla="*/ 56 h 145"/>
                <a:gd name="T78" fmla="*/ 129 w 170"/>
                <a:gd name="T79" fmla="*/ 56 h 145"/>
                <a:gd name="T80" fmla="*/ 135 w 170"/>
                <a:gd name="T81" fmla="*/ 59 h 145"/>
                <a:gd name="T82" fmla="*/ 144 w 170"/>
                <a:gd name="T83" fmla="*/ 61 h 145"/>
                <a:gd name="T84" fmla="*/ 149 w 170"/>
                <a:gd name="T85" fmla="*/ 59 h 145"/>
                <a:gd name="T86" fmla="*/ 152 w 170"/>
                <a:gd name="T87" fmla="*/ 66 h 145"/>
                <a:gd name="T88" fmla="*/ 162 w 170"/>
                <a:gd name="T89" fmla="*/ 65 h 145"/>
                <a:gd name="T90" fmla="*/ 161 w 170"/>
                <a:gd name="T91" fmla="*/ 57 h 145"/>
                <a:gd name="T92" fmla="*/ 164 w 170"/>
                <a:gd name="T93" fmla="*/ 53 h 145"/>
                <a:gd name="T94" fmla="*/ 170 w 170"/>
                <a:gd name="T95" fmla="*/ 53 h 145"/>
                <a:gd name="T96" fmla="*/ 166 w 170"/>
                <a:gd name="T97" fmla="*/ 51 h 145"/>
                <a:gd name="T98" fmla="*/ 160 w 170"/>
                <a:gd name="T99" fmla="*/ 49 h 145"/>
                <a:gd name="T100" fmla="*/ 156 w 170"/>
                <a:gd name="T101" fmla="*/ 47 h 145"/>
                <a:gd name="T102" fmla="*/ 156 w 170"/>
                <a:gd name="T103" fmla="*/ 44 h 145"/>
                <a:gd name="T104" fmla="*/ 159 w 170"/>
                <a:gd name="T105" fmla="*/ 42 h 145"/>
                <a:gd name="T106" fmla="*/ 156 w 170"/>
                <a:gd name="T107" fmla="*/ 40 h 145"/>
                <a:gd name="T108" fmla="*/ 153 w 170"/>
                <a:gd name="T109" fmla="*/ 39 h 145"/>
                <a:gd name="T110" fmla="*/ 153 w 170"/>
                <a:gd name="T111" fmla="*/ 34 h 145"/>
                <a:gd name="T112" fmla="*/ 150 w 170"/>
                <a:gd name="T113" fmla="*/ 27 h 14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"/>
                <a:gd name="T172" fmla="*/ 0 h 145"/>
                <a:gd name="T173" fmla="*/ 170 w 170"/>
                <a:gd name="T174" fmla="*/ 145 h 14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" h="145">
                  <a:moveTo>
                    <a:pt x="150" y="27"/>
                  </a:moveTo>
                  <a:lnTo>
                    <a:pt x="143" y="31"/>
                  </a:lnTo>
                  <a:lnTo>
                    <a:pt x="136" y="33"/>
                  </a:lnTo>
                  <a:lnTo>
                    <a:pt x="127" y="33"/>
                  </a:lnTo>
                  <a:lnTo>
                    <a:pt x="119" y="28"/>
                  </a:lnTo>
                  <a:lnTo>
                    <a:pt x="113" y="26"/>
                  </a:lnTo>
                  <a:lnTo>
                    <a:pt x="107" y="18"/>
                  </a:lnTo>
                  <a:lnTo>
                    <a:pt x="100" y="15"/>
                  </a:lnTo>
                  <a:lnTo>
                    <a:pt x="94" y="7"/>
                  </a:lnTo>
                  <a:lnTo>
                    <a:pt x="88" y="4"/>
                  </a:lnTo>
                  <a:lnTo>
                    <a:pt x="88" y="3"/>
                  </a:lnTo>
                  <a:lnTo>
                    <a:pt x="86" y="4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8" y="2"/>
                  </a:lnTo>
                  <a:lnTo>
                    <a:pt x="78" y="5"/>
                  </a:lnTo>
                  <a:lnTo>
                    <a:pt x="79" y="8"/>
                  </a:lnTo>
                  <a:lnTo>
                    <a:pt x="78" y="9"/>
                  </a:lnTo>
                  <a:lnTo>
                    <a:pt x="76" y="8"/>
                  </a:lnTo>
                  <a:lnTo>
                    <a:pt x="73" y="8"/>
                  </a:lnTo>
                  <a:lnTo>
                    <a:pt x="72" y="10"/>
                  </a:lnTo>
                  <a:lnTo>
                    <a:pt x="71" y="12"/>
                  </a:lnTo>
                  <a:lnTo>
                    <a:pt x="60" y="15"/>
                  </a:lnTo>
                  <a:lnTo>
                    <a:pt x="59" y="18"/>
                  </a:lnTo>
                  <a:lnTo>
                    <a:pt x="59" y="20"/>
                  </a:lnTo>
                  <a:lnTo>
                    <a:pt x="62" y="24"/>
                  </a:lnTo>
                  <a:lnTo>
                    <a:pt x="62" y="30"/>
                  </a:lnTo>
                  <a:lnTo>
                    <a:pt x="60" y="34"/>
                  </a:lnTo>
                  <a:lnTo>
                    <a:pt x="55" y="34"/>
                  </a:lnTo>
                  <a:lnTo>
                    <a:pt x="50" y="39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50"/>
                  </a:lnTo>
                  <a:lnTo>
                    <a:pt x="47" y="52"/>
                  </a:lnTo>
                  <a:lnTo>
                    <a:pt x="46" y="52"/>
                  </a:lnTo>
                  <a:lnTo>
                    <a:pt x="43" y="49"/>
                  </a:lnTo>
                  <a:lnTo>
                    <a:pt x="41" y="49"/>
                  </a:lnTo>
                  <a:lnTo>
                    <a:pt x="40" y="48"/>
                  </a:lnTo>
                  <a:lnTo>
                    <a:pt x="39" y="47"/>
                  </a:lnTo>
                  <a:lnTo>
                    <a:pt x="38" y="50"/>
                  </a:lnTo>
                  <a:lnTo>
                    <a:pt x="36" y="50"/>
                  </a:lnTo>
                  <a:lnTo>
                    <a:pt x="30" y="40"/>
                  </a:lnTo>
                  <a:lnTo>
                    <a:pt x="29" y="40"/>
                  </a:lnTo>
                  <a:lnTo>
                    <a:pt x="25" y="48"/>
                  </a:lnTo>
                  <a:lnTo>
                    <a:pt x="16" y="48"/>
                  </a:lnTo>
                  <a:lnTo>
                    <a:pt x="13" y="46"/>
                  </a:lnTo>
                  <a:lnTo>
                    <a:pt x="12" y="49"/>
                  </a:lnTo>
                  <a:lnTo>
                    <a:pt x="4" y="49"/>
                  </a:lnTo>
                  <a:lnTo>
                    <a:pt x="0" y="46"/>
                  </a:lnTo>
                  <a:lnTo>
                    <a:pt x="2" y="57"/>
                  </a:lnTo>
                  <a:lnTo>
                    <a:pt x="9" y="71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20" y="61"/>
                  </a:lnTo>
                  <a:lnTo>
                    <a:pt x="24" y="52"/>
                  </a:lnTo>
                  <a:lnTo>
                    <a:pt x="30" y="54"/>
                  </a:lnTo>
                  <a:lnTo>
                    <a:pt x="34" y="59"/>
                  </a:lnTo>
                  <a:lnTo>
                    <a:pt x="36" y="59"/>
                  </a:lnTo>
                  <a:lnTo>
                    <a:pt x="38" y="62"/>
                  </a:lnTo>
                  <a:lnTo>
                    <a:pt x="40" y="68"/>
                  </a:lnTo>
                  <a:lnTo>
                    <a:pt x="40" y="75"/>
                  </a:lnTo>
                  <a:lnTo>
                    <a:pt x="44" y="84"/>
                  </a:lnTo>
                  <a:lnTo>
                    <a:pt x="55" y="92"/>
                  </a:lnTo>
                  <a:lnTo>
                    <a:pt x="49" y="94"/>
                  </a:lnTo>
                  <a:lnTo>
                    <a:pt x="48" y="96"/>
                  </a:lnTo>
                  <a:lnTo>
                    <a:pt x="48" y="99"/>
                  </a:lnTo>
                  <a:lnTo>
                    <a:pt x="54" y="106"/>
                  </a:lnTo>
                  <a:lnTo>
                    <a:pt x="59" y="110"/>
                  </a:lnTo>
                  <a:lnTo>
                    <a:pt x="63" y="113"/>
                  </a:lnTo>
                  <a:lnTo>
                    <a:pt x="68" y="116"/>
                  </a:lnTo>
                  <a:lnTo>
                    <a:pt x="71" y="121"/>
                  </a:lnTo>
                  <a:lnTo>
                    <a:pt x="72" y="125"/>
                  </a:lnTo>
                  <a:lnTo>
                    <a:pt x="81" y="124"/>
                  </a:lnTo>
                  <a:lnTo>
                    <a:pt x="87" y="125"/>
                  </a:lnTo>
                  <a:lnTo>
                    <a:pt x="97" y="129"/>
                  </a:lnTo>
                  <a:lnTo>
                    <a:pt x="104" y="134"/>
                  </a:lnTo>
                  <a:lnTo>
                    <a:pt x="111" y="142"/>
                  </a:lnTo>
                  <a:lnTo>
                    <a:pt x="115" y="145"/>
                  </a:lnTo>
                  <a:lnTo>
                    <a:pt x="119" y="143"/>
                  </a:lnTo>
                  <a:lnTo>
                    <a:pt x="107" y="130"/>
                  </a:lnTo>
                  <a:lnTo>
                    <a:pt x="107" y="124"/>
                  </a:lnTo>
                  <a:lnTo>
                    <a:pt x="104" y="122"/>
                  </a:lnTo>
                  <a:lnTo>
                    <a:pt x="102" y="121"/>
                  </a:lnTo>
                  <a:lnTo>
                    <a:pt x="91" y="110"/>
                  </a:lnTo>
                  <a:lnTo>
                    <a:pt x="91" y="108"/>
                  </a:lnTo>
                  <a:lnTo>
                    <a:pt x="86" y="101"/>
                  </a:lnTo>
                  <a:lnTo>
                    <a:pt x="82" y="100"/>
                  </a:lnTo>
                  <a:lnTo>
                    <a:pt x="78" y="93"/>
                  </a:lnTo>
                  <a:lnTo>
                    <a:pt x="75" y="93"/>
                  </a:lnTo>
                  <a:lnTo>
                    <a:pt x="76" y="89"/>
                  </a:lnTo>
                  <a:lnTo>
                    <a:pt x="77" y="88"/>
                  </a:lnTo>
                  <a:lnTo>
                    <a:pt x="75" y="85"/>
                  </a:lnTo>
                  <a:lnTo>
                    <a:pt x="75" y="82"/>
                  </a:lnTo>
                  <a:lnTo>
                    <a:pt x="72" y="79"/>
                  </a:lnTo>
                  <a:lnTo>
                    <a:pt x="70" y="73"/>
                  </a:lnTo>
                  <a:lnTo>
                    <a:pt x="68" y="72"/>
                  </a:lnTo>
                  <a:lnTo>
                    <a:pt x="64" y="69"/>
                  </a:lnTo>
                  <a:lnTo>
                    <a:pt x="64" y="68"/>
                  </a:lnTo>
                  <a:lnTo>
                    <a:pt x="65" y="66"/>
                  </a:lnTo>
                  <a:lnTo>
                    <a:pt x="65" y="64"/>
                  </a:lnTo>
                  <a:lnTo>
                    <a:pt x="65" y="54"/>
                  </a:lnTo>
                  <a:lnTo>
                    <a:pt x="68" y="51"/>
                  </a:lnTo>
                  <a:lnTo>
                    <a:pt x="72" y="52"/>
                  </a:lnTo>
                  <a:lnTo>
                    <a:pt x="73" y="54"/>
                  </a:lnTo>
                  <a:lnTo>
                    <a:pt x="80" y="61"/>
                  </a:lnTo>
                  <a:lnTo>
                    <a:pt x="81" y="61"/>
                  </a:lnTo>
                  <a:lnTo>
                    <a:pt x="86" y="52"/>
                  </a:lnTo>
                  <a:lnTo>
                    <a:pt x="96" y="53"/>
                  </a:lnTo>
                  <a:lnTo>
                    <a:pt x="98" y="51"/>
                  </a:lnTo>
                  <a:lnTo>
                    <a:pt x="99" y="51"/>
                  </a:lnTo>
                  <a:lnTo>
                    <a:pt x="105" y="55"/>
                  </a:lnTo>
                  <a:lnTo>
                    <a:pt x="107" y="55"/>
                  </a:lnTo>
                  <a:lnTo>
                    <a:pt x="109" y="54"/>
                  </a:lnTo>
                  <a:lnTo>
                    <a:pt x="111" y="56"/>
                  </a:lnTo>
                  <a:lnTo>
                    <a:pt x="119" y="57"/>
                  </a:lnTo>
                  <a:lnTo>
                    <a:pt x="119" y="56"/>
                  </a:lnTo>
                  <a:lnTo>
                    <a:pt x="120" y="56"/>
                  </a:lnTo>
                  <a:lnTo>
                    <a:pt x="125" y="60"/>
                  </a:lnTo>
                  <a:lnTo>
                    <a:pt x="126" y="60"/>
                  </a:lnTo>
                  <a:lnTo>
                    <a:pt x="129" y="56"/>
                  </a:lnTo>
                  <a:lnTo>
                    <a:pt x="131" y="56"/>
                  </a:lnTo>
                  <a:lnTo>
                    <a:pt x="133" y="59"/>
                  </a:lnTo>
                  <a:lnTo>
                    <a:pt x="135" y="59"/>
                  </a:lnTo>
                  <a:lnTo>
                    <a:pt x="136" y="57"/>
                  </a:lnTo>
                  <a:lnTo>
                    <a:pt x="142" y="58"/>
                  </a:lnTo>
                  <a:lnTo>
                    <a:pt x="144" y="61"/>
                  </a:lnTo>
                  <a:lnTo>
                    <a:pt x="145" y="60"/>
                  </a:lnTo>
                  <a:lnTo>
                    <a:pt x="145" y="59"/>
                  </a:lnTo>
                  <a:lnTo>
                    <a:pt x="149" y="59"/>
                  </a:lnTo>
                  <a:lnTo>
                    <a:pt x="152" y="63"/>
                  </a:lnTo>
                  <a:lnTo>
                    <a:pt x="151" y="65"/>
                  </a:lnTo>
                  <a:lnTo>
                    <a:pt x="152" y="66"/>
                  </a:lnTo>
                  <a:lnTo>
                    <a:pt x="154" y="68"/>
                  </a:lnTo>
                  <a:lnTo>
                    <a:pt x="159" y="68"/>
                  </a:lnTo>
                  <a:lnTo>
                    <a:pt x="162" y="65"/>
                  </a:lnTo>
                  <a:lnTo>
                    <a:pt x="162" y="63"/>
                  </a:lnTo>
                  <a:lnTo>
                    <a:pt x="161" y="62"/>
                  </a:lnTo>
                  <a:lnTo>
                    <a:pt x="161" y="57"/>
                  </a:lnTo>
                  <a:lnTo>
                    <a:pt x="162" y="56"/>
                  </a:lnTo>
                  <a:lnTo>
                    <a:pt x="162" y="53"/>
                  </a:lnTo>
                  <a:lnTo>
                    <a:pt x="164" y="53"/>
                  </a:lnTo>
                  <a:lnTo>
                    <a:pt x="166" y="53"/>
                  </a:lnTo>
                  <a:lnTo>
                    <a:pt x="168" y="54"/>
                  </a:lnTo>
                  <a:lnTo>
                    <a:pt x="170" y="53"/>
                  </a:lnTo>
                  <a:lnTo>
                    <a:pt x="169" y="52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4" y="50"/>
                  </a:lnTo>
                  <a:lnTo>
                    <a:pt x="162" y="50"/>
                  </a:lnTo>
                  <a:lnTo>
                    <a:pt x="160" y="49"/>
                  </a:lnTo>
                  <a:lnTo>
                    <a:pt x="159" y="48"/>
                  </a:lnTo>
                  <a:lnTo>
                    <a:pt x="157" y="48"/>
                  </a:lnTo>
                  <a:lnTo>
                    <a:pt x="156" y="47"/>
                  </a:lnTo>
                  <a:lnTo>
                    <a:pt x="157" y="46"/>
                  </a:lnTo>
                  <a:lnTo>
                    <a:pt x="157" y="45"/>
                  </a:lnTo>
                  <a:lnTo>
                    <a:pt x="156" y="44"/>
                  </a:lnTo>
                  <a:lnTo>
                    <a:pt x="157" y="43"/>
                  </a:lnTo>
                  <a:lnTo>
                    <a:pt x="158" y="43"/>
                  </a:lnTo>
                  <a:lnTo>
                    <a:pt x="159" y="42"/>
                  </a:lnTo>
                  <a:lnTo>
                    <a:pt x="159" y="41"/>
                  </a:lnTo>
                  <a:lnTo>
                    <a:pt x="157" y="40"/>
                  </a:lnTo>
                  <a:lnTo>
                    <a:pt x="156" y="40"/>
                  </a:lnTo>
                  <a:lnTo>
                    <a:pt x="155" y="41"/>
                  </a:lnTo>
                  <a:lnTo>
                    <a:pt x="153" y="40"/>
                  </a:lnTo>
                  <a:lnTo>
                    <a:pt x="153" y="39"/>
                  </a:lnTo>
                  <a:lnTo>
                    <a:pt x="155" y="36"/>
                  </a:lnTo>
                  <a:lnTo>
                    <a:pt x="155" y="35"/>
                  </a:lnTo>
                  <a:lnTo>
                    <a:pt x="153" y="34"/>
                  </a:lnTo>
                  <a:lnTo>
                    <a:pt x="154" y="32"/>
                  </a:lnTo>
                  <a:lnTo>
                    <a:pt x="154" y="30"/>
                  </a:lnTo>
                  <a:lnTo>
                    <a:pt x="150" y="27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53" name="Freeform 188"/>
            <p:cNvSpPr>
              <a:spLocks/>
            </p:cNvSpPr>
            <p:nvPr/>
          </p:nvSpPr>
          <p:spPr bwMode="auto">
            <a:xfrm>
              <a:off x="2183" y="2859"/>
              <a:ext cx="170" cy="145"/>
            </a:xfrm>
            <a:custGeom>
              <a:avLst/>
              <a:gdLst>
                <a:gd name="T0" fmla="*/ 136 w 170"/>
                <a:gd name="T1" fmla="*/ 33 h 145"/>
                <a:gd name="T2" fmla="*/ 113 w 170"/>
                <a:gd name="T3" fmla="*/ 26 h 145"/>
                <a:gd name="T4" fmla="*/ 94 w 170"/>
                <a:gd name="T5" fmla="*/ 7 h 145"/>
                <a:gd name="T6" fmla="*/ 86 w 170"/>
                <a:gd name="T7" fmla="*/ 4 h 145"/>
                <a:gd name="T8" fmla="*/ 78 w 170"/>
                <a:gd name="T9" fmla="*/ 2 h 145"/>
                <a:gd name="T10" fmla="*/ 78 w 170"/>
                <a:gd name="T11" fmla="*/ 9 h 145"/>
                <a:gd name="T12" fmla="*/ 72 w 170"/>
                <a:gd name="T13" fmla="*/ 10 h 145"/>
                <a:gd name="T14" fmla="*/ 59 w 170"/>
                <a:gd name="T15" fmla="*/ 18 h 145"/>
                <a:gd name="T16" fmla="*/ 62 w 170"/>
                <a:gd name="T17" fmla="*/ 30 h 145"/>
                <a:gd name="T18" fmla="*/ 50 w 170"/>
                <a:gd name="T19" fmla="*/ 39 h 145"/>
                <a:gd name="T20" fmla="*/ 50 w 170"/>
                <a:gd name="T21" fmla="*/ 50 h 145"/>
                <a:gd name="T22" fmla="*/ 43 w 170"/>
                <a:gd name="T23" fmla="*/ 49 h 145"/>
                <a:gd name="T24" fmla="*/ 39 w 170"/>
                <a:gd name="T25" fmla="*/ 47 h 145"/>
                <a:gd name="T26" fmla="*/ 30 w 170"/>
                <a:gd name="T27" fmla="*/ 40 h 145"/>
                <a:gd name="T28" fmla="*/ 16 w 170"/>
                <a:gd name="T29" fmla="*/ 48 h 145"/>
                <a:gd name="T30" fmla="*/ 4 w 170"/>
                <a:gd name="T31" fmla="*/ 49 h 145"/>
                <a:gd name="T32" fmla="*/ 9 w 170"/>
                <a:gd name="T33" fmla="*/ 71 h 145"/>
                <a:gd name="T34" fmla="*/ 20 w 170"/>
                <a:gd name="T35" fmla="*/ 61 h 145"/>
                <a:gd name="T36" fmla="*/ 34 w 170"/>
                <a:gd name="T37" fmla="*/ 59 h 145"/>
                <a:gd name="T38" fmla="*/ 40 w 170"/>
                <a:gd name="T39" fmla="*/ 68 h 145"/>
                <a:gd name="T40" fmla="*/ 55 w 170"/>
                <a:gd name="T41" fmla="*/ 92 h 145"/>
                <a:gd name="T42" fmla="*/ 48 w 170"/>
                <a:gd name="T43" fmla="*/ 99 h 145"/>
                <a:gd name="T44" fmla="*/ 63 w 170"/>
                <a:gd name="T45" fmla="*/ 113 h 145"/>
                <a:gd name="T46" fmla="*/ 72 w 170"/>
                <a:gd name="T47" fmla="*/ 125 h 145"/>
                <a:gd name="T48" fmla="*/ 97 w 170"/>
                <a:gd name="T49" fmla="*/ 129 h 145"/>
                <a:gd name="T50" fmla="*/ 115 w 170"/>
                <a:gd name="T51" fmla="*/ 145 h 145"/>
                <a:gd name="T52" fmla="*/ 107 w 170"/>
                <a:gd name="T53" fmla="*/ 124 h 145"/>
                <a:gd name="T54" fmla="*/ 91 w 170"/>
                <a:gd name="T55" fmla="*/ 110 h 145"/>
                <a:gd name="T56" fmla="*/ 82 w 170"/>
                <a:gd name="T57" fmla="*/ 100 h 145"/>
                <a:gd name="T58" fmla="*/ 76 w 170"/>
                <a:gd name="T59" fmla="*/ 89 h 145"/>
                <a:gd name="T60" fmla="*/ 75 w 170"/>
                <a:gd name="T61" fmla="*/ 82 h 145"/>
                <a:gd name="T62" fmla="*/ 68 w 170"/>
                <a:gd name="T63" fmla="*/ 72 h 145"/>
                <a:gd name="T64" fmla="*/ 65 w 170"/>
                <a:gd name="T65" fmla="*/ 66 h 145"/>
                <a:gd name="T66" fmla="*/ 68 w 170"/>
                <a:gd name="T67" fmla="*/ 51 h 145"/>
                <a:gd name="T68" fmla="*/ 80 w 170"/>
                <a:gd name="T69" fmla="*/ 61 h 145"/>
                <a:gd name="T70" fmla="*/ 96 w 170"/>
                <a:gd name="T71" fmla="*/ 53 h 145"/>
                <a:gd name="T72" fmla="*/ 105 w 170"/>
                <a:gd name="T73" fmla="*/ 55 h 145"/>
                <a:gd name="T74" fmla="*/ 111 w 170"/>
                <a:gd name="T75" fmla="*/ 56 h 145"/>
                <a:gd name="T76" fmla="*/ 120 w 170"/>
                <a:gd name="T77" fmla="*/ 56 h 145"/>
                <a:gd name="T78" fmla="*/ 129 w 170"/>
                <a:gd name="T79" fmla="*/ 56 h 145"/>
                <a:gd name="T80" fmla="*/ 135 w 170"/>
                <a:gd name="T81" fmla="*/ 59 h 145"/>
                <a:gd name="T82" fmla="*/ 144 w 170"/>
                <a:gd name="T83" fmla="*/ 61 h 145"/>
                <a:gd name="T84" fmla="*/ 149 w 170"/>
                <a:gd name="T85" fmla="*/ 59 h 145"/>
                <a:gd name="T86" fmla="*/ 152 w 170"/>
                <a:gd name="T87" fmla="*/ 66 h 145"/>
                <a:gd name="T88" fmla="*/ 162 w 170"/>
                <a:gd name="T89" fmla="*/ 65 h 145"/>
                <a:gd name="T90" fmla="*/ 161 w 170"/>
                <a:gd name="T91" fmla="*/ 57 h 145"/>
                <a:gd name="T92" fmla="*/ 164 w 170"/>
                <a:gd name="T93" fmla="*/ 53 h 145"/>
                <a:gd name="T94" fmla="*/ 170 w 170"/>
                <a:gd name="T95" fmla="*/ 53 h 145"/>
                <a:gd name="T96" fmla="*/ 166 w 170"/>
                <a:gd name="T97" fmla="*/ 51 h 145"/>
                <a:gd name="T98" fmla="*/ 160 w 170"/>
                <a:gd name="T99" fmla="*/ 49 h 145"/>
                <a:gd name="T100" fmla="*/ 156 w 170"/>
                <a:gd name="T101" fmla="*/ 47 h 145"/>
                <a:gd name="T102" fmla="*/ 156 w 170"/>
                <a:gd name="T103" fmla="*/ 44 h 145"/>
                <a:gd name="T104" fmla="*/ 159 w 170"/>
                <a:gd name="T105" fmla="*/ 42 h 145"/>
                <a:gd name="T106" fmla="*/ 156 w 170"/>
                <a:gd name="T107" fmla="*/ 40 h 145"/>
                <a:gd name="T108" fmla="*/ 153 w 170"/>
                <a:gd name="T109" fmla="*/ 39 h 145"/>
                <a:gd name="T110" fmla="*/ 153 w 170"/>
                <a:gd name="T111" fmla="*/ 34 h 145"/>
                <a:gd name="T112" fmla="*/ 150 w 170"/>
                <a:gd name="T113" fmla="*/ 27 h 14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70"/>
                <a:gd name="T172" fmla="*/ 0 h 145"/>
                <a:gd name="T173" fmla="*/ 170 w 170"/>
                <a:gd name="T174" fmla="*/ 145 h 14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70" h="145">
                  <a:moveTo>
                    <a:pt x="150" y="27"/>
                  </a:moveTo>
                  <a:lnTo>
                    <a:pt x="143" y="31"/>
                  </a:lnTo>
                  <a:lnTo>
                    <a:pt x="136" y="33"/>
                  </a:lnTo>
                  <a:lnTo>
                    <a:pt x="127" y="33"/>
                  </a:lnTo>
                  <a:lnTo>
                    <a:pt x="119" y="28"/>
                  </a:lnTo>
                  <a:lnTo>
                    <a:pt x="113" y="26"/>
                  </a:lnTo>
                  <a:lnTo>
                    <a:pt x="107" y="18"/>
                  </a:lnTo>
                  <a:lnTo>
                    <a:pt x="100" y="15"/>
                  </a:lnTo>
                  <a:lnTo>
                    <a:pt x="94" y="7"/>
                  </a:lnTo>
                  <a:lnTo>
                    <a:pt x="88" y="4"/>
                  </a:lnTo>
                  <a:lnTo>
                    <a:pt x="88" y="3"/>
                  </a:lnTo>
                  <a:lnTo>
                    <a:pt x="86" y="4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78" y="2"/>
                  </a:lnTo>
                  <a:lnTo>
                    <a:pt x="78" y="5"/>
                  </a:lnTo>
                  <a:lnTo>
                    <a:pt x="79" y="8"/>
                  </a:lnTo>
                  <a:lnTo>
                    <a:pt x="78" y="9"/>
                  </a:lnTo>
                  <a:lnTo>
                    <a:pt x="76" y="8"/>
                  </a:lnTo>
                  <a:lnTo>
                    <a:pt x="73" y="8"/>
                  </a:lnTo>
                  <a:lnTo>
                    <a:pt x="72" y="10"/>
                  </a:lnTo>
                  <a:lnTo>
                    <a:pt x="71" y="12"/>
                  </a:lnTo>
                  <a:lnTo>
                    <a:pt x="60" y="15"/>
                  </a:lnTo>
                  <a:lnTo>
                    <a:pt x="59" y="18"/>
                  </a:lnTo>
                  <a:lnTo>
                    <a:pt x="59" y="20"/>
                  </a:lnTo>
                  <a:lnTo>
                    <a:pt x="62" y="24"/>
                  </a:lnTo>
                  <a:lnTo>
                    <a:pt x="62" y="30"/>
                  </a:lnTo>
                  <a:lnTo>
                    <a:pt x="60" y="34"/>
                  </a:lnTo>
                  <a:lnTo>
                    <a:pt x="55" y="34"/>
                  </a:lnTo>
                  <a:lnTo>
                    <a:pt x="50" y="39"/>
                  </a:lnTo>
                  <a:lnTo>
                    <a:pt x="52" y="41"/>
                  </a:lnTo>
                  <a:lnTo>
                    <a:pt x="50" y="44"/>
                  </a:lnTo>
                  <a:lnTo>
                    <a:pt x="50" y="50"/>
                  </a:lnTo>
                  <a:lnTo>
                    <a:pt x="47" y="52"/>
                  </a:lnTo>
                  <a:lnTo>
                    <a:pt x="46" y="52"/>
                  </a:lnTo>
                  <a:lnTo>
                    <a:pt x="43" y="49"/>
                  </a:lnTo>
                  <a:lnTo>
                    <a:pt x="41" y="49"/>
                  </a:lnTo>
                  <a:lnTo>
                    <a:pt x="40" y="48"/>
                  </a:lnTo>
                  <a:lnTo>
                    <a:pt x="39" y="47"/>
                  </a:lnTo>
                  <a:lnTo>
                    <a:pt x="38" y="50"/>
                  </a:lnTo>
                  <a:lnTo>
                    <a:pt x="36" y="50"/>
                  </a:lnTo>
                  <a:lnTo>
                    <a:pt x="30" y="40"/>
                  </a:lnTo>
                  <a:lnTo>
                    <a:pt x="29" y="40"/>
                  </a:lnTo>
                  <a:lnTo>
                    <a:pt x="25" y="48"/>
                  </a:lnTo>
                  <a:lnTo>
                    <a:pt x="16" y="48"/>
                  </a:lnTo>
                  <a:lnTo>
                    <a:pt x="13" y="46"/>
                  </a:lnTo>
                  <a:lnTo>
                    <a:pt x="12" y="49"/>
                  </a:lnTo>
                  <a:lnTo>
                    <a:pt x="4" y="49"/>
                  </a:lnTo>
                  <a:lnTo>
                    <a:pt x="0" y="46"/>
                  </a:lnTo>
                  <a:lnTo>
                    <a:pt x="2" y="57"/>
                  </a:lnTo>
                  <a:lnTo>
                    <a:pt x="9" y="71"/>
                  </a:lnTo>
                  <a:lnTo>
                    <a:pt x="12" y="72"/>
                  </a:lnTo>
                  <a:lnTo>
                    <a:pt x="14" y="72"/>
                  </a:lnTo>
                  <a:lnTo>
                    <a:pt x="20" y="61"/>
                  </a:lnTo>
                  <a:lnTo>
                    <a:pt x="24" y="52"/>
                  </a:lnTo>
                  <a:lnTo>
                    <a:pt x="30" y="54"/>
                  </a:lnTo>
                  <a:lnTo>
                    <a:pt x="34" y="59"/>
                  </a:lnTo>
                  <a:lnTo>
                    <a:pt x="36" y="59"/>
                  </a:lnTo>
                  <a:lnTo>
                    <a:pt x="38" y="62"/>
                  </a:lnTo>
                  <a:lnTo>
                    <a:pt x="40" y="68"/>
                  </a:lnTo>
                  <a:lnTo>
                    <a:pt x="40" y="75"/>
                  </a:lnTo>
                  <a:lnTo>
                    <a:pt x="44" y="84"/>
                  </a:lnTo>
                  <a:lnTo>
                    <a:pt x="55" y="92"/>
                  </a:lnTo>
                  <a:lnTo>
                    <a:pt x="49" y="94"/>
                  </a:lnTo>
                  <a:lnTo>
                    <a:pt x="48" y="96"/>
                  </a:lnTo>
                  <a:lnTo>
                    <a:pt x="48" y="99"/>
                  </a:lnTo>
                  <a:lnTo>
                    <a:pt x="54" y="106"/>
                  </a:lnTo>
                  <a:lnTo>
                    <a:pt x="59" y="110"/>
                  </a:lnTo>
                  <a:lnTo>
                    <a:pt x="63" y="113"/>
                  </a:lnTo>
                  <a:lnTo>
                    <a:pt x="68" y="116"/>
                  </a:lnTo>
                  <a:lnTo>
                    <a:pt x="71" y="121"/>
                  </a:lnTo>
                  <a:lnTo>
                    <a:pt x="72" y="125"/>
                  </a:lnTo>
                  <a:lnTo>
                    <a:pt x="81" y="124"/>
                  </a:lnTo>
                  <a:lnTo>
                    <a:pt x="87" y="125"/>
                  </a:lnTo>
                  <a:lnTo>
                    <a:pt x="97" y="129"/>
                  </a:lnTo>
                  <a:lnTo>
                    <a:pt x="104" y="134"/>
                  </a:lnTo>
                  <a:lnTo>
                    <a:pt x="111" y="142"/>
                  </a:lnTo>
                  <a:lnTo>
                    <a:pt x="115" y="145"/>
                  </a:lnTo>
                  <a:lnTo>
                    <a:pt x="119" y="143"/>
                  </a:lnTo>
                  <a:lnTo>
                    <a:pt x="107" y="130"/>
                  </a:lnTo>
                  <a:lnTo>
                    <a:pt x="107" y="124"/>
                  </a:lnTo>
                  <a:lnTo>
                    <a:pt x="104" y="122"/>
                  </a:lnTo>
                  <a:lnTo>
                    <a:pt x="102" y="121"/>
                  </a:lnTo>
                  <a:lnTo>
                    <a:pt x="91" y="110"/>
                  </a:lnTo>
                  <a:lnTo>
                    <a:pt x="91" y="108"/>
                  </a:lnTo>
                  <a:lnTo>
                    <a:pt x="86" y="101"/>
                  </a:lnTo>
                  <a:lnTo>
                    <a:pt x="82" y="100"/>
                  </a:lnTo>
                  <a:lnTo>
                    <a:pt x="78" y="93"/>
                  </a:lnTo>
                  <a:lnTo>
                    <a:pt x="75" y="93"/>
                  </a:lnTo>
                  <a:lnTo>
                    <a:pt x="76" y="89"/>
                  </a:lnTo>
                  <a:lnTo>
                    <a:pt x="77" y="88"/>
                  </a:lnTo>
                  <a:lnTo>
                    <a:pt x="75" y="85"/>
                  </a:lnTo>
                  <a:lnTo>
                    <a:pt x="75" y="82"/>
                  </a:lnTo>
                  <a:lnTo>
                    <a:pt x="72" y="79"/>
                  </a:lnTo>
                  <a:lnTo>
                    <a:pt x="70" y="73"/>
                  </a:lnTo>
                  <a:lnTo>
                    <a:pt x="68" y="72"/>
                  </a:lnTo>
                  <a:lnTo>
                    <a:pt x="64" y="69"/>
                  </a:lnTo>
                  <a:lnTo>
                    <a:pt x="64" y="68"/>
                  </a:lnTo>
                  <a:lnTo>
                    <a:pt x="65" y="66"/>
                  </a:lnTo>
                  <a:lnTo>
                    <a:pt x="65" y="64"/>
                  </a:lnTo>
                  <a:lnTo>
                    <a:pt x="65" y="54"/>
                  </a:lnTo>
                  <a:lnTo>
                    <a:pt x="68" y="51"/>
                  </a:lnTo>
                  <a:lnTo>
                    <a:pt x="72" y="52"/>
                  </a:lnTo>
                  <a:lnTo>
                    <a:pt x="73" y="54"/>
                  </a:lnTo>
                  <a:lnTo>
                    <a:pt x="80" y="61"/>
                  </a:lnTo>
                  <a:lnTo>
                    <a:pt x="81" y="61"/>
                  </a:lnTo>
                  <a:lnTo>
                    <a:pt x="86" y="52"/>
                  </a:lnTo>
                  <a:lnTo>
                    <a:pt x="96" y="53"/>
                  </a:lnTo>
                  <a:lnTo>
                    <a:pt x="98" y="51"/>
                  </a:lnTo>
                  <a:lnTo>
                    <a:pt x="99" y="51"/>
                  </a:lnTo>
                  <a:lnTo>
                    <a:pt x="105" y="55"/>
                  </a:lnTo>
                  <a:lnTo>
                    <a:pt x="107" y="55"/>
                  </a:lnTo>
                  <a:lnTo>
                    <a:pt x="109" y="54"/>
                  </a:lnTo>
                  <a:lnTo>
                    <a:pt x="111" y="56"/>
                  </a:lnTo>
                  <a:lnTo>
                    <a:pt x="119" y="57"/>
                  </a:lnTo>
                  <a:lnTo>
                    <a:pt x="119" y="56"/>
                  </a:lnTo>
                  <a:lnTo>
                    <a:pt x="120" y="56"/>
                  </a:lnTo>
                  <a:lnTo>
                    <a:pt x="125" y="60"/>
                  </a:lnTo>
                  <a:lnTo>
                    <a:pt x="126" y="60"/>
                  </a:lnTo>
                  <a:lnTo>
                    <a:pt x="129" y="56"/>
                  </a:lnTo>
                  <a:lnTo>
                    <a:pt x="131" y="56"/>
                  </a:lnTo>
                  <a:lnTo>
                    <a:pt x="133" y="59"/>
                  </a:lnTo>
                  <a:lnTo>
                    <a:pt x="135" y="59"/>
                  </a:lnTo>
                  <a:lnTo>
                    <a:pt x="136" y="57"/>
                  </a:lnTo>
                  <a:lnTo>
                    <a:pt x="142" y="58"/>
                  </a:lnTo>
                  <a:lnTo>
                    <a:pt x="144" y="61"/>
                  </a:lnTo>
                  <a:lnTo>
                    <a:pt x="145" y="60"/>
                  </a:lnTo>
                  <a:lnTo>
                    <a:pt x="145" y="59"/>
                  </a:lnTo>
                  <a:lnTo>
                    <a:pt x="149" y="59"/>
                  </a:lnTo>
                  <a:lnTo>
                    <a:pt x="152" y="63"/>
                  </a:lnTo>
                  <a:lnTo>
                    <a:pt x="151" y="65"/>
                  </a:lnTo>
                  <a:lnTo>
                    <a:pt x="152" y="66"/>
                  </a:lnTo>
                  <a:lnTo>
                    <a:pt x="154" y="68"/>
                  </a:lnTo>
                  <a:lnTo>
                    <a:pt x="159" y="68"/>
                  </a:lnTo>
                  <a:lnTo>
                    <a:pt x="162" y="65"/>
                  </a:lnTo>
                  <a:lnTo>
                    <a:pt x="162" y="63"/>
                  </a:lnTo>
                  <a:lnTo>
                    <a:pt x="161" y="62"/>
                  </a:lnTo>
                  <a:lnTo>
                    <a:pt x="161" y="57"/>
                  </a:lnTo>
                  <a:lnTo>
                    <a:pt x="162" y="56"/>
                  </a:lnTo>
                  <a:lnTo>
                    <a:pt x="162" y="53"/>
                  </a:lnTo>
                  <a:lnTo>
                    <a:pt x="164" y="53"/>
                  </a:lnTo>
                  <a:lnTo>
                    <a:pt x="166" y="53"/>
                  </a:lnTo>
                  <a:lnTo>
                    <a:pt x="168" y="54"/>
                  </a:lnTo>
                  <a:lnTo>
                    <a:pt x="170" y="53"/>
                  </a:lnTo>
                  <a:lnTo>
                    <a:pt x="169" y="52"/>
                  </a:lnTo>
                  <a:lnTo>
                    <a:pt x="168" y="51"/>
                  </a:lnTo>
                  <a:lnTo>
                    <a:pt x="166" y="51"/>
                  </a:lnTo>
                  <a:lnTo>
                    <a:pt x="164" y="50"/>
                  </a:lnTo>
                  <a:lnTo>
                    <a:pt x="162" y="50"/>
                  </a:lnTo>
                  <a:lnTo>
                    <a:pt x="160" y="49"/>
                  </a:lnTo>
                  <a:lnTo>
                    <a:pt x="159" y="48"/>
                  </a:lnTo>
                  <a:lnTo>
                    <a:pt x="157" y="48"/>
                  </a:lnTo>
                  <a:lnTo>
                    <a:pt x="156" y="47"/>
                  </a:lnTo>
                  <a:lnTo>
                    <a:pt x="157" y="46"/>
                  </a:lnTo>
                  <a:lnTo>
                    <a:pt x="157" y="45"/>
                  </a:lnTo>
                  <a:lnTo>
                    <a:pt x="156" y="44"/>
                  </a:lnTo>
                  <a:lnTo>
                    <a:pt x="157" y="43"/>
                  </a:lnTo>
                  <a:lnTo>
                    <a:pt x="158" y="43"/>
                  </a:lnTo>
                  <a:lnTo>
                    <a:pt x="159" y="42"/>
                  </a:lnTo>
                  <a:lnTo>
                    <a:pt x="159" y="41"/>
                  </a:lnTo>
                  <a:lnTo>
                    <a:pt x="157" y="40"/>
                  </a:lnTo>
                  <a:lnTo>
                    <a:pt x="156" y="40"/>
                  </a:lnTo>
                  <a:lnTo>
                    <a:pt x="155" y="41"/>
                  </a:lnTo>
                  <a:lnTo>
                    <a:pt x="153" y="40"/>
                  </a:lnTo>
                  <a:lnTo>
                    <a:pt x="153" y="39"/>
                  </a:lnTo>
                  <a:lnTo>
                    <a:pt x="155" y="36"/>
                  </a:lnTo>
                  <a:lnTo>
                    <a:pt x="155" y="35"/>
                  </a:lnTo>
                  <a:lnTo>
                    <a:pt x="153" y="34"/>
                  </a:lnTo>
                  <a:lnTo>
                    <a:pt x="154" y="32"/>
                  </a:lnTo>
                  <a:lnTo>
                    <a:pt x="154" y="30"/>
                  </a:lnTo>
                  <a:lnTo>
                    <a:pt x="150" y="27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57" name="Group 192"/>
          <p:cNvGrpSpPr>
            <a:grpSpLocks/>
          </p:cNvGrpSpPr>
          <p:nvPr/>
        </p:nvGrpSpPr>
        <p:grpSpPr bwMode="auto">
          <a:xfrm>
            <a:off x="4933950" y="4792663"/>
            <a:ext cx="80963" cy="179387"/>
            <a:chOff x="2350" y="3019"/>
            <a:chExt cx="51" cy="113"/>
          </a:xfrm>
        </p:grpSpPr>
        <p:sp>
          <p:nvSpPr>
            <p:cNvPr id="34350" name="Freeform 190"/>
            <p:cNvSpPr>
              <a:spLocks/>
            </p:cNvSpPr>
            <p:nvPr/>
          </p:nvSpPr>
          <p:spPr bwMode="auto">
            <a:xfrm>
              <a:off x="2350" y="3019"/>
              <a:ext cx="51" cy="113"/>
            </a:xfrm>
            <a:custGeom>
              <a:avLst/>
              <a:gdLst>
                <a:gd name="T0" fmla="*/ 25 w 51"/>
                <a:gd name="T1" fmla="*/ 113 h 113"/>
                <a:gd name="T2" fmla="*/ 21 w 51"/>
                <a:gd name="T3" fmla="*/ 110 h 113"/>
                <a:gd name="T4" fmla="*/ 20 w 51"/>
                <a:gd name="T5" fmla="*/ 105 h 113"/>
                <a:gd name="T6" fmla="*/ 16 w 51"/>
                <a:gd name="T7" fmla="*/ 100 h 113"/>
                <a:gd name="T8" fmla="*/ 7 w 51"/>
                <a:gd name="T9" fmla="*/ 96 h 113"/>
                <a:gd name="T10" fmla="*/ 2 w 51"/>
                <a:gd name="T11" fmla="*/ 89 h 113"/>
                <a:gd name="T12" fmla="*/ 0 w 51"/>
                <a:gd name="T13" fmla="*/ 84 h 113"/>
                <a:gd name="T14" fmla="*/ 4 w 51"/>
                <a:gd name="T15" fmla="*/ 84 h 113"/>
                <a:gd name="T16" fmla="*/ 4 w 51"/>
                <a:gd name="T17" fmla="*/ 80 h 113"/>
                <a:gd name="T18" fmla="*/ 2 w 51"/>
                <a:gd name="T19" fmla="*/ 73 h 113"/>
                <a:gd name="T20" fmla="*/ 4 w 51"/>
                <a:gd name="T21" fmla="*/ 66 h 113"/>
                <a:gd name="T22" fmla="*/ 5 w 51"/>
                <a:gd name="T23" fmla="*/ 65 h 113"/>
                <a:gd name="T24" fmla="*/ 4 w 51"/>
                <a:gd name="T25" fmla="*/ 60 h 113"/>
                <a:gd name="T26" fmla="*/ 5 w 51"/>
                <a:gd name="T27" fmla="*/ 55 h 113"/>
                <a:gd name="T28" fmla="*/ 3 w 51"/>
                <a:gd name="T29" fmla="*/ 49 h 113"/>
                <a:gd name="T30" fmla="*/ 8 w 51"/>
                <a:gd name="T31" fmla="*/ 33 h 113"/>
                <a:gd name="T32" fmla="*/ 5 w 51"/>
                <a:gd name="T33" fmla="*/ 30 h 113"/>
                <a:gd name="T34" fmla="*/ 1 w 51"/>
                <a:gd name="T35" fmla="*/ 30 h 113"/>
                <a:gd name="T36" fmla="*/ 4 w 51"/>
                <a:gd name="T37" fmla="*/ 21 h 113"/>
                <a:gd name="T38" fmla="*/ 3 w 51"/>
                <a:gd name="T39" fmla="*/ 16 h 113"/>
                <a:gd name="T40" fmla="*/ 5 w 51"/>
                <a:gd name="T41" fmla="*/ 8 h 113"/>
                <a:gd name="T42" fmla="*/ 9 w 51"/>
                <a:gd name="T43" fmla="*/ 5 h 113"/>
                <a:gd name="T44" fmla="*/ 12 w 51"/>
                <a:gd name="T45" fmla="*/ 0 h 113"/>
                <a:gd name="T46" fmla="*/ 16 w 51"/>
                <a:gd name="T47" fmla="*/ 4 h 113"/>
                <a:gd name="T48" fmla="*/ 24 w 51"/>
                <a:gd name="T49" fmla="*/ 4 h 113"/>
                <a:gd name="T50" fmla="*/ 27 w 51"/>
                <a:gd name="T51" fmla="*/ 10 h 113"/>
                <a:gd name="T52" fmla="*/ 32 w 51"/>
                <a:gd name="T53" fmla="*/ 13 h 113"/>
                <a:gd name="T54" fmla="*/ 38 w 51"/>
                <a:gd name="T55" fmla="*/ 21 h 113"/>
                <a:gd name="T56" fmla="*/ 36 w 51"/>
                <a:gd name="T57" fmla="*/ 40 h 113"/>
                <a:gd name="T58" fmla="*/ 36 w 51"/>
                <a:gd name="T59" fmla="*/ 49 h 113"/>
                <a:gd name="T60" fmla="*/ 40 w 51"/>
                <a:gd name="T61" fmla="*/ 59 h 113"/>
                <a:gd name="T62" fmla="*/ 50 w 51"/>
                <a:gd name="T63" fmla="*/ 68 h 113"/>
                <a:gd name="T64" fmla="*/ 51 w 51"/>
                <a:gd name="T65" fmla="*/ 74 h 113"/>
                <a:gd name="T66" fmla="*/ 51 w 51"/>
                <a:gd name="T67" fmla="*/ 81 h 113"/>
                <a:gd name="T68" fmla="*/ 44 w 51"/>
                <a:gd name="T69" fmla="*/ 87 h 113"/>
                <a:gd name="T70" fmla="*/ 39 w 51"/>
                <a:gd name="T71" fmla="*/ 96 h 113"/>
                <a:gd name="T72" fmla="*/ 34 w 51"/>
                <a:gd name="T73" fmla="*/ 100 h 113"/>
                <a:gd name="T74" fmla="*/ 32 w 51"/>
                <a:gd name="T75" fmla="*/ 106 h 113"/>
                <a:gd name="T76" fmla="*/ 30 w 51"/>
                <a:gd name="T77" fmla="*/ 109 h 113"/>
                <a:gd name="T78" fmla="*/ 26 w 51"/>
                <a:gd name="T79" fmla="*/ 113 h 113"/>
                <a:gd name="T80" fmla="*/ 25 w 51"/>
                <a:gd name="T81" fmla="*/ 113 h 11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1"/>
                <a:gd name="T124" fmla="*/ 0 h 113"/>
                <a:gd name="T125" fmla="*/ 51 w 51"/>
                <a:gd name="T126" fmla="*/ 113 h 11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1" h="113">
                  <a:moveTo>
                    <a:pt x="25" y="113"/>
                  </a:moveTo>
                  <a:lnTo>
                    <a:pt x="21" y="110"/>
                  </a:lnTo>
                  <a:lnTo>
                    <a:pt x="20" y="105"/>
                  </a:lnTo>
                  <a:lnTo>
                    <a:pt x="16" y="100"/>
                  </a:lnTo>
                  <a:lnTo>
                    <a:pt x="7" y="96"/>
                  </a:lnTo>
                  <a:lnTo>
                    <a:pt x="2" y="89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2" y="73"/>
                  </a:lnTo>
                  <a:lnTo>
                    <a:pt x="4" y="66"/>
                  </a:lnTo>
                  <a:lnTo>
                    <a:pt x="5" y="65"/>
                  </a:lnTo>
                  <a:lnTo>
                    <a:pt x="4" y="60"/>
                  </a:lnTo>
                  <a:lnTo>
                    <a:pt x="5" y="55"/>
                  </a:lnTo>
                  <a:lnTo>
                    <a:pt x="3" y="49"/>
                  </a:lnTo>
                  <a:lnTo>
                    <a:pt x="8" y="33"/>
                  </a:lnTo>
                  <a:lnTo>
                    <a:pt x="5" y="30"/>
                  </a:lnTo>
                  <a:lnTo>
                    <a:pt x="1" y="30"/>
                  </a:lnTo>
                  <a:lnTo>
                    <a:pt x="4" y="21"/>
                  </a:lnTo>
                  <a:lnTo>
                    <a:pt x="3" y="16"/>
                  </a:lnTo>
                  <a:lnTo>
                    <a:pt x="5" y="8"/>
                  </a:lnTo>
                  <a:lnTo>
                    <a:pt x="9" y="5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24" y="4"/>
                  </a:lnTo>
                  <a:lnTo>
                    <a:pt x="27" y="10"/>
                  </a:lnTo>
                  <a:lnTo>
                    <a:pt x="32" y="13"/>
                  </a:lnTo>
                  <a:lnTo>
                    <a:pt x="38" y="21"/>
                  </a:lnTo>
                  <a:lnTo>
                    <a:pt x="36" y="40"/>
                  </a:lnTo>
                  <a:lnTo>
                    <a:pt x="36" y="49"/>
                  </a:lnTo>
                  <a:lnTo>
                    <a:pt x="40" y="59"/>
                  </a:lnTo>
                  <a:lnTo>
                    <a:pt x="50" y="68"/>
                  </a:lnTo>
                  <a:lnTo>
                    <a:pt x="51" y="74"/>
                  </a:lnTo>
                  <a:lnTo>
                    <a:pt x="51" y="81"/>
                  </a:lnTo>
                  <a:lnTo>
                    <a:pt x="44" y="87"/>
                  </a:lnTo>
                  <a:lnTo>
                    <a:pt x="39" y="96"/>
                  </a:lnTo>
                  <a:lnTo>
                    <a:pt x="34" y="100"/>
                  </a:lnTo>
                  <a:lnTo>
                    <a:pt x="32" y="106"/>
                  </a:lnTo>
                  <a:lnTo>
                    <a:pt x="30" y="109"/>
                  </a:lnTo>
                  <a:lnTo>
                    <a:pt x="26" y="113"/>
                  </a:lnTo>
                  <a:lnTo>
                    <a:pt x="25" y="113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51" name="Freeform 191"/>
            <p:cNvSpPr>
              <a:spLocks/>
            </p:cNvSpPr>
            <p:nvPr/>
          </p:nvSpPr>
          <p:spPr bwMode="auto">
            <a:xfrm>
              <a:off x="2350" y="3019"/>
              <a:ext cx="51" cy="113"/>
            </a:xfrm>
            <a:custGeom>
              <a:avLst/>
              <a:gdLst>
                <a:gd name="T0" fmla="*/ 25 w 51"/>
                <a:gd name="T1" fmla="*/ 113 h 113"/>
                <a:gd name="T2" fmla="*/ 21 w 51"/>
                <a:gd name="T3" fmla="*/ 110 h 113"/>
                <a:gd name="T4" fmla="*/ 20 w 51"/>
                <a:gd name="T5" fmla="*/ 105 h 113"/>
                <a:gd name="T6" fmla="*/ 16 w 51"/>
                <a:gd name="T7" fmla="*/ 100 h 113"/>
                <a:gd name="T8" fmla="*/ 7 w 51"/>
                <a:gd name="T9" fmla="*/ 96 h 113"/>
                <a:gd name="T10" fmla="*/ 2 w 51"/>
                <a:gd name="T11" fmla="*/ 89 h 113"/>
                <a:gd name="T12" fmla="*/ 0 w 51"/>
                <a:gd name="T13" fmla="*/ 84 h 113"/>
                <a:gd name="T14" fmla="*/ 4 w 51"/>
                <a:gd name="T15" fmla="*/ 84 h 113"/>
                <a:gd name="T16" fmla="*/ 4 w 51"/>
                <a:gd name="T17" fmla="*/ 80 h 113"/>
                <a:gd name="T18" fmla="*/ 2 w 51"/>
                <a:gd name="T19" fmla="*/ 73 h 113"/>
                <a:gd name="T20" fmla="*/ 4 w 51"/>
                <a:gd name="T21" fmla="*/ 66 h 113"/>
                <a:gd name="T22" fmla="*/ 5 w 51"/>
                <a:gd name="T23" fmla="*/ 65 h 113"/>
                <a:gd name="T24" fmla="*/ 4 w 51"/>
                <a:gd name="T25" fmla="*/ 60 h 113"/>
                <a:gd name="T26" fmla="*/ 5 w 51"/>
                <a:gd name="T27" fmla="*/ 55 h 113"/>
                <a:gd name="T28" fmla="*/ 3 w 51"/>
                <a:gd name="T29" fmla="*/ 49 h 113"/>
                <a:gd name="T30" fmla="*/ 8 w 51"/>
                <a:gd name="T31" fmla="*/ 33 h 113"/>
                <a:gd name="T32" fmla="*/ 5 w 51"/>
                <a:gd name="T33" fmla="*/ 30 h 113"/>
                <a:gd name="T34" fmla="*/ 1 w 51"/>
                <a:gd name="T35" fmla="*/ 30 h 113"/>
                <a:gd name="T36" fmla="*/ 4 w 51"/>
                <a:gd name="T37" fmla="*/ 21 h 113"/>
                <a:gd name="T38" fmla="*/ 3 w 51"/>
                <a:gd name="T39" fmla="*/ 16 h 113"/>
                <a:gd name="T40" fmla="*/ 5 w 51"/>
                <a:gd name="T41" fmla="*/ 8 h 113"/>
                <a:gd name="T42" fmla="*/ 9 w 51"/>
                <a:gd name="T43" fmla="*/ 5 h 113"/>
                <a:gd name="T44" fmla="*/ 12 w 51"/>
                <a:gd name="T45" fmla="*/ 0 h 113"/>
                <a:gd name="T46" fmla="*/ 16 w 51"/>
                <a:gd name="T47" fmla="*/ 4 h 113"/>
                <a:gd name="T48" fmla="*/ 24 w 51"/>
                <a:gd name="T49" fmla="*/ 4 h 113"/>
                <a:gd name="T50" fmla="*/ 27 w 51"/>
                <a:gd name="T51" fmla="*/ 10 h 113"/>
                <a:gd name="T52" fmla="*/ 32 w 51"/>
                <a:gd name="T53" fmla="*/ 13 h 113"/>
                <a:gd name="T54" fmla="*/ 38 w 51"/>
                <a:gd name="T55" fmla="*/ 21 h 113"/>
                <a:gd name="T56" fmla="*/ 36 w 51"/>
                <a:gd name="T57" fmla="*/ 40 h 113"/>
                <a:gd name="T58" fmla="*/ 36 w 51"/>
                <a:gd name="T59" fmla="*/ 49 h 113"/>
                <a:gd name="T60" fmla="*/ 40 w 51"/>
                <a:gd name="T61" fmla="*/ 59 h 113"/>
                <a:gd name="T62" fmla="*/ 50 w 51"/>
                <a:gd name="T63" fmla="*/ 68 h 113"/>
                <a:gd name="T64" fmla="*/ 51 w 51"/>
                <a:gd name="T65" fmla="*/ 74 h 113"/>
                <a:gd name="T66" fmla="*/ 51 w 51"/>
                <a:gd name="T67" fmla="*/ 81 h 113"/>
                <a:gd name="T68" fmla="*/ 44 w 51"/>
                <a:gd name="T69" fmla="*/ 87 h 113"/>
                <a:gd name="T70" fmla="*/ 39 w 51"/>
                <a:gd name="T71" fmla="*/ 96 h 113"/>
                <a:gd name="T72" fmla="*/ 34 w 51"/>
                <a:gd name="T73" fmla="*/ 100 h 113"/>
                <a:gd name="T74" fmla="*/ 32 w 51"/>
                <a:gd name="T75" fmla="*/ 106 h 113"/>
                <a:gd name="T76" fmla="*/ 30 w 51"/>
                <a:gd name="T77" fmla="*/ 109 h 113"/>
                <a:gd name="T78" fmla="*/ 26 w 51"/>
                <a:gd name="T79" fmla="*/ 113 h 113"/>
                <a:gd name="T80" fmla="*/ 25 w 51"/>
                <a:gd name="T81" fmla="*/ 113 h 113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1"/>
                <a:gd name="T124" fmla="*/ 0 h 113"/>
                <a:gd name="T125" fmla="*/ 51 w 51"/>
                <a:gd name="T126" fmla="*/ 113 h 113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1" h="113">
                  <a:moveTo>
                    <a:pt x="25" y="113"/>
                  </a:moveTo>
                  <a:lnTo>
                    <a:pt x="21" y="110"/>
                  </a:lnTo>
                  <a:lnTo>
                    <a:pt x="20" y="105"/>
                  </a:lnTo>
                  <a:lnTo>
                    <a:pt x="16" y="100"/>
                  </a:lnTo>
                  <a:lnTo>
                    <a:pt x="7" y="96"/>
                  </a:lnTo>
                  <a:lnTo>
                    <a:pt x="2" y="89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2" y="73"/>
                  </a:lnTo>
                  <a:lnTo>
                    <a:pt x="4" y="66"/>
                  </a:lnTo>
                  <a:lnTo>
                    <a:pt x="5" y="65"/>
                  </a:lnTo>
                  <a:lnTo>
                    <a:pt x="4" y="60"/>
                  </a:lnTo>
                  <a:lnTo>
                    <a:pt x="5" y="55"/>
                  </a:lnTo>
                  <a:lnTo>
                    <a:pt x="3" y="49"/>
                  </a:lnTo>
                  <a:lnTo>
                    <a:pt x="8" y="33"/>
                  </a:lnTo>
                  <a:lnTo>
                    <a:pt x="5" y="30"/>
                  </a:lnTo>
                  <a:lnTo>
                    <a:pt x="1" y="30"/>
                  </a:lnTo>
                  <a:lnTo>
                    <a:pt x="4" y="21"/>
                  </a:lnTo>
                  <a:lnTo>
                    <a:pt x="3" y="16"/>
                  </a:lnTo>
                  <a:lnTo>
                    <a:pt x="5" y="8"/>
                  </a:lnTo>
                  <a:lnTo>
                    <a:pt x="9" y="5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24" y="4"/>
                  </a:lnTo>
                  <a:lnTo>
                    <a:pt x="27" y="10"/>
                  </a:lnTo>
                  <a:lnTo>
                    <a:pt x="32" y="13"/>
                  </a:lnTo>
                  <a:lnTo>
                    <a:pt x="38" y="21"/>
                  </a:lnTo>
                  <a:lnTo>
                    <a:pt x="36" y="40"/>
                  </a:lnTo>
                  <a:lnTo>
                    <a:pt x="36" y="49"/>
                  </a:lnTo>
                  <a:lnTo>
                    <a:pt x="40" y="59"/>
                  </a:lnTo>
                  <a:lnTo>
                    <a:pt x="50" y="68"/>
                  </a:lnTo>
                  <a:lnTo>
                    <a:pt x="51" y="74"/>
                  </a:lnTo>
                  <a:lnTo>
                    <a:pt x="51" y="81"/>
                  </a:lnTo>
                  <a:lnTo>
                    <a:pt x="44" y="87"/>
                  </a:lnTo>
                  <a:lnTo>
                    <a:pt x="39" y="96"/>
                  </a:lnTo>
                  <a:lnTo>
                    <a:pt x="34" y="100"/>
                  </a:lnTo>
                  <a:lnTo>
                    <a:pt x="32" y="106"/>
                  </a:lnTo>
                  <a:lnTo>
                    <a:pt x="30" y="109"/>
                  </a:lnTo>
                  <a:lnTo>
                    <a:pt x="26" y="113"/>
                  </a:lnTo>
                  <a:lnTo>
                    <a:pt x="25" y="113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58" name="Group 195"/>
          <p:cNvGrpSpPr>
            <a:grpSpLocks/>
          </p:cNvGrpSpPr>
          <p:nvPr/>
        </p:nvGrpSpPr>
        <p:grpSpPr bwMode="auto">
          <a:xfrm>
            <a:off x="5011738" y="3811588"/>
            <a:ext cx="261937" cy="203200"/>
            <a:chOff x="2399" y="2401"/>
            <a:chExt cx="165" cy="128"/>
          </a:xfrm>
        </p:grpSpPr>
        <p:sp>
          <p:nvSpPr>
            <p:cNvPr id="34348" name="Freeform 193"/>
            <p:cNvSpPr>
              <a:spLocks/>
            </p:cNvSpPr>
            <p:nvPr/>
          </p:nvSpPr>
          <p:spPr bwMode="auto">
            <a:xfrm>
              <a:off x="2399" y="2401"/>
              <a:ext cx="165" cy="128"/>
            </a:xfrm>
            <a:custGeom>
              <a:avLst/>
              <a:gdLst>
                <a:gd name="T0" fmla="*/ 1 w 165"/>
                <a:gd name="T1" fmla="*/ 31 h 128"/>
                <a:gd name="T2" fmla="*/ 2 w 165"/>
                <a:gd name="T3" fmla="*/ 41 h 128"/>
                <a:gd name="T4" fmla="*/ 2 w 165"/>
                <a:gd name="T5" fmla="*/ 34 h 128"/>
                <a:gd name="T6" fmla="*/ 6 w 165"/>
                <a:gd name="T7" fmla="*/ 50 h 128"/>
                <a:gd name="T8" fmla="*/ 5 w 165"/>
                <a:gd name="T9" fmla="*/ 58 h 128"/>
                <a:gd name="T10" fmla="*/ 7 w 165"/>
                <a:gd name="T11" fmla="*/ 62 h 128"/>
                <a:gd name="T12" fmla="*/ 16 w 165"/>
                <a:gd name="T13" fmla="*/ 64 h 128"/>
                <a:gd name="T14" fmla="*/ 23 w 165"/>
                <a:gd name="T15" fmla="*/ 68 h 128"/>
                <a:gd name="T16" fmla="*/ 35 w 165"/>
                <a:gd name="T17" fmla="*/ 70 h 128"/>
                <a:gd name="T18" fmla="*/ 47 w 165"/>
                <a:gd name="T19" fmla="*/ 72 h 128"/>
                <a:gd name="T20" fmla="*/ 50 w 165"/>
                <a:gd name="T21" fmla="*/ 92 h 128"/>
                <a:gd name="T22" fmla="*/ 51 w 165"/>
                <a:gd name="T23" fmla="*/ 106 h 128"/>
                <a:gd name="T24" fmla="*/ 68 w 165"/>
                <a:gd name="T25" fmla="*/ 117 h 128"/>
                <a:gd name="T26" fmla="*/ 71 w 165"/>
                <a:gd name="T27" fmla="*/ 126 h 128"/>
                <a:gd name="T28" fmla="*/ 87 w 165"/>
                <a:gd name="T29" fmla="*/ 126 h 128"/>
                <a:gd name="T30" fmla="*/ 99 w 165"/>
                <a:gd name="T31" fmla="*/ 126 h 128"/>
                <a:gd name="T32" fmla="*/ 106 w 165"/>
                <a:gd name="T33" fmla="*/ 125 h 128"/>
                <a:gd name="T34" fmla="*/ 108 w 165"/>
                <a:gd name="T35" fmla="*/ 117 h 128"/>
                <a:gd name="T36" fmla="*/ 116 w 165"/>
                <a:gd name="T37" fmla="*/ 115 h 128"/>
                <a:gd name="T38" fmla="*/ 123 w 165"/>
                <a:gd name="T39" fmla="*/ 110 h 128"/>
                <a:gd name="T40" fmla="*/ 129 w 165"/>
                <a:gd name="T41" fmla="*/ 115 h 128"/>
                <a:gd name="T42" fmla="*/ 137 w 165"/>
                <a:gd name="T43" fmla="*/ 115 h 128"/>
                <a:gd name="T44" fmla="*/ 134 w 165"/>
                <a:gd name="T45" fmla="*/ 108 h 128"/>
                <a:gd name="T46" fmla="*/ 133 w 165"/>
                <a:gd name="T47" fmla="*/ 100 h 128"/>
                <a:gd name="T48" fmla="*/ 137 w 165"/>
                <a:gd name="T49" fmla="*/ 88 h 128"/>
                <a:gd name="T50" fmla="*/ 138 w 165"/>
                <a:gd name="T51" fmla="*/ 80 h 128"/>
                <a:gd name="T52" fmla="*/ 143 w 165"/>
                <a:gd name="T53" fmla="*/ 74 h 128"/>
                <a:gd name="T54" fmla="*/ 150 w 165"/>
                <a:gd name="T55" fmla="*/ 70 h 128"/>
                <a:gd name="T56" fmla="*/ 161 w 165"/>
                <a:gd name="T57" fmla="*/ 68 h 128"/>
                <a:gd name="T58" fmla="*/ 161 w 165"/>
                <a:gd name="T59" fmla="*/ 56 h 128"/>
                <a:gd name="T60" fmla="*/ 157 w 165"/>
                <a:gd name="T61" fmla="*/ 52 h 128"/>
                <a:gd name="T62" fmla="*/ 161 w 165"/>
                <a:gd name="T63" fmla="*/ 46 h 128"/>
                <a:gd name="T64" fmla="*/ 163 w 165"/>
                <a:gd name="T65" fmla="*/ 42 h 128"/>
                <a:gd name="T66" fmla="*/ 160 w 165"/>
                <a:gd name="T67" fmla="*/ 39 h 128"/>
                <a:gd name="T68" fmla="*/ 146 w 165"/>
                <a:gd name="T69" fmla="*/ 26 h 128"/>
                <a:gd name="T70" fmla="*/ 124 w 165"/>
                <a:gd name="T71" fmla="*/ 16 h 128"/>
                <a:gd name="T72" fmla="*/ 115 w 165"/>
                <a:gd name="T73" fmla="*/ 3 h 128"/>
                <a:gd name="T74" fmla="*/ 108 w 165"/>
                <a:gd name="T75" fmla="*/ 1 h 128"/>
                <a:gd name="T76" fmla="*/ 94 w 165"/>
                <a:gd name="T77" fmla="*/ 10 h 128"/>
                <a:gd name="T78" fmla="*/ 74 w 165"/>
                <a:gd name="T79" fmla="*/ 4 h 128"/>
                <a:gd name="T80" fmla="*/ 62 w 165"/>
                <a:gd name="T81" fmla="*/ 4 h 128"/>
                <a:gd name="T82" fmla="*/ 54 w 165"/>
                <a:gd name="T83" fmla="*/ 4 h 128"/>
                <a:gd name="T84" fmla="*/ 46 w 165"/>
                <a:gd name="T85" fmla="*/ 2 h 128"/>
                <a:gd name="T86" fmla="*/ 33 w 165"/>
                <a:gd name="T87" fmla="*/ 2 h 128"/>
                <a:gd name="T88" fmla="*/ 13 w 165"/>
                <a:gd name="T89" fmla="*/ 10 h 128"/>
                <a:gd name="T90" fmla="*/ 5 w 165"/>
                <a:gd name="T91" fmla="*/ 20 h 12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5"/>
                <a:gd name="T139" fmla="*/ 0 h 128"/>
                <a:gd name="T140" fmla="*/ 165 w 165"/>
                <a:gd name="T141" fmla="*/ 128 h 12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5" h="128">
                  <a:moveTo>
                    <a:pt x="0" y="19"/>
                  </a:moveTo>
                  <a:lnTo>
                    <a:pt x="1" y="31"/>
                  </a:lnTo>
                  <a:lnTo>
                    <a:pt x="1" y="38"/>
                  </a:lnTo>
                  <a:lnTo>
                    <a:pt x="2" y="41"/>
                  </a:lnTo>
                  <a:lnTo>
                    <a:pt x="1" y="29"/>
                  </a:lnTo>
                  <a:lnTo>
                    <a:pt x="2" y="34"/>
                  </a:lnTo>
                  <a:lnTo>
                    <a:pt x="3" y="38"/>
                  </a:lnTo>
                  <a:lnTo>
                    <a:pt x="6" y="50"/>
                  </a:lnTo>
                  <a:lnTo>
                    <a:pt x="6" y="54"/>
                  </a:lnTo>
                  <a:lnTo>
                    <a:pt x="5" y="58"/>
                  </a:lnTo>
                  <a:lnTo>
                    <a:pt x="7" y="58"/>
                  </a:lnTo>
                  <a:lnTo>
                    <a:pt x="7" y="62"/>
                  </a:lnTo>
                  <a:lnTo>
                    <a:pt x="13" y="61"/>
                  </a:lnTo>
                  <a:lnTo>
                    <a:pt x="16" y="64"/>
                  </a:lnTo>
                  <a:lnTo>
                    <a:pt x="20" y="65"/>
                  </a:lnTo>
                  <a:lnTo>
                    <a:pt x="23" y="68"/>
                  </a:lnTo>
                  <a:lnTo>
                    <a:pt x="27" y="69"/>
                  </a:lnTo>
                  <a:lnTo>
                    <a:pt x="35" y="70"/>
                  </a:lnTo>
                  <a:lnTo>
                    <a:pt x="44" y="70"/>
                  </a:lnTo>
                  <a:lnTo>
                    <a:pt x="47" y="72"/>
                  </a:lnTo>
                  <a:lnTo>
                    <a:pt x="53" y="84"/>
                  </a:lnTo>
                  <a:lnTo>
                    <a:pt x="50" y="92"/>
                  </a:lnTo>
                  <a:lnTo>
                    <a:pt x="50" y="100"/>
                  </a:lnTo>
                  <a:lnTo>
                    <a:pt x="51" y="106"/>
                  </a:lnTo>
                  <a:lnTo>
                    <a:pt x="59" y="110"/>
                  </a:lnTo>
                  <a:lnTo>
                    <a:pt x="68" y="117"/>
                  </a:lnTo>
                  <a:lnTo>
                    <a:pt x="71" y="123"/>
                  </a:lnTo>
                  <a:lnTo>
                    <a:pt x="71" y="126"/>
                  </a:lnTo>
                  <a:lnTo>
                    <a:pt x="79" y="128"/>
                  </a:lnTo>
                  <a:lnTo>
                    <a:pt x="87" y="126"/>
                  </a:lnTo>
                  <a:lnTo>
                    <a:pt x="95" y="128"/>
                  </a:lnTo>
                  <a:lnTo>
                    <a:pt x="99" y="126"/>
                  </a:lnTo>
                  <a:lnTo>
                    <a:pt x="102" y="123"/>
                  </a:lnTo>
                  <a:lnTo>
                    <a:pt x="106" y="125"/>
                  </a:lnTo>
                  <a:lnTo>
                    <a:pt x="110" y="125"/>
                  </a:lnTo>
                  <a:lnTo>
                    <a:pt x="108" y="117"/>
                  </a:lnTo>
                  <a:lnTo>
                    <a:pt x="112" y="115"/>
                  </a:lnTo>
                  <a:lnTo>
                    <a:pt x="116" y="115"/>
                  </a:lnTo>
                  <a:lnTo>
                    <a:pt x="119" y="112"/>
                  </a:lnTo>
                  <a:lnTo>
                    <a:pt x="123" y="110"/>
                  </a:lnTo>
                  <a:lnTo>
                    <a:pt x="127" y="111"/>
                  </a:lnTo>
                  <a:lnTo>
                    <a:pt x="129" y="115"/>
                  </a:lnTo>
                  <a:lnTo>
                    <a:pt x="133" y="117"/>
                  </a:lnTo>
                  <a:lnTo>
                    <a:pt x="137" y="115"/>
                  </a:lnTo>
                  <a:lnTo>
                    <a:pt x="136" y="111"/>
                  </a:lnTo>
                  <a:lnTo>
                    <a:pt x="134" y="108"/>
                  </a:lnTo>
                  <a:lnTo>
                    <a:pt x="132" y="104"/>
                  </a:lnTo>
                  <a:lnTo>
                    <a:pt x="133" y="100"/>
                  </a:lnTo>
                  <a:lnTo>
                    <a:pt x="137" y="93"/>
                  </a:lnTo>
                  <a:lnTo>
                    <a:pt x="137" y="88"/>
                  </a:lnTo>
                  <a:lnTo>
                    <a:pt x="138" y="84"/>
                  </a:lnTo>
                  <a:lnTo>
                    <a:pt x="138" y="80"/>
                  </a:lnTo>
                  <a:lnTo>
                    <a:pt x="139" y="75"/>
                  </a:lnTo>
                  <a:lnTo>
                    <a:pt x="143" y="74"/>
                  </a:lnTo>
                  <a:lnTo>
                    <a:pt x="147" y="73"/>
                  </a:lnTo>
                  <a:lnTo>
                    <a:pt x="150" y="70"/>
                  </a:lnTo>
                  <a:lnTo>
                    <a:pt x="154" y="68"/>
                  </a:lnTo>
                  <a:lnTo>
                    <a:pt x="161" y="68"/>
                  </a:lnTo>
                  <a:lnTo>
                    <a:pt x="165" y="58"/>
                  </a:lnTo>
                  <a:lnTo>
                    <a:pt x="161" y="56"/>
                  </a:lnTo>
                  <a:lnTo>
                    <a:pt x="157" y="56"/>
                  </a:lnTo>
                  <a:lnTo>
                    <a:pt x="157" y="52"/>
                  </a:lnTo>
                  <a:lnTo>
                    <a:pt x="157" y="48"/>
                  </a:lnTo>
                  <a:lnTo>
                    <a:pt x="161" y="46"/>
                  </a:lnTo>
                  <a:lnTo>
                    <a:pt x="164" y="43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0" y="39"/>
                  </a:lnTo>
                  <a:lnTo>
                    <a:pt x="156" y="37"/>
                  </a:lnTo>
                  <a:lnTo>
                    <a:pt x="146" y="26"/>
                  </a:lnTo>
                  <a:lnTo>
                    <a:pt x="133" y="16"/>
                  </a:lnTo>
                  <a:lnTo>
                    <a:pt x="124" y="16"/>
                  </a:lnTo>
                  <a:lnTo>
                    <a:pt x="120" y="15"/>
                  </a:lnTo>
                  <a:lnTo>
                    <a:pt x="115" y="3"/>
                  </a:lnTo>
                  <a:lnTo>
                    <a:pt x="112" y="0"/>
                  </a:lnTo>
                  <a:lnTo>
                    <a:pt x="108" y="1"/>
                  </a:lnTo>
                  <a:lnTo>
                    <a:pt x="102" y="8"/>
                  </a:lnTo>
                  <a:lnTo>
                    <a:pt x="94" y="10"/>
                  </a:lnTo>
                  <a:lnTo>
                    <a:pt x="78" y="3"/>
                  </a:lnTo>
                  <a:lnTo>
                    <a:pt x="74" y="4"/>
                  </a:lnTo>
                  <a:lnTo>
                    <a:pt x="66" y="3"/>
                  </a:lnTo>
                  <a:lnTo>
                    <a:pt x="62" y="4"/>
                  </a:lnTo>
                  <a:lnTo>
                    <a:pt x="58" y="3"/>
                  </a:lnTo>
                  <a:lnTo>
                    <a:pt x="54" y="4"/>
                  </a:lnTo>
                  <a:lnTo>
                    <a:pt x="49" y="4"/>
                  </a:lnTo>
                  <a:lnTo>
                    <a:pt x="46" y="2"/>
                  </a:lnTo>
                  <a:lnTo>
                    <a:pt x="41" y="2"/>
                  </a:lnTo>
                  <a:lnTo>
                    <a:pt x="33" y="2"/>
                  </a:lnTo>
                  <a:lnTo>
                    <a:pt x="21" y="6"/>
                  </a:lnTo>
                  <a:lnTo>
                    <a:pt x="13" y="10"/>
                  </a:lnTo>
                  <a:lnTo>
                    <a:pt x="9" y="18"/>
                  </a:lnTo>
                  <a:lnTo>
                    <a:pt x="5" y="20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49" name="Freeform 194"/>
            <p:cNvSpPr>
              <a:spLocks/>
            </p:cNvSpPr>
            <p:nvPr/>
          </p:nvSpPr>
          <p:spPr bwMode="auto">
            <a:xfrm>
              <a:off x="2399" y="2401"/>
              <a:ext cx="165" cy="128"/>
            </a:xfrm>
            <a:custGeom>
              <a:avLst/>
              <a:gdLst>
                <a:gd name="T0" fmla="*/ 1 w 165"/>
                <a:gd name="T1" fmla="*/ 31 h 128"/>
                <a:gd name="T2" fmla="*/ 2 w 165"/>
                <a:gd name="T3" fmla="*/ 41 h 128"/>
                <a:gd name="T4" fmla="*/ 2 w 165"/>
                <a:gd name="T5" fmla="*/ 34 h 128"/>
                <a:gd name="T6" fmla="*/ 6 w 165"/>
                <a:gd name="T7" fmla="*/ 50 h 128"/>
                <a:gd name="T8" fmla="*/ 5 w 165"/>
                <a:gd name="T9" fmla="*/ 58 h 128"/>
                <a:gd name="T10" fmla="*/ 7 w 165"/>
                <a:gd name="T11" fmla="*/ 62 h 128"/>
                <a:gd name="T12" fmla="*/ 16 w 165"/>
                <a:gd name="T13" fmla="*/ 64 h 128"/>
                <a:gd name="T14" fmla="*/ 23 w 165"/>
                <a:gd name="T15" fmla="*/ 68 h 128"/>
                <a:gd name="T16" fmla="*/ 35 w 165"/>
                <a:gd name="T17" fmla="*/ 70 h 128"/>
                <a:gd name="T18" fmla="*/ 47 w 165"/>
                <a:gd name="T19" fmla="*/ 72 h 128"/>
                <a:gd name="T20" fmla="*/ 50 w 165"/>
                <a:gd name="T21" fmla="*/ 92 h 128"/>
                <a:gd name="T22" fmla="*/ 51 w 165"/>
                <a:gd name="T23" fmla="*/ 106 h 128"/>
                <a:gd name="T24" fmla="*/ 68 w 165"/>
                <a:gd name="T25" fmla="*/ 117 h 128"/>
                <a:gd name="T26" fmla="*/ 71 w 165"/>
                <a:gd name="T27" fmla="*/ 126 h 128"/>
                <a:gd name="T28" fmla="*/ 87 w 165"/>
                <a:gd name="T29" fmla="*/ 126 h 128"/>
                <a:gd name="T30" fmla="*/ 99 w 165"/>
                <a:gd name="T31" fmla="*/ 126 h 128"/>
                <a:gd name="T32" fmla="*/ 106 w 165"/>
                <a:gd name="T33" fmla="*/ 125 h 128"/>
                <a:gd name="T34" fmla="*/ 108 w 165"/>
                <a:gd name="T35" fmla="*/ 117 h 128"/>
                <a:gd name="T36" fmla="*/ 116 w 165"/>
                <a:gd name="T37" fmla="*/ 115 h 128"/>
                <a:gd name="T38" fmla="*/ 123 w 165"/>
                <a:gd name="T39" fmla="*/ 110 h 128"/>
                <a:gd name="T40" fmla="*/ 129 w 165"/>
                <a:gd name="T41" fmla="*/ 115 h 128"/>
                <a:gd name="T42" fmla="*/ 137 w 165"/>
                <a:gd name="T43" fmla="*/ 115 h 128"/>
                <a:gd name="T44" fmla="*/ 134 w 165"/>
                <a:gd name="T45" fmla="*/ 108 h 128"/>
                <a:gd name="T46" fmla="*/ 133 w 165"/>
                <a:gd name="T47" fmla="*/ 100 h 128"/>
                <a:gd name="T48" fmla="*/ 137 w 165"/>
                <a:gd name="T49" fmla="*/ 88 h 128"/>
                <a:gd name="T50" fmla="*/ 138 w 165"/>
                <a:gd name="T51" fmla="*/ 80 h 128"/>
                <a:gd name="T52" fmla="*/ 143 w 165"/>
                <a:gd name="T53" fmla="*/ 74 h 128"/>
                <a:gd name="T54" fmla="*/ 150 w 165"/>
                <a:gd name="T55" fmla="*/ 70 h 128"/>
                <a:gd name="T56" fmla="*/ 161 w 165"/>
                <a:gd name="T57" fmla="*/ 68 h 128"/>
                <a:gd name="T58" fmla="*/ 161 w 165"/>
                <a:gd name="T59" fmla="*/ 56 h 128"/>
                <a:gd name="T60" fmla="*/ 157 w 165"/>
                <a:gd name="T61" fmla="*/ 52 h 128"/>
                <a:gd name="T62" fmla="*/ 161 w 165"/>
                <a:gd name="T63" fmla="*/ 46 h 128"/>
                <a:gd name="T64" fmla="*/ 163 w 165"/>
                <a:gd name="T65" fmla="*/ 42 h 128"/>
                <a:gd name="T66" fmla="*/ 160 w 165"/>
                <a:gd name="T67" fmla="*/ 39 h 128"/>
                <a:gd name="T68" fmla="*/ 146 w 165"/>
                <a:gd name="T69" fmla="*/ 26 h 128"/>
                <a:gd name="T70" fmla="*/ 124 w 165"/>
                <a:gd name="T71" fmla="*/ 16 h 128"/>
                <a:gd name="T72" fmla="*/ 115 w 165"/>
                <a:gd name="T73" fmla="*/ 3 h 128"/>
                <a:gd name="T74" fmla="*/ 108 w 165"/>
                <a:gd name="T75" fmla="*/ 1 h 128"/>
                <a:gd name="T76" fmla="*/ 94 w 165"/>
                <a:gd name="T77" fmla="*/ 10 h 128"/>
                <a:gd name="T78" fmla="*/ 74 w 165"/>
                <a:gd name="T79" fmla="*/ 4 h 128"/>
                <a:gd name="T80" fmla="*/ 62 w 165"/>
                <a:gd name="T81" fmla="*/ 4 h 128"/>
                <a:gd name="T82" fmla="*/ 54 w 165"/>
                <a:gd name="T83" fmla="*/ 4 h 128"/>
                <a:gd name="T84" fmla="*/ 46 w 165"/>
                <a:gd name="T85" fmla="*/ 2 h 128"/>
                <a:gd name="T86" fmla="*/ 33 w 165"/>
                <a:gd name="T87" fmla="*/ 2 h 128"/>
                <a:gd name="T88" fmla="*/ 13 w 165"/>
                <a:gd name="T89" fmla="*/ 10 h 128"/>
                <a:gd name="T90" fmla="*/ 5 w 165"/>
                <a:gd name="T91" fmla="*/ 20 h 12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5"/>
                <a:gd name="T139" fmla="*/ 0 h 128"/>
                <a:gd name="T140" fmla="*/ 165 w 165"/>
                <a:gd name="T141" fmla="*/ 128 h 128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5" h="128">
                  <a:moveTo>
                    <a:pt x="0" y="19"/>
                  </a:moveTo>
                  <a:lnTo>
                    <a:pt x="1" y="31"/>
                  </a:lnTo>
                  <a:lnTo>
                    <a:pt x="1" y="38"/>
                  </a:lnTo>
                  <a:lnTo>
                    <a:pt x="2" y="41"/>
                  </a:lnTo>
                  <a:lnTo>
                    <a:pt x="1" y="29"/>
                  </a:lnTo>
                  <a:lnTo>
                    <a:pt x="2" y="34"/>
                  </a:lnTo>
                  <a:lnTo>
                    <a:pt x="3" y="38"/>
                  </a:lnTo>
                  <a:lnTo>
                    <a:pt x="6" y="50"/>
                  </a:lnTo>
                  <a:lnTo>
                    <a:pt x="6" y="54"/>
                  </a:lnTo>
                  <a:lnTo>
                    <a:pt x="5" y="58"/>
                  </a:lnTo>
                  <a:lnTo>
                    <a:pt x="7" y="58"/>
                  </a:lnTo>
                  <a:lnTo>
                    <a:pt x="7" y="62"/>
                  </a:lnTo>
                  <a:lnTo>
                    <a:pt x="13" y="61"/>
                  </a:lnTo>
                  <a:lnTo>
                    <a:pt x="16" y="64"/>
                  </a:lnTo>
                  <a:lnTo>
                    <a:pt x="20" y="65"/>
                  </a:lnTo>
                  <a:lnTo>
                    <a:pt x="23" y="68"/>
                  </a:lnTo>
                  <a:lnTo>
                    <a:pt x="27" y="69"/>
                  </a:lnTo>
                  <a:lnTo>
                    <a:pt x="35" y="70"/>
                  </a:lnTo>
                  <a:lnTo>
                    <a:pt x="44" y="70"/>
                  </a:lnTo>
                  <a:lnTo>
                    <a:pt x="47" y="72"/>
                  </a:lnTo>
                  <a:lnTo>
                    <a:pt x="53" y="84"/>
                  </a:lnTo>
                  <a:lnTo>
                    <a:pt x="50" y="92"/>
                  </a:lnTo>
                  <a:lnTo>
                    <a:pt x="50" y="100"/>
                  </a:lnTo>
                  <a:lnTo>
                    <a:pt x="51" y="106"/>
                  </a:lnTo>
                  <a:lnTo>
                    <a:pt x="59" y="110"/>
                  </a:lnTo>
                  <a:lnTo>
                    <a:pt x="68" y="117"/>
                  </a:lnTo>
                  <a:lnTo>
                    <a:pt x="71" y="123"/>
                  </a:lnTo>
                  <a:lnTo>
                    <a:pt x="71" y="126"/>
                  </a:lnTo>
                  <a:lnTo>
                    <a:pt x="79" y="128"/>
                  </a:lnTo>
                  <a:lnTo>
                    <a:pt x="87" y="126"/>
                  </a:lnTo>
                  <a:lnTo>
                    <a:pt x="95" y="128"/>
                  </a:lnTo>
                  <a:lnTo>
                    <a:pt x="99" y="126"/>
                  </a:lnTo>
                  <a:lnTo>
                    <a:pt x="102" y="123"/>
                  </a:lnTo>
                  <a:lnTo>
                    <a:pt x="106" y="125"/>
                  </a:lnTo>
                  <a:lnTo>
                    <a:pt x="110" y="125"/>
                  </a:lnTo>
                  <a:lnTo>
                    <a:pt x="108" y="117"/>
                  </a:lnTo>
                  <a:lnTo>
                    <a:pt x="112" y="115"/>
                  </a:lnTo>
                  <a:lnTo>
                    <a:pt x="116" y="115"/>
                  </a:lnTo>
                  <a:lnTo>
                    <a:pt x="119" y="112"/>
                  </a:lnTo>
                  <a:lnTo>
                    <a:pt x="123" y="110"/>
                  </a:lnTo>
                  <a:lnTo>
                    <a:pt x="127" y="111"/>
                  </a:lnTo>
                  <a:lnTo>
                    <a:pt x="129" y="115"/>
                  </a:lnTo>
                  <a:lnTo>
                    <a:pt x="133" y="117"/>
                  </a:lnTo>
                  <a:lnTo>
                    <a:pt x="137" y="115"/>
                  </a:lnTo>
                  <a:lnTo>
                    <a:pt x="136" y="111"/>
                  </a:lnTo>
                  <a:lnTo>
                    <a:pt x="134" y="108"/>
                  </a:lnTo>
                  <a:lnTo>
                    <a:pt x="132" y="104"/>
                  </a:lnTo>
                  <a:lnTo>
                    <a:pt x="133" y="100"/>
                  </a:lnTo>
                  <a:lnTo>
                    <a:pt x="137" y="93"/>
                  </a:lnTo>
                  <a:lnTo>
                    <a:pt x="137" y="88"/>
                  </a:lnTo>
                  <a:lnTo>
                    <a:pt x="138" y="84"/>
                  </a:lnTo>
                  <a:lnTo>
                    <a:pt x="138" y="80"/>
                  </a:lnTo>
                  <a:lnTo>
                    <a:pt x="139" y="75"/>
                  </a:lnTo>
                  <a:lnTo>
                    <a:pt x="143" y="74"/>
                  </a:lnTo>
                  <a:lnTo>
                    <a:pt x="147" y="73"/>
                  </a:lnTo>
                  <a:lnTo>
                    <a:pt x="150" y="70"/>
                  </a:lnTo>
                  <a:lnTo>
                    <a:pt x="154" y="68"/>
                  </a:lnTo>
                  <a:lnTo>
                    <a:pt x="161" y="68"/>
                  </a:lnTo>
                  <a:lnTo>
                    <a:pt x="165" y="58"/>
                  </a:lnTo>
                  <a:lnTo>
                    <a:pt x="161" y="56"/>
                  </a:lnTo>
                  <a:lnTo>
                    <a:pt x="157" y="56"/>
                  </a:lnTo>
                  <a:lnTo>
                    <a:pt x="157" y="52"/>
                  </a:lnTo>
                  <a:lnTo>
                    <a:pt x="157" y="48"/>
                  </a:lnTo>
                  <a:lnTo>
                    <a:pt x="161" y="46"/>
                  </a:lnTo>
                  <a:lnTo>
                    <a:pt x="164" y="43"/>
                  </a:lnTo>
                  <a:lnTo>
                    <a:pt x="163" y="42"/>
                  </a:lnTo>
                  <a:lnTo>
                    <a:pt x="164" y="41"/>
                  </a:lnTo>
                  <a:lnTo>
                    <a:pt x="160" y="39"/>
                  </a:lnTo>
                  <a:lnTo>
                    <a:pt x="156" y="37"/>
                  </a:lnTo>
                  <a:lnTo>
                    <a:pt x="146" y="26"/>
                  </a:lnTo>
                  <a:lnTo>
                    <a:pt x="133" y="16"/>
                  </a:lnTo>
                  <a:lnTo>
                    <a:pt x="124" y="16"/>
                  </a:lnTo>
                  <a:lnTo>
                    <a:pt x="120" y="15"/>
                  </a:lnTo>
                  <a:lnTo>
                    <a:pt x="115" y="3"/>
                  </a:lnTo>
                  <a:lnTo>
                    <a:pt x="112" y="0"/>
                  </a:lnTo>
                  <a:lnTo>
                    <a:pt x="108" y="1"/>
                  </a:lnTo>
                  <a:lnTo>
                    <a:pt x="102" y="8"/>
                  </a:lnTo>
                  <a:lnTo>
                    <a:pt x="94" y="10"/>
                  </a:lnTo>
                  <a:lnTo>
                    <a:pt x="78" y="3"/>
                  </a:lnTo>
                  <a:lnTo>
                    <a:pt x="74" y="4"/>
                  </a:lnTo>
                  <a:lnTo>
                    <a:pt x="66" y="3"/>
                  </a:lnTo>
                  <a:lnTo>
                    <a:pt x="62" y="4"/>
                  </a:lnTo>
                  <a:lnTo>
                    <a:pt x="58" y="3"/>
                  </a:lnTo>
                  <a:lnTo>
                    <a:pt x="54" y="4"/>
                  </a:lnTo>
                  <a:lnTo>
                    <a:pt x="49" y="4"/>
                  </a:lnTo>
                  <a:lnTo>
                    <a:pt x="46" y="2"/>
                  </a:lnTo>
                  <a:lnTo>
                    <a:pt x="41" y="2"/>
                  </a:lnTo>
                  <a:lnTo>
                    <a:pt x="33" y="2"/>
                  </a:lnTo>
                  <a:lnTo>
                    <a:pt x="21" y="6"/>
                  </a:lnTo>
                  <a:lnTo>
                    <a:pt x="13" y="10"/>
                  </a:lnTo>
                  <a:lnTo>
                    <a:pt x="9" y="18"/>
                  </a:lnTo>
                  <a:lnTo>
                    <a:pt x="5" y="20"/>
                  </a:lnTo>
                  <a:lnTo>
                    <a:pt x="0" y="19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59" name="Group 198"/>
          <p:cNvGrpSpPr>
            <a:grpSpLocks/>
          </p:cNvGrpSpPr>
          <p:nvPr/>
        </p:nvGrpSpPr>
        <p:grpSpPr bwMode="auto">
          <a:xfrm>
            <a:off x="5265738" y="4411663"/>
            <a:ext cx="155575" cy="198437"/>
            <a:chOff x="2559" y="2779"/>
            <a:chExt cx="98" cy="125"/>
          </a:xfrm>
        </p:grpSpPr>
        <p:sp>
          <p:nvSpPr>
            <p:cNvPr id="34346" name="Freeform 196"/>
            <p:cNvSpPr>
              <a:spLocks/>
            </p:cNvSpPr>
            <p:nvPr/>
          </p:nvSpPr>
          <p:spPr bwMode="auto">
            <a:xfrm>
              <a:off x="2559" y="2779"/>
              <a:ext cx="98" cy="125"/>
            </a:xfrm>
            <a:custGeom>
              <a:avLst/>
              <a:gdLst>
                <a:gd name="T0" fmla="*/ 46 w 98"/>
                <a:gd name="T1" fmla="*/ 125 h 125"/>
                <a:gd name="T2" fmla="*/ 46 w 98"/>
                <a:gd name="T3" fmla="*/ 117 h 125"/>
                <a:gd name="T4" fmla="*/ 46 w 98"/>
                <a:gd name="T5" fmla="*/ 111 h 125"/>
                <a:gd name="T6" fmla="*/ 44 w 98"/>
                <a:gd name="T7" fmla="*/ 105 h 125"/>
                <a:gd name="T8" fmla="*/ 46 w 98"/>
                <a:gd name="T9" fmla="*/ 96 h 125"/>
                <a:gd name="T10" fmla="*/ 46 w 98"/>
                <a:gd name="T11" fmla="*/ 87 h 125"/>
                <a:gd name="T12" fmla="*/ 43 w 98"/>
                <a:gd name="T13" fmla="*/ 71 h 125"/>
                <a:gd name="T14" fmla="*/ 37 w 98"/>
                <a:gd name="T15" fmla="*/ 61 h 125"/>
                <a:gd name="T16" fmla="*/ 30 w 98"/>
                <a:gd name="T17" fmla="*/ 50 h 125"/>
                <a:gd name="T18" fmla="*/ 24 w 98"/>
                <a:gd name="T19" fmla="*/ 39 h 125"/>
                <a:gd name="T20" fmla="*/ 22 w 98"/>
                <a:gd name="T21" fmla="*/ 30 h 125"/>
                <a:gd name="T22" fmla="*/ 18 w 98"/>
                <a:gd name="T23" fmla="*/ 23 h 125"/>
                <a:gd name="T24" fmla="*/ 11 w 98"/>
                <a:gd name="T25" fmla="*/ 16 h 125"/>
                <a:gd name="T26" fmla="*/ 4 w 98"/>
                <a:gd name="T27" fmla="*/ 10 h 125"/>
                <a:gd name="T28" fmla="*/ 0 w 98"/>
                <a:gd name="T29" fmla="*/ 11 h 125"/>
                <a:gd name="T30" fmla="*/ 3 w 98"/>
                <a:gd name="T31" fmla="*/ 5 h 125"/>
                <a:gd name="T32" fmla="*/ 7 w 98"/>
                <a:gd name="T33" fmla="*/ 3 h 125"/>
                <a:gd name="T34" fmla="*/ 11 w 98"/>
                <a:gd name="T35" fmla="*/ 4 h 125"/>
                <a:gd name="T36" fmla="*/ 15 w 98"/>
                <a:gd name="T37" fmla="*/ 3 h 125"/>
                <a:gd name="T38" fmla="*/ 24 w 98"/>
                <a:gd name="T39" fmla="*/ 0 h 125"/>
                <a:gd name="T40" fmla="*/ 32 w 98"/>
                <a:gd name="T41" fmla="*/ 3 h 125"/>
                <a:gd name="T42" fmla="*/ 36 w 98"/>
                <a:gd name="T43" fmla="*/ 5 h 125"/>
                <a:gd name="T44" fmla="*/ 46 w 98"/>
                <a:gd name="T45" fmla="*/ 13 h 125"/>
                <a:gd name="T46" fmla="*/ 50 w 98"/>
                <a:gd name="T47" fmla="*/ 15 h 125"/>
                <a:gd name="T48" fmla="*/ 59 w 98"/>
                <a:gd name="T49" fmla="*/ 13 h 125"/>
                <a:gd name="T50" fmla="*/ 63 w 98"/>
                <a:gd name="T51" fmla="*/ 14 h 125"/>
                <a:gd name="T52" fmla="*/ 69 w 98"/>
                <a:gd name="T53" fmla="*/ 20 h 125"/>
                <a:gd name="T54" fmla="*/ 73 w 98"/>
                <a:gd name="T55" fmla="*/ 19 h 125"/>
                <a:gd name="T56" fmla="*/ 75 w 98"/>
                <a:gd name="T57" fmla="*/ 23 h 125"/>
                <a:gd name="T58" fmla="*/ 75 w 98"/>
                <a:gd name="T59" fmla="*/ 27 h 125"/>
                <a:gd name="T60" fmla="*/ 75 w 98"/>
                <a:gd name="T61" fmla="*/ 31 h 125"/>
                <a:gd name="T62" fmla="*/ 74 w 98"/>
                <a:gd name="T63" fmla="*/ 40 h 125"/>
                <a:gd name="T64" fmla="*/ 77 w 98"/>
                <a:gd name="T65" fmla="*/ 43 h 125"/>
                <a:gd name="T66" fmla="*/ 79 w 98"/>
                <a:gd name="T67" fmla="*/ 46 h 125"/>
                <a:gd name="T68" fmla="*/ 83 w 98"/>
                <a:gd name="T69" fmla="*/ 47 h 125"/>
                <a:gd name="T70" fmla="*/ 84 w 98"/>
                <a:gd name="T71" fmla="*/ 51 h 125"/>
                <a:gd name="T72" fmla="*/ 83 w 98"/>
                <a:gd name="T73" fmla="*/ 55 h 125"/>
                <a:gd name="T74" fmla="*/ 87 w 98"/>
                <a:gd name="T75" fmla="*/ 63 h 125"/>
                <a:gd name="T76" fmla="*/ 95 w 98"/>
                <a:gd name="T77" fmla="*/ 67 h 125"/>
                <a:gd name="T78" fmla="*/ 97 w 98"/>
                <a:gd name="T79" fmla="*/ 70 h 125"/>
                <a:gd name="T80" fmla="*/ 97 w 98"/>
                <a:gd name="T81" fmla="*/ 74 h 125"/>
                <a:gd name="T82" fmla="*/ 97 w 98"/>
                <a:gd name="T83" fmla="*/ 78 h 125"/>
                <a:gd name="T84" fmla="*/ 98 w 98"/>
                <a:gd name="T85" fmla="*/ 83 h 125"/>
                <a:gd name="T86" fmla="*/ 97 w 98"/>
                <a:gd name="T87" fmla="*/ 87 h 125"/>
                <a:gd name="T88" fmla="*/ 93 w 98"/>
                <a:gd name="T89" fmla="*/ 89 h 125"/>
                <a:gd name="T90" fmla="*/ 81 w 98"/>
                <a:gd name="T91" fmla="*/ 86 h 125"/>
                <a:gd name="T92" fmla="*/ 77 w 98"/>
                <a:gd name="T93" fmla="*/ 88 h 125"/>
                <a:gd name="T94" fmla="*/ 75 w 98"/>
                <a:gd name="T95" fmla="*/ 84 h 125"/>
                <a:gd name="T96" fmla="*/ 71 w 98"/>
                <a:gd name="T97" fmla="*/ 86 h 125"/>
                <a:gd name="T98" fmla="*/ 69 w 98"/>
                <a:gd name="T99" fmla="*/ 90 h 125"/>
                <a:gd name="T100" fmla="*/ 68 w 98"/>
                <a:gd name="T101" fmla="*/ 103 h 125"/>
                <a:gd name="T102" fmla="*/ 64 w 98"/>
                <a:gd name="T103" fmla="*/ 105 h 125"/>
                <a:gd name="T104" fmla="*/ 61 w 98"/>
                <a:gd name="T105" fmla="*/ 108 h 125"/>
                <a:gd name="T106" fmla="*/ 60 w 98"/>
                <a:gd name="T107" fmla="*/ 112 h 125"/>
                <a:gd name="T108" fmla="*/ 56 w 98"/>
                <a:gd name="T109" fmla="*/ 114 h 125"/>
                <a:gd name="T110" fmla="*/ 55 w 98"/>
                <a:gd name="T111" fmla="*/ 118 h 125"/>
                <a:gd name="T112" fmla="*/ 54 w 98"/>
                <a:gd name="T113" fmla="*/ 122 h 125"/>
                <a:gd name="T114" fmla="*/ 51 w 98"/>
                <a:gd name="T115" fmla="*/ 125 h 125"/>
                <a:gd name="T116" fmla="*/ 46 w 98"/>
                <a:gd name="T117" fmla="*/ 125 h 12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8"/>
                <a:gd name="T178" fmla="*/ 0 h 125"/>
                <a:gd name="T179" fmla="*/ 98 w 98"/>
                <a:gd name="T180" fmla="*/ 125 h 12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8" h="125">
                  <a:moveTo>
                    <a:pt x="46" y="125"/>
                  </a:moveTo>
                  <a:lnTo>
                    <a:pt x="46" y="117"/>
                  </a:lnTo>
                  <a:lnTo>
                    <a:pt x="46" y="111"/>
                  </a:lnTo>
                  <a:lnTo>
                    <a:pt x="44" y="105"/>
                  </a:lnTo>
                  <a:lnTo>
                    <a:pt x="46" y="96"/>
                  </a:lnTo>
                  <a:lnTo>
                    <a:pt x="46" y="87"/>
                  </a:lnTo>
                  <a:lnTo>
                    <a:pt x="43" y="71"/>
                  </a:lnTo>
                  <a:lnTo>
                    <a:pt x="37" y="61"/>
                  </a:lnTo>
                  <a:lnTo>
                    <a:pt x="30" y="50"/>
                  </a:lnTo>
                  <a:lnTo>
                    <a:pt x="24" y="39"/>
                  </a:lnTo>
                  <a:lnTo>
                    <a:pt x="22" y="30"/>
                  </a:lnTo>
                  <a:lnTo>
                    <a:pt x="18" y="23"/>
                  </a:lnTo>
                  <a:lnTo>
                    <a:pt x="11" y="16"/>
                  </a:lnTo>
                  <a:lnTo>
                    <a:pt x="4" y="10"/>
                  </a:lnTo>
                  <a:lnTo>
                    <a:pt x="0" y="11"/>
                  </a:lnTo>
                  <a:lnTo>
                    <a:pt x="3" y="5"/>
                  </a:lnTo>
                  <a:lnTo>
                    <a:pt x="7" y="3"/>
                  </a:lnTo>
                  <a:lnTo>
                    <a:pt x="11" y="4"/>
                  </a:lnTo>
                  <a:lnTo>
                    <a:pt x="15" y="3"/>
                  </a:lnTo>
                  <a:lnTo>
                    <a:pt x="24" y="0"/>
                  </a:lnTo>
                  <a:lnTo>
                    <a:pt x="32" y="3"/>
                  </a:lnTo>
                  <a:lnTo>
                    <a:pt x="36" y="5"/>
                  </a:lnTo>
                  <a:lnTo>
                    <a:pt x="46" y="13"/>
                  </a:lnTo>
                  <a:lnTo>
                    <a:pt x="50" y="15"/>
                  </a:lnTo>
                  <a:lnTo>
                    <a:pt x="59" y="13"/>
                  </a:lnTo>
                  <a:lnTo>
                    <a:pt x="63" y="14"/>
                  </a:lnTo>
                  <a:lnTo>
                    <a:pt x="69" y="20"/>
                  </a:lnTo>
                  <a:lnTo>
                    <a:pt x="73" y="19"/>
                  </a:lnTo>
                  <a:lnTo>
                    <a:pt x="75" y="23"/>
                  </a:lnTo>
                  <a:lnTo>
                    <a:pt x="75" y="27"/>
                  </a:lnTo>
                  <a:lnTo>
                    <a:pt x="75" y="31"/>
                  </a:lnTo>
                  <a:lnTo>
                    <a:pt x="74" y="40"/>
                  </a:lnTo>
                  <a:lnTo>
                    <a:pt x="77" y="43"/>
                  </a:lnTo>
                  <a:lnTo>
                    <a:pt x="79" y="46"/>
                  </a:lnTo>
                  <a:lnTo>
                    <a:pt x="83" y="47"/>
                  </a:lnTo>
                  <a:lnTo>
                    <a:pt x="84" y="51"/>
                  </a:lnTo>
                  <a:lnTo>
                    <a:pt x="83" y="55"/>
                  </a:lnTo>
                  <a:lnTo>
                    <a:pt x="87" y="63"/>
                  </a:lnTo>
                  <a:lnTo>
                    <a:pt x="95" y="67"/>
                  </a:lnTo>
                  <a:lnTo>
                    <a:pt x="97" y="70"/>
                  </a:lnTo>
                  <a:lnTo>
                    <a:pt x="97" y="74"/>
                  </a:lnTo>
                  <a:lnTo>
                    <a:pt x="97" y="78"/>
                  </a:lnTo>
                  <a:lnTo>
                    <a:pt x="98" y="83"/>
                  </a:lnTo>
                  <a:lnTo>
                    <a:pt x="97" y="87"/>
                  </a:lnTo>
                  <a:lnTo>
                    <a:pt x="93" y="89"/>
                  </a:lnTo>
                  <a:lnTo>
                    <a:pt x="81" y="86"/>
                  </a:lnTo>
                  <a:lnTo>
                    <a:pt x="77" y="88"/>
                  </a:lnTo>
                  <a:lnTo>
                    <a:pt x="75" y="84"/>
                  </a:lnTo>
                  <a:lnTo>
                    <a:pt x="71" y="86"/>
                  </a:lnTo>
                  <a:lnTo>
                    <a:pt x="69" y="90"/>
                  </a:lnTo>
                  <a:lnTo>
                    <a:pt x="68" y="103"/>
                  </a:lnTo>
                  <a:lnTo>
                    <a:pt x="64" y="105"/>
                  </a:lnTo>
                  <a:lnTo>
                    <a:pt x="61" y="108"/>
                  </a:lnTo>
                  <a:lnTo>
                    <a:pt x="60" y="112"/>
                  </a:lnTo>
                  <a:lnTo>
                    <a:pt x="56" y="114"/>
                  </a:lnTo>
                  <a:lnTo>
                    <a:pt x="55" y="118"/>
                  </a:lnTo>
                  <a:lnTo>
                    <a:pt x="54" y="122"/>
                  </a:lnTo>
                  <a:lnTo>
                    <a:pt x="51" y="125"/>
                  </a:lnTo>
                  <a:lnTo>
                    <a:pt x="46" y="125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47" name="Freeform 197"/>
            <p:cNvSpPr>
              <a:spLocks/>
            </p:cNvSpPr>
            <p:nvPr/>
          </p:nvSpPr>
          <p:spPr bwMode="auto">
            <a:xfrm>
              <a:off x="2559" y="2779"/>
              <a:ext cx="98" cy="125"/>
            </a:xfrm>
            <a:custGeom>
              <a:avLst/>
              <a:gdLst>
                <a:gd name="T0" fmla="*/ 46 w 98"/>
                <a:gd name="T1" fmla="*/ 125 h 125"/>
                <a:gd name="T2" fmla="*/ 46 w 98"/>
                <a:gd name="T3" fmla="*/ 117 h 125"/>
                <a:gd name="T4" fmla="*/ 46 w 98"/>
                <a:gd name="T5" fmla="*/ 111 h 125"/>
                <a:gd name="T6" fmla="*/ 44 w 98"/>
                <a:gd name="T7" fmla="*/ 105 h 125"/>
                <a:gd name="T8" fmla="*/ 46 w 98"/>
                <a:gd name="T9" fmla="*/ 96 h 125"/>
                <a:gd name="T10" fmla="*/ 46 w 98"/>
                <a:gd name="T11" fmla="*/ 87 h 125"/>
                <a:gd name="T12" fmla="*/ 43 w 98"/>
                <a:gd name="T13" fmla="*/ 71 h 125"/>
                <a:gd name="T14" fmla="*/ 37 w 98"/>
                <a:gd name="T15" fmla="*/ 61 h 125"/>
                <a:gd name="T16" fmla="*/ 30 w 98"/>
                <a:gd name="T17" fmla="*/ 50 h 125"/>
                <a:gd name="T18" fmla="*/ 24 w 98"/>
                <a:gd name="T19" fmla="*/ 39 h 125"/>
                <a:gd name="T20" fmla="*/ 22 w 98"/>
                <a:gd name="T21" fmla="*/ 30 h 125"/>
                <a:gd name="T22" fmla="*/ 18 w 98"/>
                <a:gd name="T23" fmla="*/ 23 h 125"/>
                <a:gd name="T24" fmla="*/ 11 w 98"/>
                <a:gd name="T25" fmla="*/ 16 h 125"/>
                <a:gd name="T26" fmla="*/ 4 w 98"/>
                <a:gd name="T27" fmla="*/ 10 h 125"/>
                <a:gd name="T28" fmla="*/ 0 w 98"/>
                <a:gd name="T29" fmla="*/ 11 h 125"/>
                <a:gd name="T30" fmla="*/ 3 w 98"/>
                <a:gd name="T31" fmla="*/ 5 h 125"/>
                <a:gd name="T32" fmla="*/ 7 w 98"/>
                <a:gd name="T33" fmla="*/ 3 h 125"/>
                <a:gd name="T34" fmla="*/ 11 w 98"/>
                <a:gd name="T35" fmla="*/ 4 h 125"/>
                <a:gd name="T36" fmla="*/ 15 w 98"/>
                <a:gd name="T37" fmla="*/ 3 h 125"/>
                <a:gd name="T38" fmla="*/ 24 w 98"/>
                <a:gd name="T39" fmla="*/ 0 h 125"/>
                <a:gd name="T40" fmla="*/ 32 w 98"/>
                <a:gd name="T41" fmla="*/ 3 h 125"/>
                <a:gd name="T42" fmla="*/ 36 w 98"/>
                <a:gd name="T43" fmla="*/ 5 h 125"/>
                <a:gd name="T44" fmla="*/ 46 w 98"/>
                <a:gd name="T45" fmla="*/ 13 h 125"/>
                <a:gd name="T46" fmla="*/ 50 w 98"/>
                <a:gd name="T47" fmla="*/ 15 h 125"/>
                <a:gd name="T48" fmla="*/ 59 w 98"/>
                <a:gd name="T49" fmla="*/ 13 h 125"/>
                <a:gd name="T50" fmla="*/ 63 w 98"/>
                <a:gd name="T51" fmla="*/ 14 h 125"/>
                <a:gd name="T52" fmla="*/ 69 w 98"/>
                <a:gd name="T53" fmla="*/ 20 h 125"/>
                <a:gd name="T54" fmla="*/ 73 w 98"/>
                <a:gd name="T55" fmla="*/ 19 h 125"/>
                <a:gd name="T56" fmla="*/ 75 w 98"/>
                <a:gd name="T57" fmla="*/ 23 h 125"/>
                <a:gd name="T58" fmla="*/ 75 w 98"/>
                <a:gd name="T59" fmla="*/ 27 h 125"/>
                <a:gd name="T60" fmla="*/ 75 w 98"/>
                <a:gd name="T61" fmla="*/ 31 h 125"/>
                <a:gd name="T62" fmla="*/ 74 w 98"/>
                <a:gd name="T63" fmla="*/ 40 h 125"/>
                <a:gd name="T64" fmla="*/ 77 w 98"/>
                <a:gd name="T65" fmla="*/ 43 h 125"/>
                <a:gd name="T66" fmla="*/ 79 w 98"/>
                <a:gd name="T67" fmla="*/ 46 h 125"/>
                <a:gd name="T68" fmla="*/ 83 w 98"/>
                <a:gd name="T69" fmla="*/ 47 h 125"/>
                <a:gd name="T70" fmla="*/ 84 w 98"/>
                <a:gd name="T71" fmla="*/ 51 h 125"/>
                <a:gd name="T72" fmla="*/ 83 w 98"/>
                <a:gd name="T73" fmla="*/ 55 h 125"/>
                <a:gd name="T74" fmla="*/ 87 w 98"/>
                <a:gd name="T75" fmla="*/ 63 h 125"/>
                <a:gd name="T76" fmla="*/ 95 w 98"/>
                <a:gd name="T77" fmla="*/ 67 h 125"/>
                <a:gd name="T78" fmla="*/ 97 w 98"/>
                <a:gd name="T79" fmla="*/ 70 h 125"/>
                <a:gd name="T80" fmla="*/ 97 w 98"/>
                <a:gd name="T81" fmla="*/ 74 h 125"/>
                <a:gd name="T82" fmla="*/ 97 w 98"/>
                <a:gd name="T83" fmla="*/ 78 h 125"/>
                <a:gd name="T84" fmla="*/ 98 w 98"/>
                <a:gd name="T85" fmla="*/ 83 h 125"/>
                <a:gd name="T86" fmla="*/ 97 w 98"/>
                <a:gd name="T87" fmla="*/ 87 h 125"/>
                <a:gd name="T88" fmla="*/ 93 w 98"/>
                <a:gd name="T89" fmla="*/ 89 h 125"/>
                <a:gd name="T90" fmla="*/ 81 w 98"/>
                <a:gd name="T91" fmla="*/ 86 h 125"/>
                <a:gd name="T92" fmla="*/ 77 w 98"/>
                <a:gd name="T93" fmla="*/ 88 h 125"/>
                <a:gd name="T94" fmla="*/ 75 w 98"/>
                <a:gd name="T95" fmla="*/ 84 h 125"/>
                <a:gd name="T96" fmla="*/ 71 w 98"/>
                <a:gd name="T97" fmla="*/ 86 h 125"/>
                <a:gd name="T98" fmla="*/ 69 w 98"/>
                <a:gd name="T99" fmla="*/ 90 h 125"/>
                <a:gd name="T100" fmla="*/ 68 w 98"/>
                <a:gd name="T101" fmla="*/ 103 h 125"/>
                <a:gd name="T102" fmla="*/ 64 w 98"/>
                <a:gd name="T103" fmla="*/ 105 h 125"/>
                <a:gd name="T104" fmla="*/ 61 w 98"/>
                <a:gd name="T105" fmla="*/ 108 h 125"/>
                <a:gd name="T106" fmla="*/ 60 w 98"/>
                <a:gd name="T107" fmla="*/ 112 h 125"/>
                <a:gd name="T108" fmla="*/ 56 w 98"/>
                <a:gd name="T109" fmla="*/ 114 h 125"/>
                <a:gd name="T110" fmla="*/ 55 w 98"/>
                <a:gd name="T111" fmla="*/ 118 h 125"/>
                <a:gd name="T112" fmla="*/ 54 w 98"/>
                <a:gd name="T113" fmla="*/ 122 h 125"/>
                <a:gd name="T114" fmla="*/ 51 w 98"/>
                <a:gd name="T115" fmla="*/ 125 h 125"/>
                <a:gd name="T116" fmla="*/ 46 w 98"/>
                <a:gd name="T117" fmla="*/ 125 h 125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8"/>
                <a:gd name="T178" fmla="*/ 0 h 125"/>
                <a:gd name="T179" fmla="*/ 98 w 98"/>
                <a:gd name="T180" fmla="*/ 125 h 125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8" h="125">
                  <a:moveTo>
                    <a:pt x="46" y="125"/>
                  </a:moveTo>
                  <a:lnTo>
                    <a:pt x="46" y="117"/>
                  </a:lnTo>
                  <a:lnTo>
                    <a:pt x="46" y="111"/>
                  </a:lnTo>
                  <a:lnTo>
                    <a:pt x="44" y="105"/>
                  </a:lnTo>
                  <a:lnTo>
                    <a:pt x="46" y="96"/>
                  </a:lnTo>
                  <a:lnTo>
                    <a:pt x="46" y="87"/>
                  </a:lnTo>
                  <a:lnTo>
                    <a:pt x="43" y="71"/>
                  </a:lnTo>
                  <a:lnTo>
                    <a:pt x="37" y="61"/>
                  </a:lnTo>
                  <a:lnTo>
                    <a:pt x="30" y="50"/>
                  </a:lnTo>
                  <a:lnTo>
                    <a:pt x="24" y="39"/>
                  </a:lnTo>
                  <a:lnTo>
                    <a:pt x="22" y="30"/>
                  </a:lnTo>
                  <a:lnTo>
                    <a:pt x="18" y="23"/>
                  </a:lnTo>
                  <a:lnTo>
                    <a:pt x="11" y="16"/>
                  </a:lnTo>
                  <a:lnTo>
                    <a:pt x="4" y="10"/>
                  </a:lnTo>
                  <a:lnTo>
                    <a:pt x="0" y="11"/>
                  </a:lnTo>
                  <a:lnTo>
                    <a:pt x="3" y="5"/>
                  </a:lnTo>
                  <a:lnTo>
                    <a:pt x="7" y="3"/>
                  </a:lnTo>
                  <a:lnTo>
                    <a:pt x="11" y="4"/>
                  </a:lnTo>
                  <a:lnTo>
                    <a:pt x="15" y="3"/>
                  </a:lnTo>
                  <a:lnTo>
                    <a:pt x="24" y="0"/>
                  </a:lnTo>
                  <a:lnTo>
                    <a:pt x="32" y="3"/>
                  </a:lnTo>
                  <a:lnTo>
                    <a:pt x="36" y="5"/>
                  </a:lnTo>
                  <a:lnTo>
                    <a:pt x="46" y="13"/>
                  </a:lnTo>
                  <a:lnTo>
                    <a:pt x="50" y="15"/>
                  </a:lnTo>
                  <a:lnTo>
                    <a:pt x="59" y="13"/>
                  </a:lnTo>
                  <a:lnTo>
                    <a:pt x="63" y="14"/>
                  </a:lnTo>
                  <a:lnTo>
                    <a:pt x="69" y="20"/>
                  </a:lnTo>
                  <a:lnTo>
                    <a:pt x="73" y="19"/>
                  </a:lnTo>
                  <a:lnTo>
                    <a:pt x="75" y="23"/>
                  </a:lnTo>
                  <a:lnTo>
                    <a:pt x="75" y="27"/>
                  </a:lnTo>
                  <a:lnTo>
                    <a:pt x="75" y="31"/>
                  </a:lnTo>
                  <a:lnTo>
                    <a:pt x="74" y="40"/>
                  </a:lnTo>
                  <a:lnTo>
                    <a:pt x="77" y="43"/>
                  </a:lnTo>
                  <a:lnTo>
                    <a:pt x="79" y="46"/>
                  </a:lnTo>
                  <a:lnTo>
                    <a:pt x="83" y="47"/>
                  </a:lnTo>
                  <a:lnTo>
                    <a:pt x="84" y="51"/>
                  </a:lnTo>
                  <a:lnTo>
                    <a:pt x="83" y="55"/>
                  </a:lnTo>
                  <a:lnTo>
                    <a:pt x="87" y="63"/>
                  </a:lnTo>
                  <a:lnTo>
                    <a:pt x="95" y="67"/>
                  </a:lnTo>
                  <a:lnTo>
                    <a:pt x="97" y="70"/>
                  </a:lnTo>
                  <a:lnTo>
                    <a:pt x="97" y="74"/>
                  </a:lnTo>
                  <a:lnTo>
                    <a:pt x="97" y="78"/>
                  </a:lnTo>
                  <a:lnTo>
                    <a:pt x="98" y="83"/>
                  </a:lnTo>
                  <a:lnTo>
                    <a:pt x="97" y="87"/>
                  </a:lnTo>
                  <a:lnTo>
                    <a:pt x="93" y="89"/>
                  </a:lnTo>
                  <a:lnTo>
                    <a:pt x="81" y="86"/>
                  </a:lnTo>
                  <a:lnTo>
                    <a:pt x="77" y="88"/>
                  </a:lnTo>
                  <a:lnTo>
                    <a:pt x="75" y="84"/>
                  </a:lnTo>
                  <a:lnTo>
                    <a:pt x="71" y="86"/>
                  </a:lnTo>
                  <a:lnTo>
                    <a:pt x="69" y="90"/>
                  </a:lnTo>
                  <a:lnTo>
                    <a:pt x="68" y="103"/>
                  </a:lnTo>
                  <a:lnTo>
                    <a:pt x="64" y="105"/>
                  </a:lnTo>
                  <a:lnTo>
                    <a:pt x="61" y="108"/>
                  </a:lnTo>
                  <a:lnTo>
                    <a:pt x="60" y="112"/>
                  </a:lnTo>
                  <a:lnTo>
                    <a:pt x="56" y="114"/>
                  </a:lnTo>
                  <a:lnTo>
                    <a:pt x="55" y="118"/>
                  </a:lnTo>
                  <a:lnTo>
                    <a:pt x="54" y="122"/>
                  </a:lnTo>
                  <a:lnTo>
                    <a:pt x="51" y="125"/>
                  </a:lnTo>
                  <a:lnTo>
                    <a:pt x="46" y="125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60" name="Group 201"/>
          <p:cNvGrpSpPr>
            <a:grpSpLocks/>
          </p:cNvGrpSpPr>
          <p:nvPr/>
        </p:nvGrpSpPr>
        <p:grpSpPr bwMode="auto">
          <a:xfrm>
            <a:off x="5241925" y="4829175"/>
            <a:ext cx="138113" cy="115888"/>
            <a:chOff x="2544" y="3042"/>
            <a:chExt cx="87" cy="73"/>
          </a:xfrm>
        </p:grpSpPr>
        <p:sp>
          <p:nvSpPr>
            <p:cNvPr id="34344" name="Freeform 199"/>
            <p:cNvSpPr>
              <a:spLocks/>
            </p:cNvSpPr>
            <p:nvPr/>
          </p:nvSpPr>
          <p:spPr bwMode="auto">
            <a:xfrm>
              <a:off x="2544" y="3042"/>
              <a:ext cx="87" cy="73"/>
            </a:xfrm>
            <a:custGeom>
              <a:avLst/>
              <a:gdLst>
                <a:gd name="T0" fmla="*/ 57 w 87"/>
                <a:gd name="T1" fmla="*/ 4 h 73"/>
                <a:gd name="T2" fmla="*/ 52 w 87"/>
                <a:gd name="T3" fmla="*/ 3 h 73"/>
                <a:gd name="T4" fmla="*/ 40 w 87"/>
                <a:gd name="T5" fmla="*/ 5 h 73"/>
                <a:gd name="T6" fmla="*/ 31 w 87"/>
                <a:gd name="T7" fmla="*/ 0 h 73"/>
                <a:gd name="T8" fmla="*/ 20 w 87"/>
                <a:gd name="T9" fmla="*/ 4 h 73"/>
                <a:gd name="T10" fmla="*/ 13 w 87"/>
                <a:gd name="T11" fmla="*/ 5 h 73"/>
                <a:gd name="T12" fmla="*/ 8 w 87"/>
                <a:gd name="T13" fmla="*/ 9 h 73"/>
                <a:gd name="T14" fmla="*/ 10 w 87"/>
                <a:gd name="T15" fmla="*/ 12 h 73"/>
                <a:gd name="T16" fmla="*/ 14 w 87"/>
                <a:gd name="T17" fmla="*/ 16 h 73"/>
                <a:gd name="T18" fmla="*/ 14 w 87"/>
                <a:gd name="T19" fmla="*/ 22 h 73"/>
                <a:gd name="T20" fmla="*/ 8 w 87"/>
                <a:gd name="T21" fmla="*/ 27 h 73"/>
                <a:gd name="T22" fmla="*/ 7 w 87"/>
                <a:gd name="T23" fmla="*/ 34 h 73"/>
                <a:gd name="T24" fmla="*/ 5 w 87"/>
                <a:gd name="T25" fmla="*/ 42 h 73"/>
                <a:gd name="T26" fmla="*/ 0 w 87"/>
                <a:gd name="T27" fmla="*/ 50 h 73"/>
                <a:gd name="T28" fmla="*/ 1 w 87"/>
                <a:gd name="T29" fmla="*/ 52 h 73"/>
                <a:gd name="T30" fmla="*/ 5 w 87"/>
                <a:gd name="T31" fmla="*/ 54 h 73"/>
                <a:gd name="T32" fmla="*/ 22 w 87"/>
                <a:gd name="T33" fmla="*/ 52 h 73"/>
                <a:gd name="T34" fmla="*/ 18 w 87"/>
                <a:gd name="T35" fmla="*/ 56 h 73"/>
                <a:gd name="T36" fmla="*/ 11 w 87"/>
                <a:gd name="T37" fmla="*/ 59 h 73"/>
                <a:gd name="T38" fmla="*/ 5 w 87"/>
                <a:gd name="T39" fmla="*/ 62 h 73"/>
                <a:gd name="T40" fmla="*/ 4 w 87"/>
                <a:gd name="T41" fmla="*/ 66 h 73"/>
                <a:gd name="T42" fmla="*/ 4 w 87"/>
                <a:gd name="T43" fmla="*/ 73 h 73"/>
                <a:gd name="T44" fmla="*/ 8 w 87"/>
                <a:gd name="T45" fmla="*/ 72 h 73"/>
                <a:gd name="T46" fmla="*/ 12 w 87"/>
                <a:gd name="T47" fmla="*/ 66 h 73"/>
                <a:gd name="T48" fmla="*/ 17 w 87"/>
                <a:gd name="T49" fmla="*/ 62 h 73"/>
                <a:gd name="T50" fmla="*/ 30 w 87"/>
                <a:gd name="T51" fmla="*/ 53 h 73"/>
                <a:gd name="T52" fmla="*/ 40 w 87"/>
                <a:gd name="T53" fmla="*/ 45 h 73"/>
                <a:gd name="T54" fmla="*/ 44 w 87"/>
                <a:gd name="T55" fmla="*/ 39 h 73"/>
                <a:gd name="T56" fmla="*/ 51 w 87"/>
                <a:gd name="T57" fmla="*/ 39 h 73"/>
                <a:gd name="T58" fmla="*/ 57 w 87"/>
                <a:gd name="T59" fmla="*/ 38 h 73"/>
                <a:gd name="T60" fmla="*/ 65 w 87"/>
                <a:gd name="T61" fmla="*/ 38 h 73"/>
                <a:gd name="T62" fmla="*/ 72 w 87"/>
                <a:gd name="T63" fmla="*/ 38 h 73"/>
                <a:gd name="T64" fmla="*/ 76 w 87"/>
                <a:gd name="T65" fmla="*/ 40 h 73"/>
                <a:gd name="T66" fmla="*/ 84 w 87"/>
                <a:gd name="T67" fmla="*/ 38 h 73"/>
                <a:gd name="T68" fmla="*/ 87 w 87"/>
                <a:gd name="T69" fmla="*/ 34 h 73"/>
                <a:gd name="T70" fmla="*/ 87 w 87"/>
                <a:gd name="T71" fmla="*/ 29 h 73"/>
                <a:gd name="T72" fmla="*/ 82 w 87"/>
                <a:gd name="T73" fmla="*/ 29 h 73"/>
                <a:gd name="T74" fmla="*/ 73 w 87"/>
                <a:gd name="T75" fmla="*/ 25 h 73"/>
                <a:gd name="T76" fmla="*/ 66 w 87"/>
                <a:gd name="T77" fmla="*/ 22 h 73"/>
                <a:gd name="T78" fmla="*/ 61 w 87"/>
                <a:gd name="T79" fmla="*/ 19 h 73"/>
                <a:gd name="T80" fmla="*/ 58 w 87"/>
                <a:gd name="T81" fmla="*/ 14 h 73"/>
                <a:gd name="T82" fmla="*/ 56 w 87"/>
                <a:gd name="T83" fmla="*/ 8 h 73"/>
                <a:gd name="T84" fmla="*/ 57 w 87"/>
                <a:gd name="T85" fmla="*/ 4 h 7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7"/>
                <a:gd name="T130" fmla="*/ 0 h 73"/>
                <a:gd name="T131" fmla="*/ 87 w 87"/>
                <a:gd name="T132" fmla="*/ 73 h 7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7" h="73">
                  <a:moveTo>
                    <a:pt x="57" y="4"/>
                  </a:moveTo>
                  <a:lnTo>
                    <a:pt x="52" y="3"/>
                  </a:lnTo>
                  <a:lnTo>
                    <a:pt x="40" y="5"/>
                  </a:lnTo>
                  <a:lnTo>
                    <a:pt x="31" y="0"/>
                  </a:lnTo>
                  <a:lnTo>
                    <a:pt x="20" y="4"/>
                  </a:lnTo>
                  <a:lnTo>
                    <a:pt x="13" y="5"/>
                  </a:lnTo>
                  <a:lnTo>
                    <a:pt x="8" y="9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22"/>
                  </a:lnTo>
                  <a:lnTo>
                    <a:pt x="8" y="27"/>
                  </a:lnTo>
                  <a:lnTo>
                    <a:pt x="7" y="34"/>
                  </a:lnTo>
                  <a:lnTo>
                    <a:pt x="5" y="42"/>
                  </a:lnTo>
                  <a:lnTo>
                    <a:pt x="0" y="50"/>
                  </a:lnTo>
                  <a:lnTo>
                    <a:pt x="1" y="52"/>
                  </a:lnTo>
                  <a:lnTo>
                    <a:pt x="5" y="54"/>
                  </a:lnTo>
                  <a:lnTo>
                    <a:pt x="22" y="52"/>
                  </a:lnTo>
                  <a:lnTo>
                    <a:pt x="18" y="56"/>
                  </a:lnTo>
                  <a:lnTo>
                    <a:pt x="11" y="59"/>
                  </a:lnTo>
                  <a:lnTo>
                    <a:pt x="5" y="62"/>
                  </a:lnTo>
                  <a:lnTo>
                    <a:pt x="4" y="66"/>
                  </a:lnTo>
                  <a:lnTo>
                    <a:pt x="4" y="73"/>
                  </a:lnTo>
                  <a:lnTo>
                    <a:pt x="8" y="72"/>
                  </a:lnTo>
                  <a:lnTo>
                    <a:pt x="12" y="66"/>
                  </a:lnTo>
                  <a:lnTo>
                    <a:pt x="17" y="62"/>
                  </a:lnTo>
                  <a:lnTo>
                    <a:pt x="30" y="53"/>
                  </a:lnTo>
                  <a:lnTo>
                    <a:pt x="40" y="45"/>
                  </a:lnTo>
                  <a:lnTo>
                    <a:pt x="44" y="39"/>
                  </a:lnTo>
                  <a:lnTo>
                    <a:pt x="51" y="39"/>
                  </a:lnTo>
                  <a:lnTo>
                    <a:pt x="57" y="38"/>
                  </a:lnTo>
                  <a:lnTo>
                    <a:pt x="65" y="38"/>
                  </a:lnTo>
                  <a:lnTo>
                    <a:pt x="72" y="38"/>
                  </a:lnTo>
                  <a:lnTo>
                    <a:pt x="76" y="40"/>
                  </a:lnTo>
                  <a:lnTo>
                    <a:pt x="84" y="38"/>
                  </a:lnTo>
                  <a:lnTo>
                    <a:pt x="87" y="34"/>
                  </a:lnTo>
                  <a:lnTo>
                    <a:pt x="87" y="29"/>
                  </a:lnTo>
                  <a:lnTo>
                    <a:pt x="82" y="29"/>
                  </a:lnTo>
                  <a:lnTo>
                    <a:pt x="73" y="25"/>
                  </a:lnTo>
                  <a:lnTo>
                    <a:pt x="66" y="22"/>
                  </a:lnTo>
                  <a:lnTo>
                    <a:pt x="61" y="19"/>
                  </a:lnTo>
                  <a:lnTo>
                    <a:pt x="58" y="14"/>
                  </a:lnTo>
                  <a:lnTo>
                    <a:pt x="56" y="8"/>
                  </a:lnTo>
                  <a:lnTo>
                    <a:pt x="57" y="4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45" name="Freeform 200"/>
            <p:cNvSpPr>
              <a:spLocks/>
            </p:cNvSpPr>
            <p:nvPr/>
          </p:nvSpPr>
          <p:spPr bwMode="auto">
            <a:xfrm>
              <a:off x="2544" y="3042"/>
              <a:ext cx="87" cy="73"/>
            </a:xfrm>
            <a:custGeom>
              <a:avLst/>
              <a:gdLst>
                <a:gd name="T0" fmla="*/ 57 w 87"/>
                <a:gd name="T1" fmla="*/ 4 h 73"/>
                <a:gd name="T2" fmla="*/ 52 w 87"/>
                <a:gd name="T3" fmla="*/ 3 h 73"/>
                <a:gd name="T4" fmla="*/ 40 w 87"/>
                <a:gd name="T5" fmla="*/ 5 h 73"/>
                <a:gd name="T6" fmla="*/ 31 w 87"/>
                <a:gd name="T7" fmla="*/ 0 h 73"/>
                <a:gd name="T8" fmla="*/ 20 w 87"/>
                <a:gd name="T9" fmla="*/ 4 h 73"/>
                <a:gd name="T10" fmla="*/ 13 w 87"/>
                <a:gd name="T11" fmla="*/ 5 h 73"/>
                <a:gd name="T12" fmla="*/ 8 w 87"/>
                <a:gd name="T13" fmla="*/ 9 h 73"/>
                <a:gd name="T14" fmla="*/ 10 w 87"/>
                <a:gd name="T15" fmla="*/ 12 h 73"/>
                <a:gd name="T16" fmla="*/ 14 w 87"/>
                <a:gd name="T17" fmla="*/ 16 h 73"/>
                <a:gd name="T18" fmla="*/ 14 w 87"/>
                <a:gd name="T19" fmla="*/ 22 h 73"/>
                <a:gd name="T20" fmla="*/ 8 w 87"/>
                <a:gd name="T21" fmla="*/ 27 h 73"/>
                <a:gd name="T22" fmla="*/ 7 w 87"/>
                <a:gd name="T23" fmla="*/ 34 h 73"/>
                <a:gd name="T24" fmla="*/ 5 w 87"/>
                <a:gd name="T25" fmla="*/ 42 h 73"/>
                <a:gd name="T26" fmla="*/ 0 w 87"/>
                <a:gd name="T27" fmla="*/ 50 h 73"/>
                <a:gd name="T28" fmla="*/ 1 w 87"/>
                <a:gd name="T29" fmla="*/ 52 h 73"/>
                <a:gd name="T30" fmla="*/ 5 w 87"/>
                <a:gd name="T31" fmla="*/ 54 h 73"/>
                <a:gd name="T32" fmla="*/ 22 w 87"/>
                <a:gd name="T33" fmla="*/ 52 h 73"/>
                <a:gd name="T34" fmla="*/ 18 w 87"/>
                <a:gd name="T35" fmla="*/ 56 h 73"/>
                <a:gd name="T36" fmla="*/ 11 w 87"/>
                <a:gd name="T37" fmla="*/ 59 h 73"/>
                <a:gd name="T38" fmla="*/ 5 w 87"/>
                <a:gd name="T39" fmla="*/ 62 h 73"/>
                <a:gd name="T40" fmla="*/ 4 w 87"/>
                <a:gd name="T41" fmla="*/ 66 h 73"/>
                <a:gd name="T42" fmla="*/ 4 w 87"/>
                <a:gd name="T43" fmla="*/ 73 h 73"/>
                <a:gd name="T44" fmla="*/ 8 w 87"/>
                <a:gd name="T45" fmla="*/ 72 h 73"/>
                <a:gd name="T46" fmla="*/ 12 w 87"/>
                <a:gd name="T47" fmla="*/ 66 h 73"/>
                <a:gd name="T48" fmla="*/ 17 w 87"/>
                <a:gd name="T49" fmla="*/ 62 h 73"/>
                <a:gd name="T50" fmla="*/ 30 w 87"/>
                <a:gd name="T51" fmla="*/ 53 h 73"/>
                <a:gd name="T52" fmla="*/ 40 w 87"/>
                <a:gd name="T53" fmla="*/ 45 h 73"/>
                <a:gd name="T54" fmla="*/ 44 w 87"/>
                <a:gd name="T55" fmla="*/ 39 h 73"/>
                <a:gd name="T56" fmla="*/ 51 w 87"/>
                <a:gd name="T57" fmla="*/ 39 h 73"/>
                <a:gd name="T58" fmla="*/ 57 w 87"/>
                <a:gd name="T59" fmla="*/ 38 h 73"/>
                <a:gd name="T60" fmla="*/ 65 w 87"/>
                <a:gd name="T61" fmla="*/ 38 h 73"/>
                <a:gd name="T62" fmla="*/ 72 w 87"/>
                <a:gd name="T63" fmla="*/ 38 h 73"/>
                <a:gd name="T64" fmla="*/ 76 w 87"/>
                <a:gd name="T65" fmla="*/ 40 h 73"/>
                <a:gd name="T66" fmla="*/ 84 w 87"/>
                <a:gd name="T67" fmla="*/ 38 h 73"/>
                <a:gd name="T68" fmla="*/ 87 w 87"/>
                <a:gd name="T69" fmla="*/ 34 h 73"/>
                <a:gd name="T70" fmla="*/ 87 w 87"/>
                <a:gd name="T71" fmla="*/ 29 h 73"/>
                <a:gd name="T72" fmla="*/ 82 w 87"/>
                <a:gd name="T73" fmla="*/ 29 h 73"/>
                <a:gd name="T74" fmla="*/ 73 w 87"/>
                <a:gd name="T75" fmla="*/ 25 h 73"/>
                <a:gd name="T76" fmla="*/ 66 w 87"/>
                <a:gd name="T77" fmla="*/ 22 h 73"/>
                <a:gd name="T78" fmla="*/ 61 w 87"/>
                <a:gd name="T79" fmla="*/ 19 h 73"/>
                <a:gd name="T80" fmla="*/ 58 w 87"/>
                <a:gd name="T81" fmla="*/ 14 h 73"/>
                <a:gd name="T82" fmla="*/ 56 w 87"/>
                <a:gd name="T83" fmla="*/ 8 h 73"/>
                <a:gd name="T84" fmla="*/ 57 w 87"/>
                <a:gd name="T85" fmla="*/ 4 h 7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7"/>
                <a:gd name="T130" fmla="*/ 0 h 73"/>
                <a:gd name="T131" fmla="*/ 87 w 87"/>
                <a:gd name="T132" fmla="*/ 73 h 7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7" h="73">
                  <a:moveTo>
                    <a:pt x="57" y="4"/>
                  </a:moveTo>
                  <a:lnTo>
                    <a:pt x="52" y="3"/>
                  </a:lnTo>
                  <a:lnTo>
                    <a:pt x="40" y="5"/>
                  </a:lnTo>
                  <a:lnTo>
                    <a:pt x="31" y="0"/>
                  </a:lnTo>
                  <a:lnTo>
                    <a:pt x="20" y="4"/>
                  </a:lnTo>
                  <a:lnTo>
                    <a:pt x="13" y="5"/>
                  </a:lnTo>
                  <a:lnTo>
                    <a:pt x="8" y="9"/>
                  </a:lnTo>
                  <a:lnTo>
                    <a:pt x="10" y="12"/>
                  </a:lnTo>
                  <a:lnTo>
                    <a:pt x="14" y="16"/>
                  </a:lnTo>
                  <a:lnTo>
                    <a:pt x="14" y="22"/>
                  </a:lnTo>
                  <a:lnTo>
                    <a:pt x="8" y="27"/>
                  </a:lnTo>
                  <a:lnTo>
                    <a:pt x="7" y="34"/>
                  </a:lnTo>
                  <a:lnTo>
                    <a:pt x="5" y="42"/>
                  </a:lnTo>
                  <a:lnTo>
                    <a:pt x="0" y="50"/>
                  </a:lnTo>
                  <a:lnTo>
                    <a:pt x="1" y="52"/>
                  </a:lnTo>
                  <a:lnTo>
                    <a:pt x="5" y="54"/>
                  </a:lnTo>
                  <a:lnTo>
                    <a:pt x="22" y="52"/>
                  </a:lnTo>
                  <a:lnTo>
                    <a:pt x="18" y="56"/>
                  </a:lnTo>
                  <a:lnTo>
                    <a:pt x="11" y="59"/>
                  </a:lnTo>
                  <a:lnTo>
                    <a:pt x="5" y="62"/>
                  </a:lnTo>
                  <a:lnTo>
                    <a:pt x="4" y="66"/>
                  </a:lnTo>
                  <a:lnTo>
                    <a:pt x="4" y="73"/>
                  </a:lnTo>
                  <a:lnTo>
                    <a:pt x="8" y="72"/>
                  </a:lnTo>
                  <a:lnTo>
                    <a:pt x="12" y="66"/>
                  </a:lnTo>
                  <a:lnTo>
                    <a:pt x="17" y="62"/>
                  </a:lnTo>
                  <a:lnTo>
                    <a:pt x="30" y="53"/>
                  </a:lnTo>
                  <a:lnTo>
                    <a:pt x="40" y="45"/>
                  </a:lnTo>
                  <a:lnTo>
                    <a:pt x="44" y="39"/>
                  </a:lnTo>
                  <a:lnTo>
                    <a:pt x="51" y="39"/>
                  </a:lnTo>
                  <a:lnTo>
                    <a:pt x="57" y="38"/>
                  </a:lnTo>
                  <a:lnTo>
                    <a:pt x="65" y="38"/>
                  </a:lnTo>
                  <a:lnTo>
                    <a:pt x="72" y="38"/>
                  </a:lnTo>
                  <a:lnTo>
                    <a:pt x="76" y="40"/>
                  </a:lnTo>
                  <a:lnTo>
                    <a:pt x="84" y="38"/>
                  </a:lnTo>
                  <a:lnTo>
                    <a:pt x="87" y="34"/>
                  </a:lnTo>
                  <a:lnTo>
                    <a:pt x="87" y="29"/>
                  </a:lnTo>
                  <a:lnTo>
                    <a:pt x="82" y="29"/>
                  </a:lnTo>
                  <a:lnTo>
                    <a:pt x="73" y="25"/>
                  </a:lnTo>
                  <a:lnTo>
                    <a:pt x="66" y="22"/>
                  </a:lnTo>
                  <a:lnTo>
                    <a:pt x="61" y="19"/>
                  </a:lnTo>
                  <a:lnTo>
                    <a:pt x="58" y="14"/>
                  </a:lnTo>
                  <a:lnTo>
                    <a:pt x="56" y="8"/>
                  </a:lnTo>
                  <a:lnTo>
                    <a:pt x="57" y="4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61" name="Group 204"/>
          <p:cNvGrpSpPr>
            <a:grpSpLocks/>
          </p:cNvGrpSpPr>
          <p:nvPr/>
        </p:nvGrpSpPr>
        <p:grpSpPr bwMode="auto">
          <a:xfrm>
            <a:off x="4894263" y="4562475"/>
            <a:ext cx="201612" cy="276225"/>
            <a:chOff x="2325" y="2874"/>
            <a:chExt cx="127" cy="174"/>
          </a:xfrm>
        </p:grpSpPr>
        <p:sp>
          <p:nvSpPr>
            <p:cNvPr id="34342" name="Freeform 202"/>
            <p:cNvSpPr>
              <a:spLocks/>
            </p:cNvSpPr>
            <p:nvPr/>
          </p:nvSpPr>
          <p:spPr bwMode="auto">
            <a:xfrm>
              <a:off x="2325" y="2874"/>
              <a:ext cx="127" cy="174"/>
            </a:xfrm>
            <a:custGeom>
              <a:avLst/>
              <a:gdLst>
                <a:gd name="T0" fmla="*/ 12 w 127"/>
                <a:gd name="T1" fmla="*/ 18 h 174"/>
                <a:gd name="T2" fmla="*/ 13 w 127"/>
                <a:gd name="T3" fmla="*/ 22 h 174"/>
                <a:gd name="T4" fmla="*/ 13 w 127"/>
                <a:gd name="T5" fmla="*/ 26 h 174"/>
                <a:gd name="T6" fmla="*/ 17 w 127"/>
                <a:gd name="T7" fmla="*/ 26 h 174"/>
                <a:gd name="T8" fmla="*/ 15 w 127"/>
                <a:gd name="T9" fmla="*/ 28 h 174"/>
                <a:gd name="T10" fmla="*/ 15 w 127"/>
                <a:gd name="T11" fmla="*/ 31 h 174"/>
                <a:gd name="T12" fmla="*/ 17 w 127"/>
                <a:gd name="T13" fmla="*/ 33 h 174"/>
                <a:gd name="T14" fmla="*/ 22 w 127"/>
                <a:gd name="T15" fmla="*/ 35 h 174"/>
                <a:gd name="T16" fmla="*/ 27 w 127"/>
                <a:gd name="T17" fmla="*/ 37 h 174"/>
                <a:gd name="T18" fmla="*/ 23 w 127"/>
                <a:gd name="T19" fmla="*/ 39 h 174"/>
                <a:gd name="T20" fmla="*/ 20 w 127"/>
                <a:gd name="T21" fmla="*/ 41 h 174"/>
                <a:gd name="T22" fmla="*/ 20 w 127"/>
                <a:gd name="T23" fmla="*/ 48 h 174"/>
                <a:gd name="T24" fmla="*/ 27 w 127"/>
                <a:gd name="T25" fmla="*/ 53 h 174"/>
                <a:gd name="T26" fmla="*/ 24 w 127"/>
                <a:gd name="T27" fmla="*/ 61 h 174"/>
                <a:gd name="T28" fmla="*/ 20 w 127"/>
                <a:gd name="T29" fmla="*/ 68 h 174"/>
                <a:gd name="T30" fmla="*/ 20 w 127"/>
                <a:gd name="T31" fmla="*/ 76 h 174"/>
                <a:gd name="T32" fmla="*/ 25 w 127"/>
                <a:gd name="T33" fmla="*/ 76 h 174"/>
                <a:gd name="T34" fmla="*/ 29 w 127"/>
                <a:gd name="T35" fmla="*/ 82 h 174"/>
                <a:gd name="T36" fmla="*/ 31 w 127"/>
                <a:gd name="T37" fmla="*/ 84 h 174"/>
                <a:gd name="T38" fmla="*/ 35 w 127"/>
                <a:gd name="T39" fmla="*/ 87 h 174"/>
                <a:gd name="T40" fmla="*/ 25 w 127"/>
                <a:gd name="T41" fmla="*/ 88 h 174"/>
                <a:gd name="T42" fmla="*/ 24 w 127"/>
                <a:gd name="T43" fmla="*/ 90 h 174"/>
                <a:gd name="T44" fmla="*/ 32 w 127"/>
                <a:gd name="T45" fmla="*/ 98 h 174"/>
                <a:gd name="T46" fmla="*/ 29 w 127"/>
                <a:gd name="T47" fmla="*/ 104 h 174"/>
                <a:gd name="T48" fmla="*/ 25 w 127"/>
                <a:gd name="T49" fmla="*/ 106 h 174"/>
                <a:gd name="T50" fmla="*/ 20 w 127"/>
                <a:gd name="T51" fmla="*/ 107 h 174"/>
                <a:gd name="T52" fmla="*/ 16 w 127"/>
                <a:gd name="T53" fmla="*/ 106 h 174"/>
                <a:gd name="T54" fmla="*/ 17 w 127"/>
                <a:gd name="T55" fmla="*/ 110 h 174"/>
                <a:gd name="T56" fmla="*/ 19 w 127"/>
                <a:gd name="T57" fmla="*/ 117 h 174"/>
                <a:gd name="T58" fmla="*/ 16 w 127"/>
                <a:gd name="T59" fmla="*/ 117 h 174"/>
                <a:gd name="T60" fmla="*/ 12 w 127"/>
                <a:gd name="T61" fmla="*/ 114 h 174"/>
                <a:gd name="T62" fmla="*/ 6 w 127"/>
                <a:gd name="T63" fmla="*/ 121 h 174"/>
                <a:gd name="T64" fmla="*/ 2 w 127"/>
                <a:gd name="T65" fmla="*/ 127 h 174"/>
                <a:gd name="T66" fmla="*/ 0 w 127"/>
                <a:gd name="T67" fmla="*/ 133 h 174"/>
                <a:gd name="T68" fmla="*/ 3 w 127"/>
                <a:gd name="T69" fmla="*/ 139 h 174"/>
                <a:gd name="T70" fmla="*/ 0 w 127"/>
                <a:gd name="T71" fmla="*/ 149 h 174"/>
                <a:gd name="T72" fmla="*/ 19 w 127"/>
                <a:gd name="T73" fmla="*/ 165 h 174"/>
                <a:gd name="T74" fmla="*/ 28 w 127"/>
                <a:gd name="T75" fmla="*/ 166 h 174"/>
                <a:gd name="T76" fmla="*/ 33 w 127"/>
                <a:gd name="T77" fmla="*/ 149 h 174"/>
                <a:gd name="T78" fmla="*/ 48 w 127"/>
                <a:gd name="T79" fmla="*/ 149 h 174"/>
                <a:gd name="T80" fmla="*/ 63 w 127"/>
                <a:gd name="T81" fmla="*/ 165 h 174"/>
                <a:gd name="T82" fmla="*/ 68 w 127"/>
                <a:gd name="T83" fmla="*/ 165 h 174"/>
                <a:gd name="T84" fmla="*/ 79 w 127"/>
                <a:gd name="T85" fmla="*/ 158 h 174"/>
                <a:gd name="T86" fmla="*/ 83 w 127"/>
                <a:gd name="T87" fmla="*/ 159 h 174"/>
                <a:gd name="T88" fmla="*/ 98 w 127"/>
                <a:gd name="T89" fmla="*/ 156 h 174"/>
                <a:gd name="T90" fmla="*/ 114 w 127"/>
                <a:gd name="T91" fmla="*/ 158 h 174"/>
                <a:gd name="T92" fmla="*/ 127 w 127"/>
                <a:gd name="T93" fmla="*/ 126 h 174"/>
                <a:gd name="T94" fmla="*/ 113 w 127"/>
                <a:gd name="T95" fmla="*/ 99 h 174"/>
                <a:gd name="T96" fmla="*/ 118 w 127"/>
                <a:gd name="T97" fmla="*/ 82 h 174"/>
                <a:gd name="T98" fmla="*/ 116 w 127"/>
                <a:gd name="T99" fmla="*/ 62 h 174"/>
                <a:gd name="T100" fmla="*/ 87 w 127"/>
                <a:gd name="T101" fmla="*/ 55 h 174"/>
                <a:gd name="T102" fmla="*/ 81 w 127"/>
                <a:gd name="T103" fmla="*/ 40 h 174"/>
                <a:gd name="T104" fmla="*/ 68 w 127"/>
                <a:gd name="T105" fmla="*/ 22 h 174"/>
                <a:gd name="T106" fmla="*/ 52 w 127"/>
                <a:gd name="T107" fmla="*/ 6 h 174"/>
                <a:gd name="T108" fmla="*/ 41 w 127"/>
                <a:gd name="T109" fmla="*/ 2 h 174"/>
                <a:gd name="T110" fmla="*/ 19 w 127"/>
                <a:gd name="T111" fmla="*/ 8 h 17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27"/>
                <a:gd name="T169" fmla="*/ 0 h 174"/>
                <a:gd name="T170" fmla="*/ 127 w 127"/>
                <a:gd name="T171" fmla="*/ 174 h 17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27" h="174">
                  <a:moveTo>
                    <a:pt x="8" y="12"/>
                  </a:moveTo>
                  <a:lnTo>
                    <a:pt x="12" y="16"/>
                  </a:lnTo>
                  <a:lnTo>
                    <a:pt x="12" y="18"/>
                  </a:lnTo>
                  <a:lnTo>
                    <a:pt x="11" y="19"/>
                  </a:lnTo>
                  <a:lnTo>
                    <a:pt x="13" y="20"/>
                  </a:lnTo>
                  <a:lnTo>
                    <a:pt x="13" y="22"/>
                  </a:lnTo>
                  <a:lnTo>
                    <a:pt x="11" y="24"/>
                  </a:lnTo>
                  <a:lnTo>
                    <a:pt x="11" y="25"/>
                  </a:lnTo>
                  <a:lnTo>
                    <a:pt x="13" y="26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7" y="26"/>
                  </a:lnTo>
                  <a:lnTo>
                    <a:pt x="17" y="27"/>
                  </a:lnTo>
                  <a:lnTo>
                    <a:pt x="16" y="28"/>
                  </a:lnTo>
                  <a:lnTo>
                    <a:pt x="15" y="28"/>
                  </a:lnTo>
                  <a:lnTo>
                    <a:pt x="14" y="29"/>
                  </a:lnTo>
                  <a:lnTo>
                    <a:pt x="15" y="30"/>
                  </a:lnTo>
                  <a:lnTo>
                    <a:pt x="15" y="31"/>
                  </a:lnTo>
                  <a:lnTo>
                    <a:pt x="14" y="32"/>
                  </a:lnTo>
                  <a:lnTo>
                    <a:pt x="15" y="33"/>
                  </a:lnTo>
                  <a:lnTo>
                    <a:pt x="17" y="33"/>
                  </a:lnTo>
                  <a:lnTo>
                    <a:pt x="18" y="34"/>
                  </a:lnTo>
                  <a:lnTo>
                    <a:pt x="20" y="36"/>
                  </a:lnTo>
                  <a:lnTo>
                    <a:pt x="22" y="35"/>
                  </a:lnTo>
                  <a:lnTo>
                    <a:pt x="24" y="37"/>
                  </a:lnTo>
                  <a:lnTo>
                    <a:pt x="26" y="36"/>
                  </a:lnTo>
                  <a:lnTo>
                    <a:pt x="27" y="37"/>
                  </a:lnTo>
                  <a:lnTo>
                    <a:pt x="28" y="38"/>
                  </a:lnTo>
                  <a:lnTo>
                    <a:pt x="26" y="39"/>
                  </a:lnTo>
                  <a:lnTo>
                    <a:pt x="23" y="39"/>
                  </a:lnTo>
                  <a:lnTo>
                    <a:pt x="22" y="38"/>
                  </a:lnTo>
                  <a:lnTo>
                    <a:pt x="20" y="38"/>
                  </a:lnTo>
                  <a:lnTo>
                    <a:pt x="20" y="41"/>
                  </a:lnTo>
                  <a:lnTo>
                    <a:pt x="19" y="43"/>
                  </a:lnTo>
                  <a:lnTo>
                    <a:pt x="19" y="47"/>
                  </a:lnTo>
                  <a:lnTo>
                    <a:pt x="20" y="48"/>
                  </a:lnTo>
                  <a:lnTo>
                    <a:pt x="20" y="51"/>
                  </a:lnTo>
                  <a:lnTo>
                    <a:pt x="26" y="51"/>
                  </a:lnTo>
                  <a:lnTo>
                    <a:pt x="27" y="53"/>
                  </a:lnTo>
                  <a:lnTo>
                    <a:pt x="26" y="54"/>
                  </a:lnTo>
                  <a:lnTo>
                    <a:pt x="26" y="57"/>
                  </a:lnTo>
                  <a:lnTo>
                    <a:pt x="24" y="61"/>
                  </a:lnTo>
                  <a:lnTo>
                    <a:pt x="21" y="66"/>
                  </a:lnTo>
                  <a:lnTo>
                    <a:pt x="20" y="67"/>
                  </a:lnTo>
                  <a:lnTo>
                    <a:pt x="20" y="68"/>
                  </a:lnTo>
                  <a:lnTo>
                    <a:pt x="21" y="69"/>
                  </a:lnTo>
                  <a:lnTo>
                    <a:pt x="19" y="72"/>
                  </a:lnTo>
                  <a:lnTo>
                    <a:pt x="20" y="76"/>
                  </a:lnTo>
                  <a:lnTo>
                    <a:pt x="22" y="76"/>
                  </a:lnTo>
                  <a:lnTo>
                    <a:pt x="23" y="77"/>
                  </a:lnTo>
                  <a:lnTo>
                    <a:pt x="25" y="76"/>
                  </a:lnTo>
                  <a:lnTo>
                    <a:pt x="26" y="78"/>
                  </a:lnTo>
                  <a:lnTo>
                    <a:pt x="27" y="80"/>
                  </a:lnTo>
                  <a:lnTo>
                    <a:pt x="29" y="82"/>
                  </a:lnTo>
                  <a:lnTo>
                    <a:pt x="30" y="82"/>
                  </a:lnTo>
                  <a:lnTo>
                    <a:pt x="31" y="82"/>
                  </a:lnTo>
                  <a:lnTo>
                    <a:pt x="31" y="84"/>
                  </a:lnTo>
                  <a:lnTo>
                    <a:pt x="33" y="85"/>
                  </a:lnTo>
                  <a:lnTo>
                    <a:pt x="34" y="85"/>
                  </a:lnTo>
                  <a:lnTo>
                    <a:pt x="35" y="87"/>
                  </a:lnTo>
                  <a:lnTo>
                    <a:pt x="32" y="89"/>
                  </a:lnTo>
                  <a:lnTo>
                    <a:pt x="28" y="89"/>
                  </a:lnTo>
                  <a:lnTo>
                    <a:pt x="25" y="88"/>
                  </a:lnTo>
                  <a:lnTo>
                    <a:pt x="24" y="88"/>
                  </a:lnTo>
                  <a:lnTo>
                    <a:pt x="23" y="89"/>
                  </a:lnTo>
                  <a:lnTo>
                    <a:pt x="24" y="90"/>
                  </a:lnTo>
                  <a:lnTo>
                    <a:pt x="27" y="93"/>
                  </a:lnTo>
                  <a:lnTo>
                    <a:pt x="31" y="98"/>
                  </a:lnTo>
                  <a:lnTo>
                    <a:pt x="32" y="98"/>
                  </a:lnTo>
                  <a:lnTo>
                    <a:pt x="31" y="102"/>
                  </a:lnTo>
                  <a:lnTo>
                    <a:pt x="31" y="104"/>
                  </a:lnTo>
                  <a:lnTo>
                    <a:pt x="29" y="104"/>
                  </a:lnTo>
                  <a:lnTo>
                    <a:pt x="28" y="103"/>
                  </a:lnTo>
                  <a:lnTo>
                    <a:pt x="27" y="103"/>
                  </a:lnTo>
                  <a:lnTo>
                    <a:pt x="25" y="106"/>
                  </a:lnTo>
                  <a:lnTo>
                    <a:pt x="23" y="107"/>
                  </a:lnTo>
                  <a:lnTo>
                    <a:pt x="21" y="107"/>
                  </a:lnTo>
                  <a:lnTo>
                    <a:pt x="20" y="107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6" y="106"/>
                  </a:lnTo>
                  <a:lnTo>
                    <a:pt x="15" y="108"/>
                  </a:lnTo>
                  <a:lnTo>
                    <a:pt x="15" y="109"/>
                  </a:lnTo>
                  <a:lnTo>
                    <a:pt x="17" y="110"/>
                  </a:lnTo>
                  <a:lnTo>
                    <a:pt x="17" y="113"/>
                  </a:lnTo>
                  <a:lnTo>
                    <a:pt x="19" y="114"/>
                  </a:lnTo>
                  <a:lnTo>
                    <a:pt x="19" y="117"/>
                  </a:lnTo>
                  <a:lnTo>
                    <a:pt x="18" y="118"/>
                  </a:lnTo>
                  <a:lnTo>
                    <a:pt x="17" y="118"/>
                  </a:lnTo>
                  <a:lnTo>
                    <a:pt x="16" y="117"/>
                  </a:lnTo>
                  <a:lnTo>
                    <a:pt x="15" y="115"/>
                  </a:lnTo>
                  <a:lnTo>
                    <a:pt x="14" y="114"/>
                  </a:lnTo>
                  <a:lnTo>
                    <a:pt x="12" y="114"/>
                  </a:lnTo>
                  <a:lnTo>
                    <a:pt x="7" y="118"/>
                  </a:lnTo>
                  <a:lnTo>
                    <a:pt x="7" y="120"/>
                  </a:lnTo>
                  <a:lnTo>
                    <a:pt x="6" y="121"/>
                  </a:lnTo>
                  <a:lnTo>
                    <a:pt x="6" y="125"/>
                  </a:lnTo>
                  <a:lnTo>
                    <a:pt x="5" y="127"/>
                  </a:lnTo>
                  <a:lnTo>
                    <a:pt x="2" y="127"/>
                  </a:lnTo>
                  <a:lnTo>
                    <a:pt x="1" y="128"/>
                  </a:lnTo>
                  <a:lnTo>
                    <a:pt x="1" y="133"/>
                  </a:lnTo>
                  <a:lnTo>
                    <a:pt x="0" y="133"/>
                  </a:lnTo>
                  <a:lnTo>
                    <a:pt x="0" y="135"/>
                  </a:lnTo>
                  <a:lnTo>
                    <a:pt x="2" y="138"/>
                  </a:lnTo>
                  <a:lnTo>
                    <a:pt x="3" y="139"/>
                  </a:lnTo>
                  <a:lnTo>
                    <a:pt x="3" y="141"/>
                  </a:lnTo>
                  <a:lnTo>
                    <a:pt x="0" y="146"/>
                  </a:lnTo>
                  <a:lnTo>
                    <a:pt x="0" y="149"/>
                  </a:lnTo>
                  <a:lnTo>
                    <a:pt x="9" y="156"/>
                  </a:lnTo>
                  <a:lnTo>
                    <a:pt x="15" y="162"/>
                  </a:lnTo>
                  <a:lnTo>
                    <a:pt x="19" y="165"/>
                  </a:lnTo>
                  <a:lnTo>
                    <a:pt x="22" y="172"/>
                  </a:lnTo>
                  <a:lnTo>
                    <a:pt x="25" y="174"/>
                  </a:lnTo>
                  <a:lnTo>
                    <a:pt x="28" y="166"/>
                  </a:lnTo>
                  <a:lnTo>
                    <a:pt x="27" y="160"/>
                  </a:lnTo>
                  <a:lnTo>
                    <a:pt x="29" y="152"/>
                  </a:lnTo>
                  <a:lnTo>
                    <a:pt x="33" y="149"/>
                  </a:lnTo>
                  <a:lnTo>
                    <a:pt x="37" y="144"/>
                  </a:lnTo>
                  <a:lnTo>
                    <a:pt x="41" y="148"/>
                  </a:lnTo>
                  <a:lnTo>
                    <a:pt x="48" y="149"/>
                  </a:lnTo>
                  <a:lnTo>
                    <a:pt x="51" y="155"/>
                  </a:lnTo>
                  <a:lnTo>
                    <a:pt x="57" y="157"/>
                  </a:lnTo>
                  <a:lnTo>
                    <a:pt x="63" y="165"/>
                  </a:lnTo>
                  <a:lnTo>
                    <a:pt x="64" y="166"/>
                  </a:lnTo>
                  <a:lnTo>
                    <a:pt x="66" y="166"/>
                  </a:lnTo>
                  <a:lnTo>
                    <a:pt x="68" y="165"/>
                  </a:lnTo>
                  <a:lnTo>
                    <a:pt x="68" y="160"/>
                  </a:lnTo>
                  <a:lnTo>
                    <a:pt x="77" y="157"/>
                  </a:lnTo>
                  <a:lnTo>
                    <a:pt x="79" y="158"/>
                  </a:lnTo>
                  <a:lnTo>
                    <a:pt x="82" y="162"/>
                  </a:lnTo>
                  <a:lnTo>
                    <a:pt x="83" y="161"/>
                  </a:lnTo>
                  <a:lnTo>
                    <a:pt x="83" y="159"/>
                  </a:lnTo>
                  <a:lnTo>
                    <a:pt x="87" y="157"/>
                  </a:lnTo>
                  <a:lnTo>
                    <a:pt x="96" y="158"/>
                  </a:lnTo>
                  <a:lnTo>
                    <a:pt x="98" y="156"/>
                  </a:lnTo>
                  <a:lnTo>
                    <a:pt x="105" y="158"/>
                  </a:lnTo>
                  <a:lnTo>
                    <a:pt x="111" y="157"/>
                  </a:lnTo>
                  <a:lnTo>
                    <a:pt x="114" y="158"/>
                  </a:lnTo>
                  <a:lnTo>
                    <a:pt x="114" y="146"/>
                  </a:lnTo>
                  <a:lnTo>
                    <a:pt x="121" y="132"/>
                  </a:lnTo>
                  <a:lnTo>
                    <a:pt x="127" y="126"/>
                  </a:lnTo>
                  <a:lnTo>
                    <a:pt x="119" y="118"/>
                  </a:lnTo>
                  <a:lnTo>
                    <a:pt x="114" y="110"/>
                  </a:lnTo>
                  <a:lnTo>
                    <a:pt x="113" y="99"/>
                  </a:lnTo>
                  <a:lnTo>
                    <a:pt x="114" y="88"/>
                  </a:lnTo>
                  <a:lnTo>
                    <a:pt x="123" y="84"/>
                  </a:lnTo>
                  <a:lnTo>
                    <a:pt x="118" y="82"/>
                  </a:lnTo>
                  <a:lnTo>
                    <a:pt x="114" y="74"/>
                  </a:lnTo>
                  <a:lnTo>
                    <a:pt x="120" y="68"/>
                  </a:lnTo>
                  <a:lnTo>
                    <a:pt x="116" y="62"/>
                  </a:lnTo>
                  <a:lnTo>
                    <a:pt x="110" y="67"/>
                  </a:lnTo>
                  <a:lnTo>
                    <a:pt x="95" y="62"/>
                  </a:lnTo>
                  <a:lnTo>
                    <a:pt x="87" y="55"/>
                  </a:lnTo>
                  <a:lnTo>
                    <a:pt x="86" y="47"/>
                  </a:lnTo>
                  <a:lnTo>
                    <a:pt x="85" y="43"/>
                  </a:lnTo>
                  <a:lnTo>
                    <a:pt x="81" y="40"/>
                  </a:lnTo>
                  <a:lnTo>
                    <a:pt x="75" y="38"/>
                  </a:lnTo>
                  <a:lnTo>
                    <a:pt x="70" y="31"/>
                  </a:lnTo>
                  <a:lnTo>
                    <a:pt x="68" y="22"/>
                  </a:lnTo>
                  <a:lnTo>
                    <a:pt x="65" y="16"/>
                  </a:lnTo>
                  <a:lnTo>
                    <a:pt x="60" y="9"/>
                  </a:lnTo>
                  <a:lnTo>
                    <a:pt x="52" y="6"/>
                  </a:lnTo>
                  <a:lnTo>
                    <a:pt x="49" y="4"/>
                  </a:lnTo>
                  <a:lnTo>
                    <a:pt x="47" y="0"/>
                  </a:lnTo>
                  <a:lnTo>
                    <a:pt x="41" y="2"/>
                  </a:lnTo>
                  <a:lnTo>
                    <a:pt x="35" y="3"/>
                  </a:lnTo>
                  <a:lnTo>
                    <a:pt x="26" y="8"/>
                  </a:lnTo>
                  <a:lnTo>
                    <a:pt x="19" y="8"/>
                  </a:lnTo>
                  <a:lnTo>
                    <a:pt x="15" y="11"/>
                  </a:lnTo>
                  <a:lnTo>
                    <a:pt x="8" y="12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43" name="Freeform 203"/>
            <p:cNvSpPr>
              <a:spLocks/>
            </p:cNvSpPr>
            <p:nvPr/>
          </p:nvSpPr>
          <p:spPr bwMode="auto">
            <a:xfrm>
              <a:off x="2325" y="2874"/>
              <a:ext cx="127" cy="174"/>
            </a:xfrm>
            <a:custGeom>
              <a:avLst/>
              <a:gdLst>
                <a:gd name="T0" fmla="*/ 12 w 127"/>
                <a:gd name="T1" fmla="*/ 18 h 174"/>
                <a:gd name="T2" fmla="*/ 13 w 127"/>
                <a:gd name="T3" fmla="*/ 22 h 174"/>
                <a:gd name="T4" fmla="*/ 13 w 127"/>
                <a:gd name="T5" fmla="*/ 26 h 174"/>
                <a:gd name="T6" fmla="*/ 17 w 127"/>
                <a:gd name="T7" fmla="*/ 26 h 174"/>
                <a:gd name="T8" fmla="*/ 15 w 127"/>
                <a:gd name="T9" fmla="*/ 28 h 174"/>
                <a:gd name="T10" fmla="*/ 15 w 127"/>
                <a:gd name="T11" fmla="*/ 31 h 174"/>
                <a:gd name="T12" fmla="*/ 17 w 127"/>
                <a:gd name="T13" fmla="*/ 33 h 174"/>
                <a:gd name="T14" fmla="*/ 22 w 127"/>
                <a:gd name="T15" fmla="*/ 35 h 174"/>
                <a:gd name="T16" fmla="*/ 27 w 127"/>
                <a:gd name="T17" fmla="*/ 37 h 174"/>
                <a:gd name="T18" fmla="*/ 23 w 127"/>
                <a:gd name="T19" fmla="*/ 39 h 174"/>
                <a:gd name="T20" fmla="*/ 20 w 127"/>
                <a:gd name="T21" fmla="*/ 41 h 174"/>
                <a:gd name="T22" fmla="*/ 20 w 127"/>
                <a:gd name="T23" fmla="*/ 48 h 174"/>
                <a:gd name="T24" fmla="*/ 27 w 127"/>
                <a:gd name="T25" fmla="*/ 53 h 174"/>
                <a:gd name="T26" fmla="*/ 24 w 127"/>
                <a:gd name="T27" fmla="*/ 61 h 174"/>
                <a:gd name="T28" fmla="*/ 20 w 127"/>
                <a:gd name="T29" fmla="*/ 68 h 174"/>
                <a:gd name="T30" fmla="*/ 20 w 127"/>
                <a:gd name="T31" fmla="*/ 76 h 174"/>
                <a:gd name="T32" fmla="*/ 25 w 127"/>
                <a:gd name="T33" fmla="*/ 76 h 174"/>
                <a:gd name="T34" fmla="*/ 29 w 127"/>
                <a:gd name="T35" fmla="*/ 82 h 174"/>
                <a:gd name="T36" fmla="*/ 31 w 127"/>
                <a:gd name="T37" fmla="*/ 84 h 174"/>
                <a:gd name="T38" fmla="*/ 35 w 127"/>
                <a:gd name="T39" fmla="*/ 87 h 174"/>
                <a:gd name="T40" fmla="*/ 25 w 127"/>
                <a:gd name="T41" fmla="*/ 88 h 174"/>
                <a:gd name="T42" fmla="*/ 24 w 127"/>
                <a:gd name="T43" fmla="*/ 90 h 174"/>
                <a:gd name="T44" fmla="*/ 32 w 127"/>
                <a:gd name="T45" fmla="*/ 98 h 174"/>
                <a:gd name="T46" fmla="*/ 29 w 127"/>
                <a:gd name="T47" fmla="*/ 104 h 174"/>
                <a:gd name="T48" fmla="*/ 25 w 127"/>
                <a:gd name="T49" fmla="*/ 106 h 174"/>
                <a:gd name="T50" fmla="*/ 20 w 127"/>
                <a:gd name="T51" fmla="*/ 107 h 174"/>
                <a:gd name="T52" fmla="*/ 16 w 127"/>
                <a:gd name="T53" fmla="*/ 106 h 174"/>
                <a:gd name="T54" fmla="*/ 17 w 127"/>
                <a:gd name="T55" fmla="*/ 110 h 174"/>
                <a:gd name="T56" fmla="*/ 19 w 127"/>
                <a:gd name="T57" fmla="*/ 117 h 174"/>
                <a:gd name="T58" fmla="*/ 16 w 127"/>
                <a:gd name="T59" fmla="*/ 117 h 174"/>
                <a:gd name="T60" fmla="*/ 12 w 127"/>
                <a:gd name="T61" fmla="*/ 114 h 174"/>
                <a:gd name="T62" fmla="*/ 6 w 127"/>
                <a:gd name="T63" fmla="*/ 121 h 174"/>
                <a:gd name="T64" fmla="*/ 2 w 127"/>
                <a:gd name="T65" fmla="*/ 127 h 174"/>
                <a:gd name="T66" fmla="*/ 0 w 127"/>
                <a:gd name="T67" fmla="*/ 133 h 174"/>
                <a:gd name="T68" fmla="*/ 3 w 127"/>
                <a:gd name="T69" fmla="*/ 139 h 174"/>
                <a:gd name="T70" fmla="*/ 0 w 127"/>
                <a:gd name="T71" fmla="*/ 149 h 174"/>
                <a:gd name="T72" fmla="*/ 19 w 127"/>
                <a:gd name="T73" fmla="*/ 165 h 174"/>
                <a:gd name="T74" fmla="*/ 28 w 127"/>
                <a:gd name="T75" fmla="*/ 166 h 174"/>
                <a:gd name="T76" fmla="*/ 33 w 127"/>
                <a:gd name="T77" fmla="*/ 149 h 174"/>
                <a:gd name="T78" fmla="*/ 48 w 127"/>
                <a:gd name="T79" fmla="*/ 149 h 174"/>
                <a:gd name="T80" fmla="*/ 63 w 127"/>
                <a:gd name="T81" fmla="*/ 165 h 174"/>
                <a:gd name="T82" fmla="*/ 68 w 127"/>
                <a:gd name="T83" fmla="*/ 165 h 174"/>
                <a:gd name="T84" fmla="*/ 79 w 127"/>
                <a:gd name="T85" fmla="*/ 158 h 174"/>
                <a:gd name="T86" fmla="*/ 83 w 127"/>
                <a:gd name="T87" fmla="*/ 159 h 174"/>
                <a:gd name="T88" fmla="*/ 98 w 127"/>
                <a:gd name="T89" fmla="*/ 156 h 174"/>
                <a:gd name="T90" fmla="*/ 114 w 127"/>
                <a:gd name="T91" fmla="*/ 158 h 174"/>
                <a:gd name="T92" fmla="*/ 127 w 127"/>
                <a:gd name="T93" fmla="*/ 126 h 174"/>
                <a:gd name="T94" fmla="*/ 113 w 127"/>
                <a:gd name="T95" fmla="*/ 99 h 174"/>
                <a:gd name="T96" fmla="*/ 118 w 127"/>
                <a:gd name="T97" fmla="*/ 82 h 174"/>
                <a:gd name="T98" fmla="*/ 116 w 127"/>
                <a:gd name="T99" fmla="*/ 62 h 174"/>
                <a:gd name="T100" fmla="*/ 87 w 127"/>
                <a:gd name="T101" fmla="*/ 55 h 174"/>
                <a:gd name="T102" fmla="*/ 81 w 127"/>
                <a:gd name="T103" fmla="*/ 40 h 174"/>
                <a:gd name="T104" fmla="*/ 68 w 127"/>
                <a:gd name="T105" fmla="*/ 22 h 174"/>
                <a:gd name="T106" fmla="*/ 52 w 127"/>
                <a:gd name="T107" fmla="*/ 6 h 174"/>
                <a:gd name="T108" fmla="*/ 41 w 127"/>
                <a:gd name="T109" fmla="*/ 2 h 174"/>
                <a:gd name="T110" fmla="*/ 19 w 127"/>
                <a:gd name="T111" fmla="*/ 8 h 17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27"/>
                <a:gd name="T169" fmla="*/ 0 h 174"/>
                <a:gd name="T170" fmla="*/ 127 w 127"/>
                <a:gd name="T171" fmla="*/ 174 h 17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27" h="174">
                  <a:moveTo>
                    <a:pt x="8" y="12"/>
                  </a:moveTo>
                  <a:lnTo>
                    <a:pt x="12" y="16"/>
                  </a:lnTo>
                  <a:lnTo>
                    <a:pt x="12" y="18"/>
                  </a:lnTo>
                  <a:lnTo>
                    <a:pt x="11" y="19"/>
                  </a:lnTo>
                  <a:lnTo>
                    <a:pt x="13" y="20"/>
                  </a:lnTo>
                  <a:lnTo>
                    <a:pt x="13" y="22"/>
                  </a:lnTo>
                  <a:lnTo>
                    <a:pt x="11" y="24"/>
                  </a:lnTo>
                  <a:lnTo>
                    <a:pt x="11" y="25"/>
                  </a:lnTo>
                  <a:lnTo>
                    <a:pt x="13" y="26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7" y="26"/>
                  </a:lnTo>
                  <a:lnTo>
                    <a:pt x="17" y="27"/>
                  </a:lnTo>
                  <a:lnTo>
                    <a:pt x="16" y="28"/>
                  </a:lnTo>
                  <a:lnTo>
                    <a:pt x="15" y="28"/>
                  </a:lnTo>
                  <a:lnTo>
                    <a:pt x="14" y="29"/>
                  </a:lnTo>
                  <a:lnTo>
                    <a:pt x="15" y="30"/>
                  </a:lnTo>
                  <a:lnTo>
                    <a:pt x="15" y="31"/>
                  </a:lnTo>
                  <a:lnTo>
                    <a:pt x="14" y="32"/>
                  </a:lnTo>
                  <a:lnTo>
                    <a:pt x="15" y="33"/>
                  </a:lnTo>
                  <a:lnTo>
                    <a:pt x="17" y="33"/>
                  </a:lnTo>
                  <a:lnTo>
                    <a:pt x="18" y="34"/>
                  </a:lnTo>
                  <a:lnTo>
                    <a:pt x="20" y="36"/>
                  </a:lnTo>
                  <a:lnTo>
                    <a:pt x="22" y="35"/>
                  </a:lnTo>
                  <a:lnTo>
                    <a:pt x="24" y="37"/>
                  </a:lnTo>
                  <a:lnTo>
                    <a:pt x="26" y="36"/>
                  </a:lnTo>
                  <a:lnTo>
                    <a:pt x="27" y="37"/>
                  </a:lnTo>
                  <a:lnTo>
                    <a:pt x="28" y="38"/>
                  </a:lnTo>
                  <a:lnTo>
                    <a:pt x="26" y="39"/>
                  </a:lnTo>
                  <a:lnTo>
                    <a:pt x="23" y="39"/>
                  </a:lnTo>
                  <a:lnTo>
                    <a:pt x="22" y="38"/>
                  </a:lnTo>
                  <a:lnTo>
                    <a:pt x="20" y="38"/>
                  </a:lnTo>
                  <a:lnTo>
                    <a:pt x="20" y="41"/>
                  </a:lnTo>
                  <a:lnTo>
                    <a:pt x="19" y="43"/>
                  </a:lnTo>
                  <a:lnTo>
                    <a:pt x="19" y="47"/>
                  </a:lnTo>
                  <a:lnTo>
                    <a:pt x="20" y="48"/>
                  </a:lnTo>
                  <a:lnTo>
                    <a:pt x="20" y="51"/>
                  </a:lnTo>
                  <a:lnTo>
                    <a:pt x="26" y="51"/>
                  </a:lnTo>
                  <a:lnTo>
                    <a:pt x="27" y="53"/>
                  </a:lnTo>
                  <a:lnTo>
                    <a:pt x="26" y="54"/>
                  </a:lnTo>
                  <a:lnTo>
                    <a:pt x="26" y="57"/>
                  </a:lnTo>
                  <a:lnTo>
                    <a:pt x="24" y="61"/>
                  </a:lnTo>
                  <a:lnTo>
                    <a:pt x="21" y="66"/>
                  </a:lnTo>
                  <a:lnTo>
                    <a:pt x="20" y="67"/>
                  </a:lnTo>
                  <a:lnTo>
                    <a:pt x="20" y="68"/>
                  </a:lnTo>
                  <a:lnTo>
                    <a:pt x="21" y="69"/>
                  </a:lnTo>
                  <a:lnTo>
                    <a:pt x="19" y="72"/>
                  </a:lnTo>
                  <a:lnTo>
                    <a:pt x="20" y="76"/>
                  </a:lnTo>
                  <a:lnTo>
                    <a:pt x="22" y="76"/>
                  </a:lnTo>
                  <a:lnTo>
                    <a:pt x="23" y="77"/>
                  </a:lnTo>
                  <a:lnTo>
                    <a:pt x="25" y="76"/>
                  </a:lnTo>
                  <a:lnTo>
                    <a:pt x="26" y="78"/>
                  </a:lnTo>
                  <a:lnTo>
                    <a:pt x="27" y="80"/>
                  </a:lnTo>
                  <a:lnTo>
                    <a:pt x="29" y="82"/>
                  </a:lnTo>
                  <a:lnTo>
                    <a:pt x="30" y="82"/>
                  </a:lnTo>
                  <a:lnTo>
                    <a:pt x="31" y="82"/>
                  </a:lnTo>
                  <a:lnTo>
                    <a:pt x="31" y="84"/>
                  </a:lnTo>
                  <a:lnTo>
                    <a:pt x="33" y="85"/>
                  </a:lnTo>
                  <a:lnTo>
                    <a:pt x="34" y="85"/>
                  </a:lnTo>
                  <a:lnTo>
                    <a:pt x="35" y="87"/>
                  </a:lnTo>
                  <a:lnTo>
                    <a:pt x="32" y="89"/>
                  </a:lnTo>
                  <a:lnTo>
                    <a:pt x="28" y="89"/>
                  </a:lnTo>
                  <a:lnTo>
                    <a:pt x="25" y="88"/>
                  </a:lnTo>
                  <a:lnTo>
                    <a:pt x="24" y="88"/>
                  </a:lnTo>
                  <a:lnTo>
                    <a:pt x="23" y="89"/>
                  </a:lnTo>
                  <a:lnTo>
                    <a:pt x="24" y="90"/>
                  </a:lnTo>
                  <a:lnTo>
                    <a:pt x="27" y="93"/>
                  </a:lnTo>
                  <a:lnTo>
                    <a:pt x="31" y="98"/>
                  </a:lnTo>
                  <a:lnTo>
                    <a:pt x="32" y="98"/>
                  </a:lnTo>
                  <a:lnTo>
                    <a:pt x="31" y="102"/>
                  </a:lnTo>
                  <a:lnTo>
                    <a:pt x="31" y="104"/>
                  </a:lnTo>
                  <a:lnTo>
                    <a:pt x="29" y="104"/>
                  </a:lnTo>
                  <a:lnTo>
                    <a:pt x="28" y="103"/>
                  </a:lnTo>
                  <a:lnTo>
                    <a:pt x="27" y="103"/>
                  </a:lnTo>
                  <a:lnTo>
                    <a:pt x="25" y="106"/>
                  </a:lnTo>
                  <a:lnTo>
                    <a:pt x="23" y="107"/>
                  </a:lnTo>
                  <a:lnTo>
                    <a:pt x="21" y="107"/>
                  </a:lnTo>
                  <a:lnTo>
                    <a:pt x="20" y="107"/>
                  </a:lnTo>
                  <a:lnTo>
                    <a:pt x="19" y="107"/>
                  </a:lnTo>
                  <a:lnTo>
                    <a:pt x="18" y="106"/>
                  </a:lnTo>
                  <a:lnTo>
                    <a:pt x="16" y="106"/>
                  </a:lnTo>
                  <a:lnTo>
                    <a:pt x="15" y="108"/>
                  </a:lnTo>
                  <a:lnTo>
                    <a:pt x="15" y="109"/>
                  </a:lnTo>
                  <a:lnTo>
                    <a:pt x="17" y="110"/>
                  </a:lnTo>
                  <a:lnTo>
                    <a:pt x="17" y="113"/>
                  </a:lnTo>
                  <a:lnTo>
                    <a:pt x="19" y="114"/>
                  </a:lnTo>
                  <a:lnTo>
                    <a:pt x="19" y="117"/>
                  </a:lnTo>
                  <a:lnTo>
                    <a:pt x="18" y="118"/>
                  </a:lnTo>
                  <a:lnTo>
                    <a:pt x="17" y="118"/>
                  </a:lnTo>
                  <a:lnTo>
                    <a:pt x="16" y="117"/>
                  </a:lnTo>
                  <a:lnTo>
                    <a:pt x="15" y="115"/>
                  </a:lnTo>
                  <a:lnTo>
                    <a:pt x="14" y="114"/>
                  </a:lnTo>
                  <a:lnTo>
                    <a:pt x="12" y="114"/>
                  </a:lnTo>
                  <a:lnTo>
                    <a:pt x="7" y="118"/>
                  </a:lnTo>
                  <a:lnTo>
                    <a:pt x="7" y="120"/>
                  </a:lnTo>
                  <a:lnTo>
                    <a:pt x="6" y="121"/>
                  </a:lnTo>
                  <a:lnTo>
                    <a:pt x="6" y="125"/>
                  </a:lnTo>
                  <a:lnTo>
                    <a:pt x="5" y="127"/>
                  </a:lnTo>
                  <a:lnTo>
                    <a:pt x="2" y="127"/>
                  </a:lnTo>
                  <a:lnTo>
                    <a:pt x="1" y="128"/>
                  </a:lnTo>
                  <a:lnTo>
                    <a:pt x="1" y="133"/>
                  </a:lnTo>
                  <a:lnTo>
                    <a:pt x="0" y="133"/>
                  </a:lnTo>
                  <a:lnTo>
                    <a:pt x="0" y="135"/>
                  </a:lnTo>
                  <a:lnTo>
                    <a:pt x="2" y="138"/>
                  </a:lnTo>
                  <a:lnTo>
                    <a:pt x="3" y="139"/>
                  </a:lnTo>
                  <a:lnTo>
                    <a:pt x="3" y="141"/>
                  </a:lnTo>
                  <a:lnTo>
                    <a:pt x="0" y="146"/>
                  </a:lnTo>
                  <a:lnTo>
                    <a:pt x="0" y="149"/>
                  </a:lnTo>
                  <a:lnTo>
                    <a:pt x="9" y="156"/>
                  </a:lnTo>
                  <a:lnTo>
                    <a:pt x="15" y="162"/>
                  </a:lnTo>
                  <a:lnTo>
                    <a:pt x="19" y="165"/>
                  </a:lnTo>
                  <a:lnTo>
                    <a:pt x="22" y="172"/>
                  </a:lnTo>
                  <a:lnTo>
                    <a:pt x="25" y="174"/>
                  </a:lnTo>
                  <a:lnTo>
                    <a:pt x="28" y="166"/>
                  </a:lnTo>
                  <a:lnTo>
                    <a:pt x="27" y="160"/>
                  </a:lnTo>
                  <a:lnTo>
                    <a:pt x="29" y="152"/>
                  </a:lnTo>
                  <a:lnTo>
                    <a:pt x="33" y="149"/>
                  </a:lnTo>
                  <a:lnTo>
                    <a:pt x="37" y="144"/>
                  </a:lnTo>
                  <a:lnTo>
                    <a:pt x="41" y="148"/>
                  </a:lnTo>
                  <a:lnTo>
                    <a:pt x="48" y="149"/>
                  </a:lnTo>
                  <a:lnTo>
                    <a:pt x="51" y="155"/>
                  </a:lnTo>
                  <a:lnTo>
                    <a:pt x="57" y="157"/>
                  </a:lnTo>
                  <a:lnTo>
                    <a:pt x="63" y="165"/>
                  </a:lnTo>
                  <a:lnTo>
                    <a:pt x="64" y="166"/>
                  </a:lnTo>
                  <a:lnTo>
                    <a:pt x="66" y="166"/>
                  </a:lnTo>
                  <a:lnTo>
                    <a:pt x="68" y="165"/>
                  </a:lnTo>
                  <a:lnTo>
                    <a:pt x="68" y="160"/>
                  </a:lnTo>
                  <a:lnTo>
                    <a:pt x="77" y="157"/>
                  </a:lnTo>
                  <a:lnTo>
                    <a:pt x="79" y="158"/>
                  </a:lnTo>
                  <a:lnTo>
                    <a:pt x="82" y="162"/>
                  </a:lnTo>
                  <a:lnTo>
                    <a:pt x="83" y="161"/>
                  </a:lnTo>
                  <a:lnTo>
                    <a:pt x="83" y="159"/>
                  </a:lnTo>
                  <a:lnTo>
                    <a:pt x="87" y="157"/>
                  </a:lnTo>
                  <a:lnTo>
                    <a:pt x="96" y="158"/>
                  </a:lnTo>
                  <a:lnTo>
                    <a:pt x="98" y="156"/>
                  </a:lnTo>
                  <a:lnTo>
                    <a:pt x="105" y="158"/>
                  </a:lnTo>
                  <a:lnTo>
                    <a:pt x="111" y="157"/>
                  </a:lnTo>
                  <a:lnTo>
                    <a:pt x="114" y="158"/>
                  </a:lnTo>
                  <a:lnTo>
                    <a:pt x="114" y="146"/>
                  </a:lnTo>
                  <a:lnTo>
                    <a:pt x="121" y="132"/>
                  </a:lnTo>
                  <a:lnTo>
                    <a:pt x="127" y="126"/>
                  </a:lnTo>
                  <a:lnTo>
                    <a:pt x="119" y="118"/>
                  </a:lnTo>
                  <a:lnTo>
                    <a:pt x="114" y="110"/>
                  </a:lnTo>
                  <a:lnTo>
                    <a:pt x="113" y="99"/>
                  </a:lnTo>
                  <a:lnTo>
                    <a:pt x="114" y="88"/>
                  </a:lnTo>
                  <a:lnTo>
                    <a:pt x="123" y="84"/>
                  </a:lnTo>
                  <a:lnTo>
                    <a:pt x="118" y="82"/>
                  </a:lnTo>
                  <a:lnTo>
                    <a:pt x="114" y="74"/>
                  </a:lnTo>
                  <a:lnTo>
                    <a:pt x="120" y="68"/>
                  </a:lnTo>
                  <a:lnTo>
                    <a:pt x="116" y="62"/>
                  </a:lnTo>
                  <a:lnTo>
                    <a:pt x="110" y="67"/>
                  </a:lnTo>
                  <a:lnTo>
                    <a:pt x="95" y="62"/>
                  </a:lnTo>
                  <a:lnTo>
                    <a:pt x="87" y="55"/>
                  </a:lnTo>
                  <a:lnTo>
                    <a:pt x="86" y="47"/>
                  </a:lnTo>
                  <a:lnTo>
                    <a:pt x="85" y="43"/>
                  </a:lnTo>
                  <a:lnTo>
                    <a:pt x="81" y="40"/>
                  </a:lnTo>
                  <a:lnTo>
                    <a:pt x="75" y="38"/>
                  </a:lnTo>
                  <a:lnTo>
                    <a:pt x="70" y="31"/>
                  </a:lnTo>
                  <a:lnTo>
                    <a:pt x="68" y="22"/>
                  </a:lnTo>
                  <a:lnTo>
                    <a:pt x="65" y="16"/>
                  </a:lnTo>
                  <a:lnTo>
                    <a:pt x="60" y="9"/>
                  </a:lnTo>
                  <a:lnTo>
                    <a:pt x="52" y="6"/>
                  </a:lnTo>
                  <a:lnTo>
                    <a:pt x="49" y="4"/>
                  </a:lnTo>
                  <a:lnTo>
                    <a:pt x="47" y="0"/>
                  </a:lnTo>
                  <a:lnTo>
                    <a:pt x="41" y="2"/>
                  </a:lnTo>
                  <a:lnTo>
                    <a:pt x="35" y="3"/>
                  </a:lnTo>
                  <a:lnTo>
                    <a:pt x="26" y="8"/>
                  </a:lnTo>
                  <a:lnTo>
                    <a:pt x="19" y="8"/>
                  </a:lnTo>
                  <a:lnTo>
                    <a:pt x="15" y="11"/>
                  </a:lnTo>
                  <a:lnTo>
                    <a:pt x="8" y="12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62" name="Group 207"/>
          <p:cNvGrpSpPr>
            <a:grpSpLocks/>
          </p:cNvGrpSpPr>
          <p:nvPr/>
        </p:nvGrpSpPr>
        <p:grpSpPr bwMode="auto">
          <a:xfrm>
            <a:off x="5106988" y="3838575"/>
            <a:ext cx="444500" cy="374650"/>
            <a:chOff x="2459" y="2418"/>
            <a:chExt cx="280" cy="236"/>
          </a:xfrm>
        </p:grpSpPr>
        <p:sp>
          <p:nvSpPr>
            <p:cNvPr id="34340" name="Freeform 205"/>
            <p:cNvSpPr>
              <a:spLocks/>
            </p:cNvSpPr>
            <p:nvPr/>
          </p:nvSpPr>
          <p:spPr bwMode="auto">
            <a:xfrm>
              <a:off x="2459" y="2418"/>
              <a:ext cx="280" cy="236"/>
            </a:xfrm>
            <a:custGeom>
              <a:avLst/>
              <a:gdLst>
                <a:gd name="T0" fmla="*/ 3 w 280"/>
                <a:gd name="T1" fmla="*/ 195 h 236"/>
                <a:gd name="T2" fmla="*/ 14 w 280"/>
                <a:gd name="T3" fmla="*/ 178 h 236"/>
                <a:gd name="T4" fmla="*/ 20 w 280"/>
                <a:gd name="T5" fmla="*/ 152 h 236"/>
                <a:gd name="T6" fmla="*/ 18 w 280"/>
                <a:gd name="T7" fmla="*/ 112 h 236"/>
                <a:gd name="T8" fmla="*/ 38 w 280"/>
                <a:gd name="T9" fmla="*/ 109 h 236"/>
                <a:gd name="T10" fmla="*/ 49 w 280"/>
                <a:gd name="T11" fmla="*/ 108 h 236"/>
                <a:gd name="T12" fmla="*/ 56 w 280"/>
                <a:gd name="T13" fmla="*/ 99 h 236"/>
                <a:gd name="T14" fmla="*/ 66 w 280"/>
                <a:gd name="T15" fmla="*/ 95 h 236"/>
                <a:gd name="T16" fmla="*/ 76 w 280"/>
                <a:gd name="T17" fmla="*/ 99 h 236"/>
                <a:gd name="T18" fmla="*/ 71 w 280"/>
                <a:gd name="T19" fmla="*/ 87 h 236"/>
                <a:gd name="T20" fmla="*/ 77 w 280"/>
                <a:gd name="T21" fmla="*/ 72 h 236"/>
                <a:gd name="T22" fmla="*/ 79 w 280"/>
                <a:gd name="T23" fmla="*/ 59 h 236"/>
                <a:gd name="T24" fmla="*/ 90 w 280"/>
                <a:gd name="T25" fmla="*/ 53 h 236"/>
                <a:gd name="T26" fmla="*/ 105 w 280"/>
                <a:gd name="T27" fmla="*/ 42 h 236"/>
                <a:gd name="T28" fmla="*/ 96 w 280"/>
                <a:gd name="T29" fmla="*/ 36 h 236"/>
                <a:gd name="T30" fmla="*/ 103 w 280"/>
                <a:gd name="T31" fmla="*/ 27 h 236"/>
                <a:gd name="T32" fmla="*/ 107 w 280"/>
                <a:gd name="T33" fmla="*/ 26 h 236"/>
                <a:gd name="T34" fmla="*/ 115 w 280"/>
                <a:gd name="T35" fmla="*/ 17 h 236"/>
                <a:gd name="T36" fmla="*/ 133 w 280"/>
                <a:gd name="T37" fmla="*/ 13 h 236"/>
                <a:gd name="T38" fmla="*/ 144 w 280"/>
                <a:gd name="T39" fmla="*/ 0 h 236"/>
                <a:gd name="T40" fmla="*/ 159 w 280"/>
                <a:gd name="T41" fmla="*/ 2 h 236"/>
                <a:gd name="T42" fmla="*/ 174 w 280"/>
                <a:gd name="T43" fmla="*/ 6 h 236"/>
                <a:gd name="T44" fmla="*/ 183 w 280"/>
                <a:gd name="T45" fmla="*/ 22 h 236"/>
                <a:gd name="T46" fmla="*/ 198 w 280"/>
                <a:gd name="T47" fmla="*/ 15 h 236"/>
                <a:gd name="T48" fmla="*/ 214 w 280"/>
                <a:gd name="T49" fmla="*/ 17 h 236"/>
                <a:gd name="T50" fmla="*/ 226 w 280"/>
                <a:gd name="T51" fmla="*/ 28 h 236"/>
                <a:gd name="T52" fmla="*/ 225 w 280"/>
                <a:gd name="T53" fmla="*/ 42 h 236"/>
                <a:gd name="T54" fmla="*/ 229 w 280"/>
                <a:gd name="T55" fmla="*/ 54 h 236"/>
                <a:gd name="T56" fmla="*/ 223 w 280"/>
                <a:gd name="T57" fmla="*/ 64 h 236"/>
                <a:gd name="T58" fmla="*/ 233 w 280"/>
                <a:gd name="T59" fmla="*/ 82 h 236"/>
                <a:gd name="T60" fmla="*/ 249 w 280"/>
                <a:gd name="T61" fmla="*/ 101 h 236"/>
                <a:gd name="T62" fmla="*/ 251 w 280"/>
                <a:gd name="T63" fmla="*/ 113 h 236"/>
                <a:gd name="T64" fmla="*/ 269 w 280"/>
                <a:gd name="T65" fmla="*/ 118 h 236"/>
                <a:gd name="T66" fmla="*/ 274 w 280"/>
                <a:gd name="T67" fmla="*/ 127 h 236"/>
                <a:gd name="T68" fmla="*/ 276 w 280"/>
                <a:gd name="T69" fmla="*/ 137 h 236"/>
                <a:gd name="T70" fmla="*/ 264 w 280"/>
                <a:gd name="T71" fmla="*/ 148 h 236"/>
                <a:gd name="T72" fmla="*/ 244 w 280"/>
                <a:gd name="T73" fmla="*/ 141 h 236"/>
                <a:gd name="T74" fmla="*/ 236 w 280"/>
                <a:gd name="T75" fmla="*/ 149 h 236"/>
                <a:gd name="T76" fmla="*/ 244 w 280"/>
                <a:gd name="T77" fmla="*/ 163 h 236"/>
                <a:gd name="T78" fmla="*/ 244 w 280"/>
                <a:gd name="T79" fmla="*/ 174 h 236"/>
                <a:gd name="T80" fmla="*/ 249 w 280"/>
                <a:gd name="T81" fmla="*/ 184 h 236"/>
                <a:gd name="T82" fmla="*/ 237 w 280"/>
                <a:gd name="T83" fmla="*/ 198 h 236"/>
                <a:gd name="T84" fmla="*/ 220 w 280"/>
                <a:gd name="T85" fmla="*/ 210 h 236"/>
                <a:gd name="T86" fmla="*/ 217 w 280"/>
                <a:gd name="T87" fmla="*/ 222 h 236"/>
                <a:gd name="T88" fmla="*/ 211 w 280"/>
                <a:gd name="T89" fmla="*/ 236 h 236"/>
                <a:gd name="T90" fmla="*/ 200 w 280"/>
                <a:gd name="T91" fmla="*/ 231 h 236"/>
                <a:gd name="T92" fmla="*/ 184 w 280"/>
                <a:gd name="T93" fmla="*/ 235 h 236"/>
                <a:gd name="T94" fmla="*/ 172 w 280"/>
                <a:gd name="T95" fmla="*/ 222 h 236"/>
                <a:gd name="T96" fmla="*/ 157 w 280"/>
                <a:gd name="T97" fmla="*/ 226 h 236"/>
                <a:gd name="T98" fmla="*/ 145 w 280"/>
                <a:gd name="T99" fmla="*/ 223 h 236"/>
                <a:gd name="T100" fmla="*/ 133 w 280"/>
                <a:gd name="T101" fmla="*/ 228 h 236"/>
                <a:gd name="T102" fmla="*/ 126 w 280"/>
                <a:gd name="T103" fmla="*/ 224 h 236"/>
                <a:gd name="T104" fmla="*/ 113 w 280"/>
                <a:gd name="T105" fmla="*/ 217 h 236"/>
                <a:gd name="T106" fmla="*/ 101 w 280"/>
                <a:gd name="T107" fmla="*/ 212 h 236"/>
                <a:gd name="T108" fmla="*/ 84 w 280"/>
                <a:gd name="T109" fmla="*/ 210 h 236"/>
                <a:gd name="T110" fmla="*/ 64 w 280"/>
                <a:gd name="T111" fmla="*/ 206 h 236"/>
                <a:gd name="T112" fmla="*/ 34 w 280"/>
                <a:gd name="T113" fmla="*/ 209 h 236"/>
                <a:gd name="T114" fmla="*/ 21 w 280"/>
                <a:gd name="T115" fmla="*/ 220 h 236"/>
                <a:gd name="T116" fmla="*/ 9 w 280"/>
                <a:gd name="T117" fmla="*/ 223 h 2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0"/>
                <a:gd name="T178" fmla="*/ 0 h 236"/>
                <a:gd name="T179" fmla="*/ 280 w 280"/>
                <a:gd name="T180" fmla="*/ 236 h 2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0" h="236">
                  <a:moveTo>
                    <a:pt x="9" y="223"/>
                  </a:moveTo>
                  <a:lnTo>
                    <a:pt x="11" y="202"/>
                  </a:lnTo>
                  <a:lnTo>
                    <a:pt x="3" y="195"/>
                  </a:lnTo>
                  <a:lnTo>
                    <a:pt x="0" y="189"/>
                  </a:lnTo>
                  <a:lnTo>
                    <a:pt x="6" y="183"/>
                  </a:lnTo>
                  <a:lnTo>
                    <a:pt x="14" y="178"/>
                  </a:lnTo>
                  <a:lnTo>
                    <a:pt x="20" y="170"/>
                  </a:lnTo>
                  <a:lnTo>
                    <a:pt x="20" y="160"/>
                  </a:lnTo>
                  <a:lnTo>
                    <a:pt x="20" y="152"/>
                  </a:lnTo>
                  <a:lnTo>
                    <a:pt x="11" y="115"/>
                  </a:lnTo>
                  <a:lnTo>
                    <a:pt x="10" y="110"/>
                  </a:lnTo>
                  <a:lnTo>
                    <a:pt x="18" y="112"/>
                  </a:lnTo>
                  <a:lnTo>
                    <a:pt x="26" y="110"/>
                  </a:lnTo>
                  <a:lnTo>
                    <a:pt x="34" y="111"/>
                  </a:lnTo>
                  <a:lnTo>
                    <a:pt x="38" y="109"/>
                  </a:lnTo>
                  <a:lnTo>
                    <a:pt x="41" y="107"/>
                  </a:lnTo>
                  <a:lnTo>
                    <a:pt x="45" y="109"/>
                  </a:lnTo>
                  <a:lnTo>
                    <a:pt x="49" y="108"/>
                  </a:lnTo>
                  <a:lnTo>
                    <a:pt x="48" y="101"/>
                  </a:lnTo>
                  <a:lnTo>
                    <a:pt x="52" y="99"/>
                  </a:lnTo>
                  <a:lnTo>
                    <a:pt x="56" y="99"/>
                  </a:lnTo>
                  <a:lnTo>
                    <a:pt x="58" y="96"/>
                  </a:lnTo>
                  <a:lnTo>
                    <a:pt x="62" y="93"/>
                  </a:lnTo>
                  <a:lnTo>
                    <a:pt x="66" y="95"/>
                  </a:lnTo>
                  <a:lnTo>
                    <a:pt x="68" y="98"/>
                  </a:lnTo>
                  <a:lnTo>
                    <a:pt x="72" y="100"/>
                  </a:lnTo>
                  <a:lnTo>
                    <a:pt x="76" y="99"/>
                  </a:lnTo>
                  <a:lnTo>
                    <a:pt x="76" y="95"/>
                  </a:lnTo>
                  <a:lnTo>
                    <a:pt x="73" y="91"/>
                  </a:lnTo>
                  <a:lnTo>
                    <a:pt x="71" y="87"/>
                  </a:lnTo>
                  <a:lnTo>
                    <a:pt x="72" y="83"/>
                  </a:lnTo>
                  <a:lnTo>
                    <a:pt x="77" y="76"/>
                  </a:lnTo>
                  <a:lnTo>
                    <a:pt x="77" y="72"/>
                  </a:lnTo>
                  <a:lnTo>
                    <a:pt x="78" y="67"/>
                  </a:lnTo>
                  <a:lnTo>
                    <a:pt x="77" y="63"/>
                  </a:lnTo>
                  <a:lnTo>
                    <a:pt x="79" y="59"/>
                  </a:lnTo>
                  <a:lnTo>
                    <a:pt x="82" y="57"/>
                  </a:lnTo>
                  <a:lnTo>
                    <a:pt x="87" y="56"/>
                  </a:lnTo>
                  <a:lnTo>
                    <a:pt x="90" y="53"/>
                  </a:lnTo>
                  <a:lnTo>
                    <a:pt x="93" y="51"/>
                  </a:lnTo>
                  <a:lnTo>
                    <a:pt x="100" y="51"/>
                  </a:lnTo>
                  <a:lnTo>
                    <a:pt x="105" y="42"/>
                  </a:lnTo>
                  <a:lnTo>
                    <a:pt x="101" y="40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lnTo>
                    <a:pt x="100" y="30"/>
                  </a:lnTo>
                  <a:lnTo>
                    <a:pt x="103" y="27"/>
                  </a:lnTo>
                  <a:lnTo>
                    <a:pt x="103" y="26"/>
                  </a:lnTo>
                  <a:lnTo>
                    <a:pt x="103" y="25"/>
                  </a:lnTo>
                  <a:lnTo>
                    <a:pt x="107" y="26"/>
                  </a:lnTo>
                  <a:lnTo>
                    <a:pt x="111" y="24"/>
                  </a:lnTo>
                  <a:lnTo>
                    <a:pt x="112" y="19"/>
                  </a:lnTo>
                  <a:lnTo>
                    <a:pt x="115" y="17"/>
                  </a:lnTo>
                  <a:lnTo>
                    <a:pt x="123" y="20"/>
                  </a:lnTo>
                  <a:lnTo>
                    <a:pt x="128" y="19"/>
                  </a:lnTo>
                  <a:lnTo>
                    <a:pt x="133" y="13"/>
                  </a:lnTo>
                  <a:lnTo>
                    <a:pt x="134" y="8"/>
                  </a:lnTo>
                  <a:lnTo>
                    <a:pt x="140" y="2"/>
                  </a:lnTo>
                  <a:lnTo>
                    <a:pt x="144" y="0"/>
                  </a:lnTo>
                  <a:lnTo>
                    <a:pt x="149" y="0"/>
                  </a:lnTo>
                  <a:lnTo>
                    <a:pt x="151" y="3"/>
                  </a:lnTo>
                  <a:lnTo>
                    <a:pt x="159" y="2"/>
                  </a:lnTo>
                  <a:lnTo>
                    <a:pt x="163" y="4"/>
                  </a:lnTo>
                  <a:lnTo>
                    <a:pt x="165" y="8"/>
                  </a:lnTo>
                  <a:lnTo>
                    <a:pt x="174" y="6"/>
                  </a:lnTo>
                  <a:lnTo>
                    <a:pt x="178" y="7"/>
                  </a:lnTo>
                  <a:lnTo>
                    <a:pt x="184" y="12"/>
                  </a:lnTo>
                  <a:lnTo>
                    <a:pt x="183" y="22"/>
                  </a:lnTo>
                  <a:lnTo>
                    <a:pt x="190" y="18"/>
                  </a:lnTo>
                  <a:lnTo>
                    <a:pt x="195" y="18"/>
                  </a:lnTo>
                  <a:lnTo>
                    <a:pt x="198" y="15"/>
                  </a:lnTo>
                  <a:lnTo>
                    <a:pt x="206" y="14"/>
                  </a:lnTo>
                  <a:lnTo>
                    <a:pt x="210" y="15"/>
                  </a:lnTo>
                  <a:lnTo>
                    <a:pt x="214" y="17"/>
                  </a:lnTo>
                  <a:lnTo>
                    <a:pt x="217" y="20"/>
                  </a:lnTo>
                  <a:lnTo>
                    <a:pt x="222" y="27"/>
                  </a:lnTo>
                  <a:lnTo>
                    <a:pt x="226" y="28"/>
                  </a:lnTo>
                  <a:lnTo>
                    <a:pt x="227" y="34"/>
                  </a:lnTo>
                  <a:lnTo>
                    <a:pt x="225" y="38"/>
                  </a:lnTo>
                  <a:lnTo>
                    <a:pt x="225" y="42"/>
                  </a:lnTo>
                  <a:lnTo>
                    <a:pt x="228" y="45"/>
                  </a:lnTo>
                  <a:lnTo>
                    <a:pt x="230" y="49"/>
                  </a:lnTo>
                  <a:lnTo>
                    <a:pt x="229" y="54"/>
                  </a:lnTo>
                  <a:lnTo>
                    <a:pt x="228" y="57"/>
                  </a:lnTo>
                  <a:lnTo>
                    <a:pt x="224" y="60"/>
                  </a:lnTo>
                  <a:lnTo>
                    <a:pt x="223" y="64"/>
                  </a:lnTo>
                  <a:lnTo>
                    <a:pt x="224" y="68"/>
                  </a:lnTo>
                  <a:lnTo>
                    <a:pt x="230" y="74"/>
                  </a:lnTo>
                  <a:lnTo>
                    <a:pt x="233" y="82"/>
                  </a:lnTo>
                  <a:lnTo>
                    <a:pt x="239" y="94"/>
                  </a:lnTo>
                  <a:lnTo>
                    <a:pt x="241" y="97"/>
                  </a:lnTo>
                  <a:lnTo>
                    <a:pt x="249" y="101"/>
                  </a:lnTo>
                  <a:lnTo>
                    <a:pt x="251" y="105"/>
                  </a:lnTo>
                  <a:lnTo>
                    <a:pt x="252" y="109"/>
                  </a:lnTo>
                  <a:lnTo>
                    <a:pt x="251" y="113"/>
                  </a:lnTo>
                  <a:lnTo>
                    <a:pt x="253" y="117"/>
                  </a:lnTo>
                  <a:lnTo>
                    <a:pt x="266" y="115"/>
                  </a:lnTo>
                  <a:lnTo>
                    <a:pt x="269" y="118"/>
                  </a:lnTo>
                  <a:lnTo>
                    <a:pt x="273" y="119"/>
                  </a:lnTo>
                  <a:lnTo>
                    <a:pt x="272" y="123"/>
                  </a:lnTo>
                  <a:lnTo>
                    <a:pt x="274" y="127"/>
                  </a:lnTo>
                  <a:lnTo>
                    <a:pt x="279" y="127"/>
                  </a:lnTo>
                  <a:lnTo>
                    <a:pt x="280" y="134"/>
                  </a:lnTo>
                  <a:lnTo>
                    <a:pt x="276" y="137"/>
                  </a:lnTo>
                  <a:lnTo>
                    <a:pt x="274" y="140"/>
                  </a:lnTo>
                  <a:lnTo>
                    <a:pt x="268" y="146"/>
                  </a:lnTo>
                  <a:lnTo>
                    <a:pt x="264" y="148"/>
                  </a:lnTo>
                  <a:lnTo>
                    <a:pt x="255" y="147"/>
                  </a:lnTo>
                  <a:lnTo>
                    <a:pt x="249" y="142"/>
                  </a:lnTo>
                  <a:lnTo>
                    <a:pt x="244" y="141"/>
                  </a:lnTo>
                  <a:lnTo>
                    <a:pt x="240" y="143"/>
                  </a:lnTo>
                  <a:lnTo>
                    <a:pt x="240" y="147"/>
                  </a:lnTo>
                  <a:lnTo>
                    <a:pt x="236" y="149"/>
                  </a:lnTo>
                  <a:lnTo>
                    <a:pt x="236" y="153"/>
                  </a:lnTo>
                  <a:lnTo>
                    <a:pt x="242" y="158"/>
                  </a:lnTo>
                  <a:lnTo>
                    <a:pt x="244" y="163"/>
                  </a:lnTo>
                  <a:lnTo>
                    <a:pt x="242" y="167"/>
                  </a:lnTo>
                  <a:lnTo>
                    <a:pt x="245" y="170"/>
                  </a:lnTo>
                  <a:lnTo>
                    <a:pt x="244" y="174"/>
                  </a:lnTo>
                  <a:lnTo>
                    <a:pt x="248" y="176"/>
                  </a:lnTo>
                  <a:lnTo>
                    <a:pt x="250" y="180"/>
                  </a:lnTo>
                  <a:lnTo>
                    <a:pt x="249" y="184"/>
                  </a:lnTo>
                  <a:lnTo>
                    <a:pt x="252" y="195"/>
                  </a:lnTo>
                  <a:lnTo>
                    <a:pt x="241" y="196"/>
                  </a:lnTo>
                  <a:lnTo>
                    <a:pt x="237" y="198"/>
                  </a:lnTo>
                  <a:lnTo>
                    <a:pt x="233" y="198"/>
                  </a:lnTo>
                  <a:lnTo>
                    <a:pt x="229" y="200"/>
                  </a:lnTo>
                  <a:lnTo>
                    <a:pt x="220" y="210"/>
                  </a:lnTo>
                  <a:lnTo>
                    <a:pt x="218" y="213"/>
                  </a:lnTo>
                  <a:lnTo>
                    <a:pt x="218" y="218"/>
                  </a:lnTo>
                  <a:lnTo>
                    <a:pt x="217" y="222"/>
                  </a:lnTo>
                  <a:lnTo>
                    <a:pt x="218" y="231"/>
                  </a:lnTo>
                  <a:lnTo>
                    <a:pt x="216" y="235"/>
                  </a:lnTo>
                  <a:lnTo>
                    <a:pt x="211" y="236"/>
                  </a:lnTo>
                  <a:lnTo>
                    <a:pt x="209" y="233"/>
                  </a:lnTo>
                  <a:lnTo>
                    <a:pt x="205" y="231"/>
                  </a:lnTo>
                  <a:lnTo>
                    <a:pt x="200" y="231"/>
                  </a:lnTo>
                  <a:lnTo>
                    <a:pt x="192" y="232"/>
                  </a:lnTo>
                  <a:lnTo>
                    <a:pt x="187" y="232"/>
                  </a:lnTo>
                  <a:lnTo>
                    <a:pt x="184" y="235"/>
                  </a:lnTo>
                  <a:lnTo>
                    <a:pt x="180" y="232"/>
                  </a:lnTo>
                  <a:lnTo>
                    <a:pt x="179" y="228"/>
                  </a:lnTo>
                  <a:lnTo>
                    <a:pt x="172" y="222"/>
                  </a:lnTo>
                  <a:lnTo>
                    <a:pt x="163" y="232"/>
                  </a:lnTo>
                  <a:lnTo>
                    <a:pt x="159" y="229"/>
                  </a:lnTo>
                  <a:lnTo>
                    <a:pt x="157" y="226"/>
                  </a:lnTo>
                  <a:lnTo>
                    <a:pt x="152" y="227"/>
                  </a:lnTo>
                  <a:lnTo>
                    <a:pt x="148" y="226"/>
                  </a:lnTo>
                  <a:lnTo>
                    <a:pt x="145" y="223"/>
                  </a:lnTo>
                  <a:lnTo>
                    <a:pt x="142" y="226"/>
                  </a:lnTo>
                  <a:lnTo>
                    <a:pt x="137" y="226"/>
                  </a:lnTo>
                  <a:lnTo>
                    <a:pt x="133" y="228"/>
                  </a:lnTo>
                  <a:lnTo>
                    <a:pt x="130" y="231"/>
                  </a:lnTo>
                  <a:lnTo>
                    <a:pt x="126" y="228"/>
                  </a:lnTo>
                  <a:lnTo>
                    <a:pt x="126" y="224"/>
                  </a:lnTo>
                  <a:lnTo>
                    <a:pt x="117" y="224"/>
                  </a:lnTo>
                  <a:lnTo>
                    <a:pt x="114" y="221"/>
                  </a:lnTo>
                  <a:lnTo>
                    <a:pt x="113" y="217"/>
                  </a:lnTo>
                  <a:lnTo>
                    <a:pt x="109" y="215"/>
                  </a:lnTo>
                  <a:lnTo>
                    <a:pt x="105" y="214"/>
                  </a:lnTo>
                  <a:lnTo>
                    <a:pt x="101" y="212"/>
                  </a:lnTo>
                  <a:lnTo>
                    <a:pt x="97" y="213"/>
                  </a:lnTo>
                  <a:lnTo>
                    <a:pt x="93" y="212"/>
                  </a:lnTo>
                  <a:lnTo>
                    <a:pt x="84" y="210"/>
                  </a:lnTo>
                  <a:lnTo>
                    <a:pt x="77" y="205"/>
                  </a:lnTo>
                  <a:lnTo>
                    <a:pt x="72" y="206"/>
                  </a:lnTo>
                  <a:lnTo>
                    <a:pt x="64" y="206"/>
                  </a:lnTo>
                  <a:lnTo>
                    <a:pt x="59" y="204"/>
                  </a:lnTo>
                  <a:lnTo>
                    <a:pt x="38" y="207"/>
                  </a:lnTo>
                  <a:lnTo>
                    <a:pt x="34" y="209"/>
                  </a:lnTo>
                  <a:lnTo>
                    <a:pt x="33" y="213"/>
                  </a:lnTo>
                  <a:lnTo>
                    <a:pt x="29" y="216"/>
                  </a:lnTo>
                  <a:lnTo>
                    <a:pt x="21" y="220"/>
                  </a:lnTo>
                  <a:lnTo>
                    <a:pt x="17" y="219"/>
                  </a:lnTo>
                  <a:lnTo>
                    <a:pt x="13" y="220"/>
                  </a:lnTo>
                  <a:lnTo>
                    <a:pt x="9" y="223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41" name="Freeform 206"/>
            <p:cNvSpPr>
              <a:spLocks/>
            </p:cNvSpPr>
            <p:nvPr/>
          </p:nvSpPr>
          <p:spPr bwMode="auto">
            <a:xfrm>
              <a:off x="2459" y="2418"/>
              <a:ext cx="280" cy="236"/>
            </a:xfrm>
            <a:custGeom>
              <a:avLst/>
              <a:gdLst>
                <a:gd name="T0" fmla="*/ 3 w 280"/>
                <a:gd name="T1" fmla="*/ 195 h 236"/>
                <a:gd name="T2" fmla="*/ 14 w 280"/>
                <a:gd name="T3" fmla="*/ 178 h 236"/>
                <a:gd name="T4" fmla="*/ 20 w 280"/>
                <a:gd name="T5" fmla="*/ 152 h 236"/>
                <a:gd name="T6" fmla="*/ 18 w 280"/>
                <a:gd name="T7" fmla="*/ 112 h 236"/>
                <a:gd name="T8" fmla="*/ 38 w 280"/>
                <a:gd name="T9" fmla="*/ 109 h 236"/>
                <a:gd name="T10" fmla="*/ 49 w 280"/>
                <a:gd name="T11" fmla="*/ 108 h 236"/>
                <a:gd name="T12" fmla="*/ 56 w 280"/>
                <a:gd name="T13" fmla="*/ 99 h 236"/>
                <a:gd name="T14" fmla="*/ 66 w 280"/>
                <a:gd name="T15" fmla="*/ 95 h 236"/>
                <a:gd name="T16" fmla="*/ 76 w 280"/>
                <a:gd name="T17" fmla="*/ 99 h 236"/>
                <a:gd name="T18" fmla="*/ 71 w 280"/>
                <a:gd name="T19" fmla="*/ 87 h 236"/>
                <a:gd name="T20" fmla="*/ 77 w 280"/>
                <a:gd name="T21" fmla="*/ 72 h 236"/>
                <a:gd name="T22" fmla="*/ 79 w 280"/>
                <a:gd name="T23" fmla="*/ 59 h 236"/>
                <a:gd name="T24" fmla="*/ 90 w 280"/>
                <a:gd name="T25" fmla="*/ 53 h 236"/>
                <a:gd name="T26" fmla="*/ 105 w 280"/>
                <a:gd name="T27" fmla="*/ 42 h 236"/>
                <a:gd name="T28" fmla="*/ 96 w 280"/>
                <a:gd name="T29" fmla="*/ 36 h 236"/>
                <a:gd name="T30" fmla="*/ 103 w 280"/>
                <a:gd name="T31" fmla="*/ 27 h 236"/>
                <a:gd name="T32" fmla="*/ 107 w 280"/>
                <a:gd name="T33" fmla="*/ 26 h 236"/>
                <a:gd name="T34" fmla="*/ 115 w 280"/>
                <a:gd name="T35" fmla="*/ 17 h 236"/>
                <a:gd name="T36" fmla="*/ 133 w 280"/>
                <a:gd name="T37" fmla="*/ 13 h 236"/>
                <a:gd name="T38" fmla="*/ 144 w 280"/>
                <a:gd name="T39" fmla="*/ 0 h 236"/>
                <a:gd name="T40" fmla="*/ 159 w 280"/>
                <a:gd name="T41" fmla="*/ 2 h 236"/>
                <a:gd name="T42" fmla="*/ 174 w 280"/>
                <a:gd name="T43" fmla="*/ 6 h 236"/>
                <a:gd name="T44" fmla="*/ 183 w 280"/>
                <a:gd name="T45" fmla="*/ 22 h 236"/>
                <a:gd name="T46" fmla="*/ 198 w 280"/>
                <a:gd name="T47" fmla="*/ 15 h 236"/>
                <a:gd name="T48" fmla="*/ 214 w 280"/>
                <a:gd name="T49" fmla="*/ 17 h 236"/>
                <a:gd name="T50" fmla="*/ 226 w 280"/>
                <a:gd name="T51" fmla="*/ 28 h 236"/>
                <a:gd name="T52" fmla="*/ 225 w 280"/>
                <a:gd name="T53" fmla="*/ 42 h 236"/>
                <a:gd name="T54" fmla="*/ 229 w 280"/>
                <a:gd name="T55" fmla="*/ 54 h 236"/>
                <a:gd name="T56" fmla="*/ 223 w 280"/>
                <a:gd name="T57" fmla="*/ 64 h 236"/>
                <a:gd name="T58" fmla="*/ 233 w 280"/>
                <a:gd name="T59" fmla="*/ 82 h 236"/>
                <a:gd name="T60" fmla="*/ 249 w 280"/>
                <a:gd name="T61" fmla="*/ 101 h 236"/>
                <a:gd name="T62" fmla="*/ 251 w 280"/>
                <a:gd name="T63" fmla="*/ 113 h 236"/>
                <a:gd name="T64" fmla="*/ 269 w 280"/>
                <a:gd name="T65" fmla="*/ 118 h 236"/>
                <a:gd name="T66" fmla="*/ 274 w 280"/>
                <a:gd name="T67" fmla="*/ 127 h 236"/>
                <a:gd name="T68" fmla="*/ 276 w 280"/>
                <a:gd name="T69" fmla="*/ 137 h 236"/>
                <a:gd name="T70" fmla="*/ 264 w 280"/>
                <a:gd name="T71" fmla="*/ 148 h 236"/>
                <a:gd name="T72" fmla="*/ 244 w 280"/>
                <a:gd name="T73" fmla="*/ 141 h 236"/>
                <a:gd name="T74" fmla="*/ 236 w 280"/>
                <a:gd name="T75" fmla="*/ 149 h 236"/>
                <a:gd name="T76" fmla="*/ 244 w 280"/>
                <a:gd name="T77" fmla="*/ 163 h 236"/>
                <a:gd name="T78" fmla="*/ 244 w 280"/>
                <a:gd name="T79" fmla="*/ 174 h 236"/>
                <a:gd name="T80" fmla="*/ 249 w 280"/>
                <a:gd name="T81" fmla="*/ 184 h 236"/>
                <a:gd name="T82" fmla="*/ 237 w 280"/>
                <a:gd name="T83" fmla="*/ 198 h 236"/>
                <a:gd name="T84" fmla="*/ 220 w 280"/>
                <a:gd name="T85" fmla="*/ 210 h 236"/>
                <a:gd name="T86" fmla="*/ 217 w 280"/>
                <a:gd name="T87" fmla="*/ 222 h 236"/>
                <a:gd name="T88" fmla="*/ 211 w 280"/>
                <a:gd name="T89" fmla="*/ 236 h 236"/>
                <a:gd name="T90" fmla="*/ 200 w 280"/>
                <a:gd name="T91" fmla="*/ 231 h 236"/>
                <a:gd name="T92" fmla="*/ 184 w 280"/>
                <a:gd name="T93" fmla="*/ 235 h 236"/>
                <a:gd name="T94" fmla="*/ 172 w 280"/>
                <a:gd name="T95" fmla="*/ 222 h 236"/>
                <a:gd name="T96" fmla="*/ 157 w 280"/>
                <a:gd name="T97" fmla="*/ 226 h 236"/>
                <a:gd name="T98" fmla="*/ 145 w 280"/>
                <a:gd name="T99" fmla="*/ 223 h 236"/>
                <a:gd name="T100" fmla="*/ 133 w 280"/>
                <a:gd name="T101" fmla="*/ 228 h 236"/>
                <a:gd name="T102" fmla="*/ 126 w 280"/>
                <a:gd name="T103" fmla="*/ 224 h 236"/>
                <a:gd name="T104" fmla="*/ 113 w 280"/>
                <a:gd name="T105" fmla="*/ 217 h 236"/>
                <a:gd name="T106" fmla="*/ 101 w 280"/>
                <a:gd name="T107" fmla="*/ 212 h 236"/>
                <a:gd name="T108" fmla="*/ 84 w 280"/>
                <a:gd name="T109" fmla="*/ 210 h 236"/>
                <a:gd name="T110" fmla="*/ 64 w 280"/>
                <a:gd name="T111" fmla="*/ 206 h 236"/>
                <a:gd name="T112" fmla="*/ 34 w 280"/>
                <a:gd name="T113" fmla="*/ 209 h 236"/>
                <a:gd name="T114" fmla="*/ 21 w 280"/>
                <a:gd name="T115" fmla="*/ 220 h 236"/>
                <a:gd name="T116" fmla="*/ 9 w 280"/>
                <a:gd name="T117" fmla="*/ 223 h 2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0"/>
                <a:gd name="T178" fmla="*/ 0 h 236"/>
                <a:gd name="T179" fmla="*/ 280 w 280"/>
                <a:gd name="T180" fmla="*/ 236 h 2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0" h="236">
                  <a:moveTo>
                    <a:pt x="9" y="223"/>
                  </a:moveTo>
                  <a:lnTo>
                    <a:pt x="11" y="202"/>
                  </a:lnTo>
                  <a:lnTo>
                    <a:pt x="3" y="195"/>
                  </a:lnTo>
                  <a:lnTo>
                    <a:pt x="0" y="189"/>
                  </a:lnTo>
                  <a:lnTo>
                    <a:pt x="6" y="183"/>
                  </a:lnTo>
                  <a:lnTo>
                    <a:pt x="14" y="178"/>
                  </a:lnTo>
                  <a:lnTo>
                    <a:pt x="20" y="170"/>
                  </a:lnTo>
                  <a:lnTo>
                    <a:pt x="20" y="160"/>
                  </a:lnTo>
                  <a:lnTo>
                    <a:pt x="20" y="152"/>
                  </a:lnTo>
                  <a:lnTo>
                    <a:pt x="11" y="115"/>
                  </a:lnTo>
                  <a:lnTo>
                    <a:pt x="10" y="110"/>
                  </a:lnTo>
                  <a:lnTo>
                    <a:pt x="18" y="112"/>
                  </a:lnTo>
                  <a:lnTo>
                    <a:pt x="26" y="110"/>
                  </a:lnTo>
                  <a:lnTo>
                    <a:pt x="34" y="111"/>
                  </a:lnTo>
                  <a:lnTo>
                    <a:pt x="38" y="109"/>
                  </a:lnTo>
                  <a:lnTo>
                    <a:pt x="41" y="107"/>
                  </a:lnTo>
                  <a:lnTo>
                    <a:pt x="45" y="109"/>
                  </a:lnTo>
                  <a:lnTo>
                    <a:pt x="49" y="108"/>
                  </a:lnTo>
                  <a:lnTo>
                    <a:pt x="48" y="101"/>
                  </a:lnTo>
                  <a:lnTo>
                    <a:pt x="52" y="99"/>
                  </a:lnTo>
                  <a:lnTo>
                    <a:pt x="56" y="99"/>
                  </a:lnTo>
                  <a:lnTo>
                    <a:pt x="58" y="96"/>
                  </a:lnTo>
                  <a:lnTo>
                    <a:pt x="62" y="93"/>
                  </a:lnTo>
                  <a:lnTo>
                    <a:pt x="66" y="95"/>
                  </a:lnTo>
                  <a:lnTo>
                    <a:pt x="68" y="98"/>
                  </a:lnTo>
                  <a:lnTo>
                    <a:pt x="72" y="100"/>
                  </a:lnTo>
                  <a:lnTo>
                    <a:pt x="76" y="99"/>
                  </a:lnTo>
                  <a:lnTo>
                    <a:pt x="76" y="95"/>
                  </a:lnTo>
                  <a:lnTo>
                    <a:pt x="73" y="91"/>
                  </a:lnTo>
                  <a:lnTo>
                    <a:pt x="71" y="87"/>
                  </a:lnTo>
                  <a:lnTo>
                    <a:pt x="72" y="83"/>
                  </a:lnTo>
                  <a:lnTo>
                    <a:pt x="77" y="76"/>
                  </a:lnTo>
                  <a:lnTo>
                    <a:pt x="77" y="72"/>
                  </a:lnTo>
                  <a:lnTo>
                    <a:pt x="78" y="67"/>
                  </a:lnTo>
                  <a:lnTo>
                    <a:pt x="77" y="63"/>
                  </a:lnTo>
                  <a:lnTo>
                    <a:pt x="79" y="59"/>
                  </a:lnTo>
                  <a:lnTo>
                    <a:pt x="82" y="57"/>
                  </a:lnTo>
                  <a:lnTo>
                    <a:pt x="87" y="56"/>
                  </a:lnTo>
                  <a:lnTo>
                    <a:pt x="90" y="53"/>
                  </a:lnTo>
                  <a:lnTo>
                    <a:pt x="93" y="51"/>
                  </a:lnTo>
                  <a:lnTo>
                    <a:pt x="100" y="51"/>
                  </a:lnTo>
                  <a:lnTo>
                    <a:pt x="105" y="42"/>
                  </a:lnTo>
                  <a:lnTo>
                    <a:pt x="101" y="40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lnTo>
                    <a:pt x="100" y="30"/>
                  </a:lnTo>
                  <a:lnTo>
                    <a:pt x="103" y="27"/>
                  </a:lnTo>
                  <a:lnTo>
                    <a:pt x="103" y="26"/>
                  </a:lnTo>
                  <a:lnTo>
                    <a:pt x="103" y="25"/>
                  </a:lnTo>
                  <a:lnTo>
                    <a:pt x="107" y="26"/>
                  </a:lnTo>
                  <a:lnTo>
                    <a:pt x="111" y="24"/>
                  </a:lnTo>
                  <a:lnTo>
                    <a:pt x="112" y="19"/>
                  </a:lnTo>
                  <a:lnTo>
                    <a:pt x="115" y="17"/>
                  </a:lnTo>
                  <a:lnTo>
                    <a:pt x="123" y="20"/>
                  </a:lnTo>
                  <a:lnTo>
                    <a:pt x="128" y="19"/>
                  </a:lnTo>
                  <a:lnTo>
                    <a:pt x="133" y="13"/>
                  </a:lnTo>
                  <a:lnTo>
                    <a:pt x="134" y="8"/>
                  </a:lnTo>
                  <a:lnTo>
                    <a:pt x="140" y="2"/>
                  </a:lnTo>
                  <a:lnTo>
                    <a:pt x="144" y="0"/>
                  </a:lnTo>
                  <a:lnTo>
                    <a:pt x="149" y="0"/>
                  </a:lnTo>
                  <a:lnTo>
                    <a:pt x="151" y="3"/>
                  </a:lnTo>
                  <a:lnTo>
                    <a:pt x="159" y="2"/>
                  </a:lnTo>
                  <a:lnTo>
                    <a:pt x="163" y="4"/>
                  </a:lnTo>
                  <a:lnTo>
                    <a:pt x="165" y="8"/>
                  </a:lnTo>
                  <a:lnTo>
                    <a:pt x="174" y="6"/>
                  </a:lnTo>
                  <a:lnTo>
                    <a:pt x="178" y="7"/>
                  </a:lnTo>
                  <a:lnTo>
                    <a:pt x="184" y="12"/>
                  </a:lnTo>
                  <a:lnTo>
                    <a:pt x="183" y="22"/>
                  </a:lnTo>
                  <a:lnTo>
                    <a:pt x="190" y="18"/>
                  </a:lnTo>
                  <a:lnTo>
                    <a:pt x="195" y="18"/>
                  </a:lnTo>
                  <a:lnTo>
                    <a:pt x="198" y="15"/>
                  </a:lnTo>
                  <a:lnTo>
                    <a:pt x="206" y="14"/>
                  </a:lnTo>
                  <a:lnTo>
                    <a:pt x="210" y="15"/>
                  </a:lnTo>
                  <a:lnTo>
                    <a:pt x="214" y="17"/>
                  </a:lnTo>
                  <a:lnTo>
                    <a:pt x="217" y="20"/>
                  </a:lnTo>
                  <a:lnTo>
                    <a:pt x="222" y="27"/>
                  </a:lnTo>
                  <a:lnTo>
                    <a:pt x="226" y="28"/>
                  </a:lnTo>
                  <a:lnTo>
                    <a:pt x="227" y="34"/>
                  </a:lnTo>
                  <a:lnTo>
                    <a:pt x="225" y="38"/>
                  </a:lnTo>
                  <a:lnTo>
                    <a:pt x="225" y="42"/>
                  </a:lnTo>
                  <a:lnTo>
                    <a:pt x="228" y="45"/>
                  </a:lnTo>
                  <a:lnTo>
                    <a:pt x="230" y="49"/>
                  </a:lnTo>
                  <a:lnTo>
                    <a:pt x="229" y="54"/>
                  </a:lnTo>
                  <a:lnTo>
                    <a:pt x="228" y="57"/>
                  </a:lnTo>
                  <a:lnTo>
                    <a:pt x="224" y="60"/>
                  </a:lnTo>
                  <a:lnTo>
                    <a:pt x="223" y="64"/>
                  </a:lnTo>
                  <a:lnTo>
                    <a:pt x="224" y="68"/>
                  </a:lnTo>
                  <a:lnTo>
                    <a:pt x="230" y="74"/>
                  </a:lnTo>
                  <a:lnTo>
                    <a:pt x="233" y="82"/>
                  </a:lnTo>
                  <a:lnTo>
                    <a:pt x="239" y="94"/>
                  </a:lnTo>
                  <a:lnTo>
                    <a:pt x="241" y="97"/>
                  </a:lnTo>
                  <a:lnTo>
                    <a:pt x="249" y="101"/>
                  </a:lnTo>
                  <a:lnTo>
                    <a:pt x="251" y="105"/>
                  </a:lnTo>
                  <a:lnTo>
                    <a:pt x="252" y="109"/>
                  </a:lnTo>
                  <a:lnTo>
                    <a:pt x="251" y="113"/>
                  </a:lnTo>
                  <a:lnTo>
                    <a:pt x="253" y="117"/>
                  </a:lnTo>
                  <a:lnTo>
                    <a:pt x="266" y="115"/>
                  </a:lnTo>
                  <a:lnTo>
                    <a:pt x="269" y="118"/>
                  </a:lnTo>
                  <a:lnTo>
                    <a:pt x="273" y="119"/>
                  </a:lnTo>
                  <a:lnTo>
                    <a:pt x="272" y="123"/>
                  </a:lnTo>
                  <a:lnTo>
                    <a:pt x="274" y="127"/>
                  </a:lnTo>
                  <a:lnTo>
                    <a:pt x="279" y="127"/>
                  </a:lnTo>
                  <a:lnTo>
                    <a:pt x="280" y="134"/>
                  </a:lnTo>
                  <a:lnTo>
                    <a:pt x="276" y="137"/>
                  </a:lnTo>
                  <a:lnTo>
                    <a:pt x="274" y="140"/>
                  </a:lnTo>
                  <a:lnTo>
                    <a:pt x="268" y="146"/>
                  </a:lnTo>
                  <a:lnTo>
                    <a:pt x="264" y="148"/>
                  </a:lnTo>
                  <a:lnTo>
                    <a:pt x="255" y="147"/>
                  </a:lnTo>
                  <a:lnTo>
                    <a:pt x="249" y="142"/>
                  </a:lnTo>
                  <a:lnTo>
                    <a:pt x="244" y="141"/>
                  </a:lnTo>
                  <a:lnTo>
                    <a:pt x="240" y="143"/>
                  </a:lnTo>
                  <a:lnTo>
                    <a:pt x="240" y="147"/>
                  </a:lnTo>
                  <a:lnTo>
                    <a:pt x="236" y="149"/>
                  </a:lnTo>
                  <a:lnTo>
                    <a:pt x="236" y="153"/>
                  </a:lnTo>
                  <a:lnTo>
                    <a:pt x="242" y="158"/>
                  </a:lnTo>
                  <a:lnTo>
                    <a:pt x="244" y="163"/>
                  </a:lnTo>
                  <a:lnTo>
                    <a:pt x="242" y="167"/>
                  </a:lnTo>
                  <a:lnTo>
                    <a:pt x="245" y="170"/>
                  </a:lnTo>
                  <a:lnTo>
                    <a:pt x="244" y="174"/>
                  </a:lnTo>
                  <a:lnTo>
                    <a:pt x="248" y="176"/>
                  </a:lnTo>
                  <a:lnTo>
                    <a:pt x="250" y="180"/>
                  </a:lnTo>
                  <a:lnTo>
                    <a:pt x="249" y="184"/>
                  </a:lnTo>
                  <a:lnTo>
                    <a:pt x="252" y="195"/>
                  </a:lnTo>
                  <a:lnTo>
                    <a:pt x="241" y="196"/>
                  </a:lnTo>
                  <a:lnTo>
                    <a:pt x="237" y="198"/>
                  </a:lnTo>
                  <a:lnTo>
                    <a:pt x="233" y="198"/>
                  </a:lnTo>
                  <a:lnTo>
                    <a:pt x="229" y="200"/>
                  </a:lnTo>
                  <a:lnTo>
                    <a:pt x="220" y="210"/>
                  </a:lnTo>
                  <a:lnTo>
                    <a:pt x="218" y="213"/>
                  </a:lnTo>
                  <a:lnTo>
                    <a:pt x="218" y="218"/>
                  </a:lnTo>
                  <a:lnTo>
                    <a:pt x="217" y="222"/>
                  </a:lnTo>
                  <a:lnTo>
                    <a:pt x="218" y="231"/>
                  </a:lnTo>
                  <a:lnTo>
                    <a:pt x="216" y="235"/>
                  </a:lnTo>
                  <a:lnTo>
                    <a:pt x="211" y="236"/>
                  </a:lnTo>
                  <a:lnTo>
                    <a:pt x="209" y="233"/>
                  </a:lnTo>
                  <a:lnTo>
                    <a:pt x="205" y="231"/>
                  </a:lnTo>
                  <a:lnTo>
                    <a:pt x="200" y="231"/>
                  </a:lnTo>
                  <a:lnTo>
                    <a:pt x="192" y="232"/>
                  </a:lnTo>
                  <a:lnTo>
                    <a:pt x="187" y="232"/>
                  </a:lnTo>
                  <a:lnTo>
                    <a:pt x="184" y="235"/>
                  </a:lnTo>
                  <a:lnTo>
                    <a:pt x="180" y="232"/>
                  </a:lnTo>
                  <a:lnTo>
                    <a:pt x="179" y="228"/>
                  </a:lnTo>
                  <a:lnTo>
                    <a:pt x="172" y="222"/>
                  </a:lnTo>
                  <a:lnTo>
                    <a:pt x="163" y="232"/>
                  </a:lnTo>
                  <a:lnTo>
                    <a:pt x="159" y="229"/>
                  </a:lnTo>
                  <a:lnTo>
                    <a:pt x="157" y="226"/>
                  </a:lnTo>
                  <a:lnTo>
                    <a:pt x="152" y="227"/>
                  </a:lnTo>
                  <a:lnTo>
                    <a:pt x="148" y="226"/>
                  </a:lnTo>
                  <a:lnTo>
                    <a:pt x="145" y="223"/>
                  </a:lnTo>
                  <a:lnTo>
                    <a:pt x="142" y="226"/>
                  </a:lnTo>
                  <a:lnTo>
                    <a:pt x="137" y="226"/>
                  </a:lnTo>
                  <a:lnTo>
                    <a:pt x="133" y="228"/>
                  </a:lnTo>
                  <a:lnTo>
                    <a:pt x="130" y="231"/>
                  </a:lnTo>
                  <a:lnTo>
                    <a:pt x="126" y="228"/>
                  </a:lnTo>
                  <a:lnTo>
                    <a:pt x="126" y="224"/>
                  </a:lnTo>
                  <a:lnTo>
                    <a:pt x="117" y="224"/>
                  </a:lnTo>
                  <a:lnTo>
                    <a:pt x="114" y="221"/>
                  </a:lnTo>
                  <a:lnTo>
                    <a:pt x="113" y="217"/>
                  </a:lnTo>
                  <a:lnTo>
                    <a:pt x="109" y="215"/>
                  </a:lnTo>
                  <a:lnTo>
                    <a:pt x="105" y="214"/>
                  </a:lnTo>
                  <a:lnTo>
                    <a:pt x="101" y="212"/>
                  </a:lnTo>
                  <a:lnTo>
                    <a:pt x="97" y="213"/>
                  </a:lnTo>
                  <a:lnTo>
                    <a:pt x="93" y="212"/>
                  </a:lnTo>
                  <a:lnTo>
                    <a:pt x="84" y="210"/>
                  </a:lnTo>
                  <a:lnTo>
                    <a:pt x="77" y="205"/>
                  </a:lnTo>
                  <a:lnTo>
                    <a:pt x="72" y="206"/>
                  </a:lnTo>
                  <a:lnTo>
                    <a:pt x="64" y="206"/>
                  </a:lnTo>
                  <a:lnTo>
                    <a:pt x="59" y="204"/>
                  </a:lnTo>
                  <a:lnTo>
                    <a:pt x="38" y="207"/>
                  </a:lnTo>
                  <a:lnTo>
                    <a:pt x="34" y="209"/>
                  </a:lnTo>
                  <a:lnTo>
                    <a:pt x="33" y="213"/>
                  </a:lnTo>
                  <a:lnTo>
                    <a:pt x="29" y="216"/>
                  </a:lnTo>
                  <a:lnTo>
                    <a:pt x="21" y="220"/>
                  </a:lnTo>
                  <a:lnTo>
                    <a:pt x="17" y="219"/>
                  </a:lnTo>
                  <a:lnTo>
                    <a:pt x="13" y="220"/>
                  </a:lnTo>
                  <a:lnTo>
                    <a:pt x="9" y="223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63" name="Group 210"/>
          <p:cNvGrpSpPr>
            <a:grpSpLocks/>
          </p:cNvGrpSpPr>
          <p:nvPr/>
        </p:nvGrpSpPr>
        <p:grpSpPr bwMode="auto">
          <a:xfrm>
            <a:off x="4821238" y="4338638"/>
            <a:ext cx="254000" cy="122237"/>
            <a:chOff x="2279" y="2733"/>
            <a:chExt cx="160" cy="77"/>
          </a:xfrm>
        </p:grpSpPr>
        <p:sp>
          <p:nvSpPr>
            <p:cNvPr id="34338" name="Freeform 208"/>
            <p:cNvSpPr>
              <a:spLocks/>
            </p:cNvSpPr>
            <p:nvPr/>
          </p:nvSpPr>
          <p:spPr bwMode="auto">
            <a:xfrm>
              <a:off x="2279" y="2733"/>
              <a:ext cx="160" cy="77"/>
            </a:xfrm>
            <a:custGeom>
              <a:avLst/>
              <a:gdLst>
                <a:gd name="T0" fmla="*/ 150 w 160"/>
                <a:gd name="T1" fmla="*/ 50 h 77"/>
                <a:gd name="T2" fmla="*/ 144 w 160"/>
                <a:gd name="T3" fmla="*/ 52 h 77"/>
                <a:gd name="T4" fmla="*/ 135 w 160"/>
                <a:gd name="T5" fmla="*/ 46 h 77"/>
                <a:gd name="T6" fmla="*/ 127 w 160"/>
                <a:gd name="T7" fmla="*/ 44 h 77"/>
                <a:gd name="T8" fmla="*/ 121 w 160"/>
                <a:gd name="T9" fmla="*/ 45 h 77"/>
                <a:gd name="T10" fmla="*/ 112 w 160"/>
                <a:gd name="T11" fmla="*/ 44 h 77"/>
                <a:gd name="T12" fmla="*/ 103 w 160"/>
                <a:gd name="T13" fmla="*/ 49 h 77"/>
                <a:gd name="T14" fmla="*/ 101 w 160"/>
                <a:gd name="T15" fmla="*/ 55 h 77"/>
                <a:gd name="T16" fmla="*/ 95 w 160"/>
                <a:gd name="T17" fmla="*/ 57 h 77"/>
                <a:gd name="T18" fmla="*/ 88 w 160"/>
                <a:gd name="T19" fmla="*/ 60 h 77"/>
                <a:gd name="T20" fmla="*/ 79 w 160"/>
                <a:gd name="T21" fmla="*/ 57 h 77"/>
                <a:gd name="T22" fmla="*/ 71 w 160"/>
                <a:gd name="T23" fmla="*/ 62 h 77"/>
                <a:gd name="T24" fmla="*/ 55 w 160"/>
                <a:gd name="T25" fmla="*/ 67 h 77"/>
                <a:gd name="T26" fmla="*/ 48 w 160"/>
                <a:gd name="T27" fmla="*/ 77 h 77"/>
                <a:gd name="T28" fmla="*/ 44 w 160"/>
                <a:gd name="T29" fmla="*/ 77 h 77"/>
                <a:gd name="T30" fmla="*/ 27 w 160"/>
                <a:gd name="T31" fmla="*/ 77 h 77"/>
                <a:gd name="T32" fmla="*/ 14 w 160"/>
                <a:gd name="T33" fmla="*/ 68 h 77"/>
                <a:gd name="T34" fmla="*/ 7 w 160"/>
                <a:gd name="T35" fmla="*/ 64 h 77"/>
                <a:gd name="T36" fmla="*/ 3 w 160"/>
                <a:gd name="T37" fmla="*/ 57 h 77"/>
                <a:gd name="T38" fmla="*/ 0 w 160"/>
                <a:gd name="T39" fmla="*/ 46 h 77"/>
                <a:gd name="T40" fmla="*/ 3 w 160"/>
                <a:gd name="T41" fmla="*/ 40 h 77"/>
                <a:gd name="T42" fmla="*/ 7 w 160"/>
                <a:gd name="T43" fmla="*/ 35 h 77"/>
                <a:gd name="T44" fmla="*/ 10 w 160"/>
                <a:gd name="T45" fmla="*/ 35 h 77"/>
                <a:gd name="T46" fmla="*/ 13 w 160"/>
                <a:gd name="T47" fmla="*/ 37 h 77"/>
                <a:gd name="T48" fmla="*/ 21 w 160"/>
                <a:gd name="T49" fmla="*/ 36 h 77"/>
                <a:gd name="T50" fmla="*/ 28 w 160"/>
                <a:gd name="T51" fmla="*/ 31 h 77"/>
                <a:gd name="T52" fmla="*/ 28 w 160"/>
                <a:gd name="T53" fmla="*/ 27 h 77"/>
                <a:gd name="T54" fmla="*/ 33 w 160"/>
                <a:gd name="T55" fmla="*/ 27 h 77"/>
                <a:gd name="T56" fmla="*/ 35 w 160"/>
                <a:gd name="T57" fmla="*/ 22 h 77"/>
                <a:gd name="T58" fmla="*/ 36 w 160"/>
                <a:gd name="T59" fmla="*/ 16 h 77"/>
                <a:gd name="T60" fmla="*/ 37 w 160"/>
                <a:gd name="T61" fmla="*/ 13 h 77"/>
                <a:gd name="T62" fmla="*/ 41 w 160"/>
                <a:gd name="T63" fmla="*/ 12 h 77"/>
                <a:gd name="T64" fmla="*/ 44 w 160"/>
                <a:gd name="T65" fmla="*/ 8 h 77"/>
                <a:gd name="T66" fmla="*/ 47 w 160"/>
                <a:gd name="T67" fmla="*/ 4 h 77"/>
                <a:gd name="T68" fmla="*/ 53 w 160"/>
                <a:gd name="T69" fmla="*/ 5 h 77"/>
                <a:gd name="T70" fmla="*/ 57 w 160"/>
                <a:gd name="T71" fmla="*/ 1 h 77"/>
                <a:gd name="T72" fmla="*/ 63 w 160"/>
                <a:gd name="T73" fmla="*/ 4 h 77"/>
                <a:gd name="T74" fmla="*/ 68 w 160"/>
                <a:gd name="T75" fmla="*/ 3 h 77"/>
                <a:gd name="T76" fmla="*/ 74 w 160"/>
                <a:gd name="T77" fmla="*/ 0 h 77"/>
                <a:gd name="T78" fmla="*/ 78 w 160"/>
                <a:gd name="T79" fmla="*/ 3 h 77"/>
                <a:gd name="T80" fmla="*/ 83 w 160"/>
                <a:gd name="T81" fmla="*/ 9 h 77"/>
                <a:gd name="T82" fmla="*/ 87 w 160"/>
                <a:gd name="T83" fmla="*/ 13 h 77"/>
                <a:gd name="T84" fmla="*/ 91 w 160"/>
                <a:gd name="T85" fmla="*/ 15 h 77"/>
                <a:gd name="T86" fmla="*/ 96 w 160"/>
                <a:gd name="T87" fmla="*/ 12 h 77"/>
                <a:gd name="T88" fmla="*/ 101 w 160"/>
                <a:gd name="T89" fmla="*/ 7 h 77"/>
                <a:gd name="T90" fmla="*/ 111 w 160"/>
                <a:gd name="T91" fmla="*/ 7 h 77"/>
                <a:gd name="T92" fmla="*/ 116 w 160"/>
                <a:gd name="T93" fmla="*/ 11 h 77"/>
                <a:gd name="T94" fmla="*/ 120 w 160"/>
                <a:gd name="T95" fmla="*/ 8 h 77"/>
                <a:gd name="T96" fmla="*/ 126 w 160"/>
                <a:gd name="T97" fmla="*/ 6 h 77"/>
                <a:gd name="T98" fmla="*/ 132 w 160"/>
                <a:gd name="T99" fmla="*/ 5 h 77"/>
                <a:gd name="T100" fmla="*/ 139 w 160"/>
                <a:gd name="T101" fmla="*/ 6 h 77"/>
                <a:gd name="T102" fmla="*/ 145 w 160"/>
                <a:gd name="T103" fmla="*/ 9 h 77"/>
                <a:gd name="T104" fmla="*/ 149 w 160"/>
                <a:gd name="T105" fmla="*/ 13 h 77"/>
                <a:gd name="T106" fmla="*/ 155 w 160"/>
                <a:gd name="T107" fmla="*/ 18 h 77"/>
                <a:gd name="T108" fmla="*/ 160 w 160"/>
                <a:gd name="T109" fmla="*/ 19 h 77"/>
                <a:gd name="T110" fmla="*/ 160 w 160"/>
                <a:gd name="T111" fmla="*/ 23 h 77"/>
                <a:gd name="T112" fmla="*/ 154 w 160"/>
                <a:gd name="T113" fmla="*/ 38 h 77"/>
                <a:gd name="T114" fmla="*/ 150 w 160"/>
                <a:gd name="T115" fmla="*/ 50 h 7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60"/>
                <a:gd name="T175" fmla="*/ 0 h 77"/>
                <a:gd name="T176" fmla="*/ 160 w 160"/>
                <a:gd name="T177" fmla="*/ 77 h 7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60" h="77">
                  <a:moveTo>
                    <a:pt x="150" y="50"/>
                  </a:moveTo>
                  <a:lnTo>
                    <a:pt x="144" y="52"/>
                  </a:lnTo>
                  <a:lnTo>
                    <a:pt x="135" y="46"/>
                  </a:lnTo>
                  <a:lnTo>
                    <a:pt x="127" y="44"/>
                  </a:lnTo>
                  <a:lnTo>
                    <a:pt x="121" y="45"/>
                  </a:lnTo>
                  <a:lnTo>
                    <a:pt x="112" y="44"/>
                  </a:lnTo>
                  <a:lnTo>
                    <a:pt x="103" y="49"/>
                  </a:lnTo>
                  <a:lnTo>
                    <a:pt x="101" y="55"/>
                  </a:lnTo>
                  <a:lnTo>
                    <a:pt x="95" y="57"/>
                  </a:lnTo>
                  <a:lnTo>
                    <a:pt x="88" y="60"/>
                  </a:lnTo>
                  <a:lnTo>
                    <a:pt x="79" y="57"/>
                  </a:lnTo>
                  <a:lnTo>
                    <a:pt x="71" y="62"/>
                  </a:lnTo>
                  <a:lnTo>
                    <a:pt x="55" y="67"/>
                  </a:lnTo>
                  <a:lnTo>
                    <a:pt x="48" y="77"/>
                  </a:lnTo>
                  <a:lnTo>
                    <a:pt x="44" y="77"/>
                  </a:lnTo>
                  <a:lnTo>
                    <a:pt x="27" y="77"/>
                  </a:lnTo>
                  <a:lnTo>
                    <a:pt x="14" y="68"/>
                  </a:lnTo>
                  <a:lnTo>
                    <a:pt x="7" y="64"/>
                  </a:lnTo>
                  <a:lnTo>
                    <a:pt x="3" y="57"/>
                  </a:lnTo>
                  <a:lnTo>
                    <a:pt x="0" y="46"/>
                  </a:lnTo>
                  <a:lnTo>
                    <a:pt x="3" y="40"/>
                  </a:lnTo>
                  <a:lnTo>
                    <a:pt x="7" y="35"/>
                  </a:lnTo>
                  <a:lnTo>
                    <a:pt x="10" y="35"/>
                  </a:lnTo>
                  <a:lnTo>
                    <a:pt x="13" y="37"/>
                  </a:lnTo>
                  <a:lnTo>
                    <a:pt x="21" y="36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33" y="27"/>
                  </a:lnTo>
                  <a:lnTo>
                    <a:pt x="35" y="22"/>
                  </a:lnTo>
                  <a:lnTo>
                    <a:pt x="36" y="16"/>
                  </a:lnTo>
                  <a:lnTo>
                    <a:pt x="37" y="13"/>
                  </a:lnTo>
                  <a:lnTo>
                    <a:pt x="41" y="12"/>
                  </a:lnTo>
                  <a:lnTo>
                    <a:pt x="44" y="8"/>
                  </a:lnTo>
                  <a:lnTo>
                    <a:pt x="47" y="4"/>
                  </a:lnTo>
                  <a:lnTo>
                    <a:pt x="53" y="5"/>
                  </a:lnTo>
                  <a:lnTo>
                    <a:pt x="57" y="1"/>
                  </a:lnTo>
                  <a:lnTo>
                    <a:pt x="63" y="4"/>
                  </a:lnTo>
                  <a:lnTo>
                    <a:pt x="68" y="3"/>
                  </a:lnTo>
                  <a:lnTo>
                    <a:pt x="74" y="0"/>
                  </a:lnTo>
                  <a:lnTo>
                    <a:pt x="78" y="3"/>
                  </a:lnTo>
                  <a:lnTo>
                    <a:pt x="83" y="9"/>
                  </a:lnTo>
                  <a:lnTo>
                    <a:pt x="87" y="13"/>
                  </a:lnTo>
                  <a:lnTo>
                    <a:pt x="91" y="15"/>
                  </a:lnTo>
                  <a:lnTo>
                    <a:pt x="96" y="12"/>
                  </a:lnTo>
                  <a:lnTo>
                    <a:pt x="101" y="7"/>
                  </a:lnTo>
                  <a:lnTo>
                    <a:pt x="111" y="7"/>
                  </a:lnTo>
                  <a:lnTo>
                    <a:pt x="116" y="11"/>
                  </a:lnTo>
                  <a:lnTo>
                    <a:pt x="120" y="8"/>
                  </a:lnTo>
                  <a:lnTo>
                    <a:pt x="126" y="6"/>
                  </a:lnTo>
                  <a:lnTo>
                    <a:pt x="132" y="5"/>
                  </a:lnTo>
                  <a:lnTo>
                    <a:pt x="139" y="6"/>
                  </a:lnTo>
                  <a:lnTo>
                    <a:pt x="145" y="9"/>
                  </a:lnTo>
                  <a:lnTo>
                    <a:pt x="149" y="13"/>
                  </a:lnTo>
                  <a:lnTo>
                    <a:pt x="155" y="18"/>
                  </a:lnTo>
                  <a:lnTo>
                    <a:pt x="160" y="19"/>
                  </a:lnTo>
                  <a:lnTo>
                    <a:pt x="160" y="23"/>
                  </a:lnTo>
                  <a:lnTo>
                    <a:pt x="154" y="38"/>
                  </a:lnTo>
                  <a:lnTo>
                    <a:pt x="150" y="50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39" name="Freeform 209"/>
            <p:cNvSpPr>
              <a:spLocks/>
            </p:cNvSpPr>
            <p:nvPr/>
          </p:nvSpPr>
          <p:spPr bwMode="auto">
            <a:xfrm>
              <a:off x="2279" y="2733"/>
              <a:ext cx="160" cy="77"/>
            </a:xfrm>
            <a:custGeom>
              <a:avLst/>
              <a:gdLst>
                <a:gd name="T0" fmla="*/ 150 w 160"/>
                <a:gd name="T1" fmla="*/ 50 h 77"/>
                <a:gd name="T2" fmla="*/ 144 w 160"/>
                <a:gd name="T3" fmla="*/ 52 h 77"/>
                <a:gd name="T4" fmla="*/ 135 w 160"/>
                <a:gd name="T5" fmla="*/ 46 h 77"/>
                <a:gd name="T6" fmla="*/ 127 w 160"/>
                <a:gd name="T7" fmla="*/ 44 h 77"/>
                <a:gd name="T8" fmla="*/ 121 w 160"/>
                <a:gd name="T9" fmla="*/ 45 h 77"/>
                <a:gd name="T10" fmla="*/ 112 w 160"/>
                <a:gd name="T11" fmla="*/ 44 h 77"/>
                <a:gd name="T12" fmla="*/ 103 w 160"/>
                <a:gd name="T13" fmla="*/ 49 h 77"/>
                <a:gd name="T14" fmla="*/ 101 w 160"/>
                <a:gd name="T15" fmla="*/ 55 h 77"/>
                <a:gd name="T16" fmla="*/ 95 w 160"/>
                <a:gd name="T17" fmla="*/ 57 h 77"/>
                <a:gd name="T18" fmla="*/ 88 w 160"/>
                <a:gd name="T19" fmla="*/ 60 h 77"/>
                <a:gd name="T20" fmla="*/ 79 w 160"/>
                <a:gd name="T21" fmla="*/ 57 h 77"/>
                <a:gd name="T22" fmla="*/ 71 w 160"/>
                <a:gd name="T23" fmla="*/ 62 h 77"/>
                <a:gd name="T24" fmla="*/ 55 w 160"/>
                <a:gd name="T25" fmla="*/ 67 h 77"/>
                <a:gd name="T26" fmla="*/ 48 w 160"/>
                <a:gd name="T27" fmla="*/ 77 h 77"/>
                <a:gd name="T28" fmla="*/ 44 w 160"/>
                <a:gd name="T29" fmla="*/ 77 h 77"/>
                <a:gd name="T30" fmla="*/ 27 w 160"/>
                <a:gd name="T31" fmla="*/ 77 h 77"/>
                <a:gd name="T32" fmla="*/ 14 w 160"/>
                <a:gd name="T33" fmla="*/ 68 h 77"/>
                <a:gd name="T34" fmla="*/ 7 w 160"/>
                <a:gd name="T35" fmla="*/ 64 h 77"/>
                <a:gd name="T36" fmla="*/ 3 w 160"/>
                <a:gd name="T37" fmla="*/ 57 h 77"/>
                <a:gd name="T38" fmla="*/ 0 w 160"/>
                <a:gd name="T39" fmla="*/ 46 h 77"/>
                <a:gd name="T40" fmla="*/ 3 w 160"/>
                <a:gd name="T41" fmla="*/ 40 h 77"/>
                <a:gd name="T42" fmla="*/ 7 w 160"/>
                <a:gd name="T43" fmla="*/ 35 h 77"/>
                <a:gd name="T44" fmla="*/ 10 w 160"/>
                <a:gd name="T45" fmla="*/ 35 h 77"/>
                <a:gd name="T46" fmla="*/ 13 w 160"/>
                <a:gd name="T47" fmla="*/ 37 h 77"/>
                <a:gd name="T48" fmla="*/ 21 w 160"/>
                <a:gd name="T49" fmla="*/ 36 h 77"/>
                <a:gd name="T50" fmla="*/ 28 w 160"/>
                <a:gd name="T51" fmla="*/ 31 h 77"/>
                <a:gd name="T52" fmla="*/ 28 w 160"/>
                <a:gd name="T53" fmla="*/ 27 h 77"/>
                <a:gd name="T54" fmla="*/ 33 w 160"/>
                <a:gd name="T55" fmla="*/ 27 h 77"/>
                <a:gd name="T56" fmla="*/ 35 w 160"/>
                <a:gd name="T57" fmla="*/ 22 h 77"/>
                <a:gd name="T58" fmla="*/ 36 w 160"/>
                <a:gd name="T59" fmla="*/ 16 h 77"/>
                <a:gd name="T60" fmla="*/ 37 w 160"/>
                <a:gd name="T61" fmla="*/ 13 h 77"/>
                <a:gd name="T62" fmla="*/ 41 w 160"/>
                <a:gd name="T63" fmla="*/ 12 h 77"/>
                <a:gd name="T64" fmla="*/ 44 w 160"/>
                <a:gd name="T65" fmla="*/ 8 h 77"/>
                <a:gd name="T66" fmla="*/ 47 w 160"/>
                <a:gd name="T67" fmla="*/ 4 h 77"/>
                <a:gd name="T68" fmla="*/ 53 w 160"/>
                <a:gd name="T69" fmla="*/ 5 h 77"/>
                <a:gd name="T70" fmla="*/ 57 w 160"/>
                <a:gd name="T71" fmla="*/ 1 h 77"/>
                <a:gd name="T72" fmla="*/ 63 w 160"/>
                <a:gd name="T73" fmla="*/ 4 h 77"/>
                <a:gd name="T74" fmla="*/ 68 w 160"/>
                <a:gd name="T75" fmla="*/ 3 h 77"/>
                <a:gd name="T76" fmla="*/ 74 w 160"/>
                <a:gd name="T77" fmla="*/ 0 h 77"/>
                <a:gd name="T78" fmla="*/ 78 w 160"/>
                <a:gd name="T79" fmla="*/ 3 h 77"/>
                <a:gd name="T80" fmla="*/ 83 w 160"/>
                <a:gd name="T81" fmla="*/ 9 h 77"/>
                <a:gd name="T82" fmla="*/ 87 w 160"/>
                <a:gd name="T83" fmla="*/ 13 h 77"/>
                <a:gd name="T84" fmla="*/ 91 w 160"/>
                <a:gd name="T85" fmla="*/ 15 h 77"/>
                <a:gd name="T86" fmla="*/ 96 w 160"/>
                <a:gd name="T87" fmla="*/ 12 h 77"/>
                <a:gd name="T88" fmla="*/ 101 w 160"/>
                <a:gd name="T89" fmla="*/ 7 h 77"/>
                <a:gd name="T90" fmla="*/ 111 w 160"/>
                <a:gd name="T91" fmla="*/ 7 h 77"/>
                <a:gd name="T92" fmla="*/ 116 w 160"/>
                <a:gd name="T93" fmla="*/ 11 h 77"/>
                <a:gd name="T94" fmla="*/ 120 w 160"/>
                <a:gd name="T95" fmla="*/ 8 h 77"/>
                <a:gd name="T96" fmla="*/ 126 w 160"/>
                <a:gd name="T97" fmla="*/ 6 h 77"/>
                <a:gd name="T98" fmla="*/ 132 w 160"/>
                <a:gd name="T99" fmla="*/ 5 h 77"/>
                <a:gd name="T100" fmla="*/ 139 w 160"/>
                <a:gd name="T101" fmla="*/ 6 h 77"/>
                <a:gd name="T102" fmla="*/ 145 w 160"/>
                <a:gd name="T103" fmla="*/ 9 h 77"/>
                <a:gd name="T104" fmla="*/ 149 w 160"/>
                <a:gd name="T105" fmla="*/ 13 h 77"/>
                <a:gd name="T106" fmla="*/ 155 w 160"/>
                <a:gd name="T107" fmla="*/ 18 h 77"/>
                <a:gd name="T108" fmla="*/ 160 w 160"/>
                <a:gd name="T109" fmla="*/ 19 h 77"/>
                <a:gd name="T110" fmla="*/ 160 w 160"/>
                <a:gd name="T111" fmla="*/ 23 h 77"/>
                <a:gd name="T112" fmla="*/ 154 w 160"/>
                <a:gd name="T113" fmla="*/ 38 h 77"/>
                <a:gd name="T114" fmla="*/ 150 w 160"/>
                <a:gd name="T115" fmla="*/ 50 h 7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160"/>
                <a:gd name="T175" fmla="*/ 0 h 77"/>
                <a:gd name="T176" fmla="*/ 160 w 160"/>
                <a:gd name="T177" fmla="*/ 77 h 7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160" h="77">
                  <a:moveTo>
                    <a:pt x="150" y="50"/>
                  </a:moveTo>
                  <a:lnTo>
                    <a:pt x="144" y="52"/>
                  </a:lnTo>
                  <a:lnTo>
                    <a:pt x="135" y="46"/>
                  </a:lnTo>
                  <a:lnTo>
                    <a:pt x="127" y="44"/>
                  </a:lnTo>
                  <a:lnTo>
                    <a:pt x="121" y="45"/>
                  </a:lnTo>
                  <a:lnTo>
                    <a:pt x="112" y="44"/>
                  </a:lnTo>
                  <a:lnTo>
                    <a:pt x="103" y="49"/>
                  </a:lnTo>
                  <a:lnTo>
                    <a:pt x="101" y="55"/>
                  </a:lnTo>
                  <a:lnTo>
                    <a:pt x="95" y="57"/>
                  </a:lnTo>
                  <a:lnTo>
                    <a:pt x="88" y="60"/>
                  </a:lnTo>
                  <a:lnTo>
                    <a:pt x="79" y="57"/>
                  </a:lnTo>
                  <a:lnTo>
                    <a:pt x="71" y="62"/>
                  </a:lnTo>
                  <a:lnTo>
                    <a:pt x="55" y="67"/>
                  </a:lnTo>
                  <a:lnTo>
                    <a:pt x="48" y="77"/>
                  </a:lnTo>
                  <a:lnTo>
                    <a:pt x="44" y="77"/>
                  </a:lnTo>
                  <a:lnTo>
                    <a:pt x="27" y="77"/>
                  </a:lnTo>
                  <a:lnTo>
                    <a:pt x="14" y="68"/>
                  </a:lnTo>
                  <a:lnTo>
                    <a:pt x="7" y="64"/>
                  </a:lnTo>
                  <a:lnTo>
                    <a:pt x="3" y="57"/>
                  </a:lnTo>
                  <a:lnTo>
                    <a:pt x="0" y="46"/>
                  </a:lnTo>
                  <a:lnTo>
                    <a:pt x="3" y="40"/>
                  </a:lnTo>
                  <a:lnTo>
                    <a:pt x="7" y="35"/>
                  </a:lnTo>
                  <a:lnTo>
                    <a:pt x="10" y="35"/>
                  </a:lnTo>
                  <a:lnTo>
                    <a:pt x="13" y="37"/>
                  </a:lnTo>
                  <a:lnTo>
                    <a:pt x="21" y="36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33" y="27"/>
                  </a:lnTo>
                  <a:lnTo>
                    <a:pt x="35" y="22"/>
                  </a:lnTo>
                  <a:lnTo>
                    <a:pt x="36" y="16"/>
                  </a:lnTo>
                  <a:lnTo>
                    <a:pt x="37" y="13"/>
                  </a:lnTo>
                  <a:lnTo>
                    <a:pt x="41" y="12"/>
                  </a:lnTo>
                  <a:lnTo>
                    <a:pt x="44" y="8"/>
                  </a:lnTo>
                  <a:lnTo>
                    <a:pt x="47" y="4"/>
                  </a:lnTo>
                  <a:lnTo>
                    <a:pt x="53" y="5"/>
                  </a:lnTo>
                  <a:lnTo>
                    <a:pt x="57" y="1"/>
                  </a:lnTo>
                  <a:lnTo>
                    <a:pt x="63" y="4"/>
                  </a:lnTo>
                  <a:lnTo>
                    <a:pt x="68" y="3"/>
                  </a:lnTo>
                  <a:lnTo>
                    <a:pt x="74" y="0"/>
                  </a:lnTo>
                  <a:lnTo>
                    <a:pt x="78" y="3"/>
                  </a:lnTo>
                  <a:lnTo>
                    <a:pt x="83" y="9"/>
                  </a:lnTo>
                  <a:lnTo>
                    <a:pt x="87" y="13"/>
                  </a:lnTo>
                  <a:lnTo>
                    <a:pt x="91" y="15"/>
                  </a:lnTo>
                  <a:lnTo>
                    <a:pt x="96" y="12"/>
                  </a:lnTo>
                  <a:lnTo>
                    <a:pt x="101" y="7"/>
                  </a:lnTo>
                  <a:lnTo>
                    <a:pt x="111" y="7"/>
                  </a:lnTo>
                  <a:lnTo>
                    <a:pt x="116" y="11"/>
                  </a:lnTo>
                  <a:lnTo>
                    <a:pt x="120" y="8"/>
                  </a:lnTo>
                  <a:lnTo>
                    <a:pt x="126" y="6"/>
                  </a:lnTo>
                  <a:lnTo>
                    <a:pt x="132" y="5"/>
                  </a:lnTo>
                  <a:lnTo>
                    <a:pt x="139" y="6"/>
                  </a:lnTo>
                  <a:lnTo>
                    <a:pt x="145" y="9"/>
                  </a:lnTo>
                  <a:lnTo>
                    <a:pt x="149" y="13"/>
                  </a:lnTo>
                  <a:lnTo>
                    <a:pt x="155" y="18"/>
                  </a:lnTo>
                  <a:lnTo>
                    <a:pt x="160" y="19"/>
                  </a:lnTo>
                  <a:lnTo>
                    <a:pt x="160" y="23"/>
                  </a:lnTo>
                  <a:lnTo>
                    <a:pt x="154" y="38"/>
                  </a:lnTo>
                  <a:lnTo>
                    <a:pt x="150" y="5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64" name="Group 213"/>
          <p:cNvGrpSpPr>
            <a:grpSpLocks/>
          </p:cNvGrpSpPr>
          <p:nvPr/>
        </p:nvGrpSpPr>
        <p:grpSpPr bwMode="auto">
          <a:xfrm>
            <a:off x="4664075" y="4521200"/>
            <a:ext cx="146050" cy="100013"/>
            <a:chOff x="2180" y="2848"/>
            <a:chExt cx="92" cy="63"/>
          </a:xfrm>
        </p:grpSpPr>
        <p:sp>
          <p:nvSpPr>
            <p:cNvPr id="34336" name="Freeform 211"/>
            <p:cNvSpPr>
              <a:spLocks/>
            </p:cNvSpPr>
            <p:nvPr/>
          </p:nvSpPr>
          <p:spPr bwMode="auto">
            <a:xfrm>
              <a:off x="2180" y="2848"/>
              <a:ext cx="92" cy="63"/>
            </a:xfrm>
            <a:custGeom>
              <a:avLst/>
              <a:gdLst>
                <a:gd name="T0" fmla="*/ 72 w 92"/>
                <a:gd name="T1" fmla="*/ 2 h 63"/>
                <a:gd name="T2" fmla="*/ 62 w 92"/>
                <a:gd name="T3" fmla="*/ 5 h 63"/>
                <a:gd name="T4" fmla="*/ 58 w 92"/>
                <a:gd name="T5" fmla="*/ 9 h 63"/>
                <a:gd name="T6" fmla="*/ 40 w 92"/>
                <a:gd name="T7" fmla="*/ 9 h 63"/>
                <a:gd name="T8" fmla="*/ 31 w 92"/>
                <a:gd name="T9" fmla="*/ 17 h 63"/>
                <a:gd name="T10" fmla="*/ 7 w 92"/>
                <a:gd name="T11" fmla="*/ 15 h 63"/>
                <a:gd name="T12" fmla="*/ 0 w 92"/>
                <a:gd name="T13" fmla="*/ 24 h 63"/>
                <a:gd name="T14" fmla="*/ 2 w 92"/>
                <a:gd name="T15" fmla="*/ 28 h 63"/>
                <a:gd name="T16" fmla="*/ 3 w 92"/>
                <a:gd name="T17" fmla="*/ 30 h 63"/>
                <a:gd name="T18" fmla="*/ 5 w 92"/>
                <a:gd name="T19" fmla="*/ 38 h 63"/>
                <a:gd name="T20" fmla="*/ 6 w 92"/>
                <a:gd name="T21" fmla="*/ 43 h 63"/>
                <a:gd name="T22" fmla="*/ 12 w 92"/>
                <a:gd name="T23" fmla="*/ 48 h 63"/>
                <a:gd name="T24" fmla="*/ 15 w 92"/>
                <a:gd name="T25" fmla="*/ 51 h 63"/>
                <a:gd name="T26" fmla="*/ 12 w 92"/>
                <a:gd name="T27" fmla="*/ 54 h 63"/>
                <a:gd name="T28" fmla="*/ 7 w 92"/>
                <a:gd name="T29" fmla="*/ 54 h 63"/>
                <a:gd name="T30" fmla="*/ 7 w 92"/>
                <a:gd name="T31" fmla="*/ 60 h 63"/>
                <a:gd name="T32" fmla="*/ 16 w 92"/>
                <a:gd name="T33" fmla="*/ 57 h 63"/>
                <a:gd name="T34" fmla="*/ 28 w 92"/>
                <a:gd name="T35" fmla="*/ 59 h 63"/>
                <a:gd name="T36" fmla="*/ 34 w 92"/>
                <a:gd name="T37" fmla="*/ 51 h 63"/>
                <a:gd name="T38" fmla="*/ 42 w 92"/>
                <a:gd name="T39" fmla="*/ 61 h 63"/>
                <a:gd name="T40" fmla="*/ 44 w 92"/>
                <a:gd name="T41" fmla="*/ 59 h 63"/>
                <a:gd name="T42" fmla="*/ 47 w 92"/>
                <a:gd name="T43" fmla="*/ 60 h 63"/>
                <a:gd name="T44" fmla="*/ 51 w 92"/>
                <a:gd name="T45" fmla="*/ 63 h 63"/>
                <a:gd name="T46" fmla="*/ 53 w 92"/>
                <a:gd name="T47" fmla="*/ 55 h 63"/>
                <a:gd name="T48" fmla="*/ 53 w 92"/>
                <a:gd name="T49" fmla="*/ 50 h 63"/>
                <a:gd name="T50" fmla="*/ 63 w 92"/>
                <a:gd name="T51" fmla="*/ 45 h 63"/>
                <a:gd name="T52" fmla="*/ 66 w 92"/>
                <a:gd name="T53" fmla="*/ 35 h 63"/>
                <a:gd name="T54" fmla="*/ 62 w 92"/>
                <a:gd name="T55" fmla="*/ 30 h 63"/>
                <a:gd name="T56" fmla="*/ 75 w 92"/>
                <a:gd name="T57" fmla="*/ 23 h 63"/>
                <a:gd name="T58" fmla="*/ 77 w 92"/>
                <a:gd name="T59" fmla="*/ 20 h 63"/>
                <a:gd name="T60" fmla="*/ 82 w 92"/>
                <a:gd name="T61" fmla="*/ 20 h 63"/>
                <a:gd name="T62" fmla="*/ 81 w 92"/>
                <a:gd name="T63" fmla="*/ 16 h 63"/>
                <a:gd name="T64" fmla="*/ 83 w 92"/>
                <a:gd name="T65" fmla="*/ 12 h 63"/>
                <a:gd name="T66" fmla="*/ 90 w 92"/>
                <a:gd name="T67" fmla="*/ 15 h 63"/>
                <a:gd name="T68" fmla="*/ 92 w 92"/>
                <a:gd name="T69" fmla="*/ 15 h 63"/>
                <a:gd name="T70" fmla="*/ 85 w 92"/>
                <a:gd name="T71" fmla="*/ 2 h 63"/>
                <a:gd name="T72" fmla="*/ 77 w 92"/>
                <a:gd name="T73" fmla="*/ 0 h 6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92"/>
                <a:gd name="T112" fmla="*/ 0 h 63"/>
                <a:gd name="T113" fmla="*/ 92 w 92"/>
                <a:gd name="T114" fmla="*/ 63 h 6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92" h="63">
                  <a:moveTo>
                    <a:pt x="77" y="0"/>
                  </a:moveTo>
                  <a:lnTo>
                    <a:pt x="72" y="2"/>
                  </a:lnTo>
                  <a:lnTo>
                    <a:pt x="72" y="6"/>
                  </a:lnTo>
                  <a:lnTo>
                    <a:pt x="62" y="5"/>
                  </a:lnTo>
                  <a:lnTo>
                    <a:pt x="60" y="5"/>
                  </a:lnTo>
                  <a:lnTo>
                    <a:pt x="58" y="9"/>
                  </a:lnTo>
                  <a:lnTo>
                    <a:pt x="47" y="7"/>
                  </a:lnTo>
                  <a:lnTo>
                    <a:pt x="40" y="9"/>
                  </a:lnTo>
                  <a:lnTo>
                    <a:pt x="36" y="14"/>
                  </a:lnTo>
                  <a:lnTo>
                    <a:pt x="31" y="17"/>
                  </a:lnTo>
                  <a:lnTo>
                    <a:pt x="16" y="15"/>
                  </a:lnTo>
                  <a:lnTo>
                    <a:pt x="7" y="15"/>
                  </a:lnTo>
                  <a:lnTo>
                    <a:pt x="2" y="21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2" y="28"/>
                  </a:lnTo>
                  <a:lnTo>
                    <a:pt x="4" y="27"/>
                  </a:lnTo>
                  <a:lnTo>
                    <a:pt x="3" y="30"/>
                  </a:lnTo>
                  <a:lnTo>
                    <a:pt x="2" y="35"/>
                  </a:lnTo>
                  <a:lnTo>
                    <a:pt x="5" y="38"/>
                  </a:lnTo>
                  <a:lnTo>
                    <a:pt x="5" y="42"/>
                  </a:lnTo>
                  <a:lnTo>
                    <a:pt x="6" y="43"/>
                  </a:lnTo>
                  <a:lnTo>
                    <a:pt x="11" y="45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5" y="51"/>
                  </a:lnTo>
                  <a:lnTo>
                    <a:pt x="14" y="53"/>
                  </a:lnTo>
                  <a:lnTo>
                    <a:pt x="12" y="54"/>
                  </a:lnTo>
                  <a:lnTo>
                    <a:pt x="10" y="55"/>
                  </a:lnTo>
                  <a:lnTo>
                    <a:pt x="7" y="54"/>
                  </a:lnTo>
                  <a:lnTo>
                    <a:pt x="4" y="57"/>
                  </a:lnTo>
                  <a:lnTo>
                    <a:pt x="7" y="60"/>
                  </a:lnTo>
                  <a:lnTo>
                    <a:pt x="15" y="60"/>
                  </a:lnTo>
                  <a:lnTo>
                    <a:pt x="16" y="57"/>
                  </a:lnTo>
                  <a:lnTo>
                    <a:pt x="19" y="59"/>
                  </a:lnTo>
                  <a:lnTo>
                    <a:pt x="28" y="59"/>
                  </a:lnTo>
                  <a:lnTo>
                    <a:pt x="32" y="51"/>
                  </a:lnTo>
                  <a:lnTo>
                    <a:pt x="34" y="51"/>
                  </a:lnTo>
                  <a:lnTo>
                    <a:pt x="40" y="61"/>
                  </a:lnTo>
                  <a:lnTo>
                    <a:pt x="42" y="61"/>
                  </a:lnTo>
                  <a:lnTo>
                    <a:pt x="42" y="58"/>
                  </a:lnTo>
                  <a:lnTo>
                    <a:pt x="44" y="59"/>
                  </a:lnTo>
                  <a:lnTo>
                    <a:pt x="44" y="60"/>
                  </a:lnTo>
                  <a:lnTo>
                    <a:pt x="47" y="60"/>
                  </a:lnTo>
                  <a:lnTo>
                    <a:pt x="49" y="63"/>
                  </a:lnTo>
                  <a:lnTo>
                    <a:pt x="51" y="63"/>
                  </a:lnTo>
                  <a:lnTo>
                    <a:pt x="54" y="61"/>
                  </a:lnTo>
                  <a:lnTo>
                    <a:pt x="53" y="55"/>
                  </a:lnTo>
                  <a:lnTo>
                    <a:pt x="55" y="52"/>
                  </a:lnTo>
                  <a:lnTo>
                    <a:pt x="53" y="50"/>
                  </a:lnTo>
                  <a:lnTo>
                    <a:pt x="59" y="45"/>
                  </a:lnTo>
                  <a:lnTo>
                    <a:pt x="63" y="45"/>
                  </a:lnTo>
                  <a:lnTo>
                    <a:pt x="66" y="41"/>
                  </a:lnTo>
                  <a:lnTo>
                    <a:pt x="66" y="35"/>
                  </a:lnTo>
                  <a:lnTo>
                    <a:pt x="63" y="32"/>
                  </a:lnTo>
                  <a:lnTo>
                    <a:pt x="62" y="30"/>
                  </a:lnTo>
                  <a:lnTo>
                    <a:pt x="64" y="27"/>
                  </a:lnTo>
                  <a:lnTo>
                    <a:pt x="75" y="23"/>
                  </a:lnTo>
                  <a:lnTo>
                    <a:pt x="76" y="22"/>
                  </a:lnTo>
                  <a:lnTo>
                    <a:pt x="77" y="20"/>
                  </a:lnTo>
                  <a:lnTo>
                    <a:pt x="80" y="20"/>
                  </a:lnTo>
                  <a:lnTo>
                    <a:pt x="82" y="20"/>
                  </a:lnTo>
                  <a:lnTo>
                    <a:pt x="81" y="16"/>
                  </a:lnTo>
                  <a:lnTo>
                    <a:pt x="81" y="14"/>
                  </a:lnTo>
                  <a:lnTo>
                    <a:pt x="83" y="12"/>
                  </a:lnTo>
                  <a:lnTo>
                    <a:pt x="85" y="12"/>
                  </a:lnTo>
                  <a:lnTo>
                    <a:pt x="90" y="15"/>
                  </a:lnTo>
                  <a:lnTo>
                    <a:pt x="92" y="14"/>
                  </a:lnTo>
                  <a:lnTo>
                    <a:pt x="92" y="15"/>
                  </a:lnTo>
                  <a:lnTo>
                    <a:pt x="87" y="9"/>
                  </a:lnTo>
                  <a:lnTo>
                    <a:pt x="85" y="2"/>
                  </a:lnTo>
                  <a:lnTo>
                    <a:pt x="81" y="0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37" name="Freeform 212"/>
            <p:cNvSpPr>
              <a:spLocks/>
            </p:cNvSpPr>
            <p:nvPr/>
          </p:nvSpPr>
          <p:spPr bwMode="auto">
            <a:xfrm>
              <a:off x="2180" y="2848"/>
              <a:ext cx="92" cy="63"/>
            </a:xfrm>
            <a:custGeom>
              <a:avLst/>
              <a:gdLst>
                <a:gd name="T0" fmla="*/ 72 w 92"/>
                <a:gd name="T1" fmla="*/ 2 h 63"/>
                <a:gd name="T2" fmla="*/ 62 w 92"/>
                <a:gd name="T3" fmla="*/ 5 h 63"/>
                <a:gd name="T4" fmla="*/ 58 w 92"/>
                <a:gd name="T5" fmla="*/ 9 h 63"/>
                <a:gd name="T6" fmla="*/ 40 w 92"/>
                <a:gd name="T7" fmla="*/ 9 h 63"/>
                <a:gd name="T8" fmla="*/ 31 w 92"/>
                <a:gd name="T9" fmla="*/ 17 h 63"/>
                <a:gd name="T10" fmla="*/ 7 w 92"/>
                <a:gd name="T11" fmla="*/ 15 h 63"/>
                <a:gd name="T12" fmla="*/ 0 w 92"/>
                <a:gd name="T13" fmla="*/ 24 h 63"/>
                <a:gd name="T14" fmla="*/ 2 w 92"/>
                <a:gd name="T15" fmla="*/ 28 h 63"/>
                <a:gd name="T16" fmla="*/ 3 w 92"/>
                <a:gd name="T17" fmla="*/ 30 h 63"/>
                <a:gd name="T18" fmla="*/ 5 w 92"/>
                <a:gd name="T19" fmla="*/ 38 h 63"/>
                <a:gd name="T20" fmla="*/ 6 w 92"/>
                <a:gd name="T21" fmla="*/ 43 h 63"/>
                <a:gd name="T22" fmla="*/ 12 w 92"/>
                <a:gd name="T23" fmla="*/ 48 h 63"/>
                <a:gd name="T24" fmla="*/ 15 w 92"/>
                <a:gd name="T25" fmla="*/ 51 h 63"/>
                <a:gd name="T26" fmla="*/ 12 w 92"/>
                <a:gd name="T27" fmla="*/ 54 h 63"/>
                <a:gd name="T28" fmla="*/ 7 w 92"/>
                <a:gd name="T29" fmla="*/ 54 h 63"/>
                <a:gd name="T30" fmla="*/ 7 w 92"/>
                <a:gd name="T31" fmla="*/ 60 h 63"/>
                <a:gd name="T32" fmla="*/ 16 w 92"/>
                <a:gd name="T33" fmla="*/ 57 h 63"/>
                <a:gd name="T34" fmla="*/ 28 w 92"/>
                <a:gd name="T35" fmla="*/ 59 h 63"/>
                <a:gd name="T36" fmla="*/ 34 w 92"/>
                <a:gd name="T37" fmla="*/ 51 h 63"/>
                <a:gd name="T38" fmla="*/ 42 w 92"/>
                <a:gd name="T39" fmla="*/ 61 h 63"/>
                <a:gd name="T40" fmla="*/ 44 w 92"/>
                <a:gd name="T41" fmla="*/ 59 h 63"/>
                <a:gd name="T42" fmla="*/ 47 w 92"/>
                <a:gd name="T43" fmla="*/ 60 h 63"/>
                <a:gd name="T44" fmla="*/ 51 w 92"/>
                <a:gd name="T45" fmla="*/ 63 h 63"/>
                <a:gd name="T46" fmla="*/ 53 w 92"/>
                <a:gd name="T47" fmla="*/ 55 h 63"/>
                <a:gd name="T48" fmla="*/ 53 w 92"/>
                <a:gd name="T49" fmla="*/ 50 h 63"/>
                <a:gd name="T50" fmla="*/ 63 w 92"/>
                <a:gd name="T51" fmla="*/ 45 h 63"/>
                <a:gd name="T52" fmla="*/ 66 w 92"/>
                <a:gd name="T53" fmla="*/ 35 h 63"/>
                <a:gd name="T54" fmla="*/ 62 w 92"/>
                <a:gd name="T55" fmla="*/ 30 h 63"/>
                <a:gd name="T56" fmla="*/ 75 w 92"/>
                <a:gd name="T57" fmla="*/ 23 h 63"/>
                <a:gd name="T58" fmla="*/ 77 w 92"/>
                <a:gd name="T59" fmla="*/ 20 h 63"/>
                <a:gd name="T60" fmla="*/ 82 w 92"/>
                <a:gd name="T61" fmla="*/ 20 h 63"/>
                <a:gd name="T62" fmla="*/ 81 w 92"/>
                <a:gd name="T63" fmla="*/ 16 h 63"/>
                <a:gd name="T64" fmla="*/ 83 w 92"/>
                <a:gd name="T65" fmla="*/ 12 h 63"/>
                <a:gd name="T66" fmla="*/ 90 w 92"/>
                <a:gd name="T67" fmla="*/ 15 h 63"/>
                <a:gd name="T68" fmla="*/ 92 w 92"/>
                <a:gd name="T69" fmla="*/ 15 h 63"/>
                <a:gd name="T70" fmla="*/ 85 w 92"/>
                <a:gd name="T71" fmla="*/ 2 h 63"/>
                <a:gd name="T72" fmla="*/ 77 w 92"/>
                <a:gd name="T73" fmla="*/ 0 h 6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92"/>
                <a:gd name="T112" fmla="*/ 0 h 63"/>
                <a:gd name="T113" fmla="*/ 92 w 92"/>
                <a:gd name="T114" fmla="*/ 63 h 6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92" h="63">
                  <a:moveTo>
                    <a:pt x="77" y="0"/>
                  </a:moveTo>
                  <a:lnTo>
                    <a:pt x="72" y="2"/>
                  </a:lnTo>
                  <a:lnTo>
                    <a:pt x="72" y="6"/>
                  </a:lnTo>
                  <a:lnTo>
                    <a:pt x="62" y="5"/>
                  </a:lnTo>
                  <a:lnTo>
                    <a:pt x="60" y="5"/>
                  </a:lnTo>
                  <a:lnTo>
                    <a:pt x="58" y="9"/>
                  </a:lnTo>
                  <a:lnTo>
                    <a:pt x="47" y="7"/>
                  </a:lnTo>
                  <a:lnTo>
                    <a:pt x="40" y="9"/>
                  </a:lnTo>
                  <a:lnTo>
                    <a:pt x="36" y="14"/>
                  </a:lnTo>
                  <a:lnTo>
                    <a:pt x="31" y="17"/>
                  </a:lnTo>
                  <a:lnTo>
                    <a:pt x="16" y="15"/>
                  </a:lnTo>
                  <a:lnTo>
                    <a:pt x="7" y="15"/>
                  </a:lnTo>
                  <a:lnTo>
                    <a:pt x="2" y="21"/>
                  </a:lnTo>
                  <a:lnTo>
                    <a:pt x="0" y="24"/>
                  </a:lnTo>
                  <a:lnTo>
                    <a:pt x="0" y="27"/>
                  </a:lnTo>
                  <a:lnTo>
                    <a:pt x="2" y="28"/>
                  </a:lnTo>
                  <a:lnTo>
                    <a:pt x="4" y="27"/>
                  </a:lnTo>
                  <a:lnTo>
                    <a:pt x="3" y="30"/>
                  </a:lnTo>
                  <a:lnTo>
                    <a:pt x="2" y="35"/>
                  </a:lnTo>
                  <a:lnTo>
                    <a:pt x="5" y="38"/>
                  </a:lnTo>
                  <a:lnTo>
                    <a:pt x="5" y="42"/>
                  </a:lnTo>
                  <a:lnTo>
                    <a:pt x="6" y="43"/>
                  </a:lnTo>
                  <a:lnTo>
                    <a:pt x="11" y="45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5" y="51"/>
                  </a:lnTo>
                  <a:lnTo>
                    <a:pt x="14" y="53"/>
                  </a:lnTo>
                  <a:lnTo>
                    <a:pt x="12" y="54"/>
                  </a:lnTo>
                  <a:lnTo>
                    <a:pt x="10" y="55"/>
                  </a:lnTo>
                  <a:lnTo>
                    <a:pt x="7" y="54"/>
                  </a:lnTo>
                  <a:lnTo>
                    <a:pt x="4" y="57"/>
                  </a:lnTo>
                  <a:lnTo>
                    <a:pt x="7" y="60"/>
                  </a:lnTo>
                  <a:lnTo>
                    <a:pt x="15" y="60"/>
                  </a:lnTo>
                  <a:lnTo>
                    <a:pt x="16" y="57"/>
                  </a:lnTo>
                  <a:lnTo>
                    <a:pt x="19" y="59"/>
                  </a:lnTo>
                  <a:lnTo>
                    <a:pt x="28" y="59"/>
                  </a:lnTo>
                  <a:lnTo>
                    <a:pt x="32" y="51"/>
                  </a:lnTo>
                  <a:lnTo>
                    <a:pt x="34" y="51"/>
                  </a:lnTo>
                  <a:lnTo>
                    <a:pt x="40" y="61"/>
                  </a:lnTo>
                  <a:lnTo>
                    <a:pt x="42" y="61"/>
                  </a:lnTo>
                  <a:lnTo>
                    <a:pt x="42" y="58"/>
                  </a:lnTo>
                  <a:lnTo>
                    <a:pt x="44" y="59"/>
                  </a:lnTo>
                  <a:lnTo>
                    <a:pt x="44" y="60"/>
                  </a:lnTo>
                  <a:lnTo>
                    <a:pt x="47" y="60"/>
                  </a:lnTo>
                  <a:lnTo>
                    <a:pt x="49" y="63"/>
                  </a:lnTo>
                  <a:lnTo>
                    <a:pt x="51" y="63"/>
                  </a:lnTo>
                  <a:lnTo>
                    <a:pt x="54" y="61"/>
                  </a:lnTo>
                  <a:lnTo>
                    <a:pt x="53" y="55"/>
                  </a:lnTo>
                  <a:lnTo>
                    <a:pt x="55" y="52"/>
                  </a:lnTo>
                  <a:lnTo>
                    <a:pt x="53" y="50"/>
                  </a:lnTo>
                  <a:lnTo>
                    <a:pt x="59" y="45"/>
                  </a:lnTo>
                  <a:lnTo>
                    <a:pt x="63" y="45"/>
                  </a:lnTo>
                  <a:lnTo>
                    <a:pt x="66" y="41"/>
                  </a:lnTo>
                  <a:lnTo>
                    <a:pt x="66" y="35"/>
                  </a:lnTo>
                  <a:lnTo>
                    <a:pt x="63" y="32"/>
                  </a:lnTo>
                  <a:lnTo>
                    <a:pt x="62" y="30"/>
                  </a:lnTo>
                  <a:lnTo>
                    <a:pt x="64" y="27"/>
                  </a:lnTo>
                  <a:lnTo>
                    <a:pt x="75" y="23"/>
                  </a:lnTo>
                  <a:lnTo>
                    <a:pt x="76" y="22"/>
                  </a:lnTo>
                  <a:lnTo>
                    <a:pt x="77" y="20"/>
                  </a:lnTo>
                  <a:lnTo>
                    <a:pt x="80" y="20"/>
                  </a:lnTo>
                  <a:lnTo>
                    <a:pt x="82" y="20"/>
                  </a:lnTo>
                  <a:lnTo>
                    <a:pt x="81" y="16"/>
                  </a:lnTo>
                  <a:lnTo>
                    <a:pt x="81" y="14"/>
                  </a:lnTo>
                  <a:lnTo>
                    <a:pt x="83" y="12"/>
                  </a:lnTo>
                  <a:lnTo>
                    <a:pt x="85" y="12"/>
                  </a:lnTo>
                  <a:lnTo>
                    <a:pt x="90" y="15"/>
                  </a:lnTo>
                  <a:lnTo>
                    <a:pt x="92" y="14"/>
                  </a:lnTo>
                  <a:lnTo>
                    <a:pt x="92" y="15"/>
                  </a:lnTo>
                  <a:lnTo>
                    <a:pt x="87" y="9"/>
                  </a:lnTo>
                  <a:lnTo>
                    <a:pt x="85" y="2"/>
                  </a:lnTo>
                  <a:lnTo>
                    <a:pt x="81" y="0"/>
                  </a:lnTo>
                  <a:lnTo>
                    <a:pt x="77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65" name="Group 216"/>
          <p:cNvGrpSpPr>
            <a:grpSpLocks/>
          </p:cNvGrpSpPr>
          <p:nvPr/>
        </p:nvGrpSpPr>
        <p:grpSpPr bwMode="auto">
          <a:xfrm>
            <a:off x="4989513" y="4808538"/>
            <a:ext cx="111125" cy="90487"/>
            <a:chOff x="2385" y="3029"/>
            <a:chExt cx="70" cy="57"/>
          </a:xfrm>
        </p:grpSpPr>
        <p:sp>
          <p:nvSpPr>
            <p:cNvPr id="34334" name="Freeform 214"/>
            <p:cNvSpPr>
              <a:spLocks/>
            </p:cNvSpPr>
            <p:nvPr/>
          </p:nvSpPr>
          <p:spPr bwMode="auto">
            <a:xfrm>
              <a:off x="2385" y="3029"/>
              <a:ext cx="70" cy="57"/>
            </a:xfrm>
            <a:custGeom>
              <a:avLst/>
              <a:gdLst>
                <a:gd name="T0" fmla="*/ 14 w 70"/>
                <a:gd name="T1" fmla="*/ 57 h 57"/>
                <a:gd name="T2" fmla="*/ 5 w 70"/>
                <a:gd name="T3" fmla="*/ 48 h 57"/>
                <a:gd name="T4" fmla="*/ 0 w 70"/>
                <a:gd name="T5" fmla="*/ 38 h 57"/>
                <a:gd name="T6" fmla="*/ 0 w 70"/>
                <a:gd name="T7" fmla="*/ 29 h 57"/>
                <a:gd name="T8" fmla="*/ 3 w 70"/>
                <a:gd name="T9" fmla="*/ 9 h 57"/>
                <a:gd name="T10" fmla="*/ 4 w 70"/>
                <a:gd name="T11" fmla="*/ 10 h 57"/>
                <a:gd name="T12" fmla="*/ 6 w 70"/>
                <a:gd name="T13" fmla="*/ 11 h 57"/>
                <a:gd name="T14" fmla="*/ 8 w 70"/>
                <a:gd name="T15" fmla="*/ 9 h 57"/>
                <a:gd name="T16" fmla="*/ 8 w 70"/>
                <a:gd name="T17" fmla="*/ 4 h 57"/>
                <a:gd name="T18" fmla="*/ 17 w 70"/>
                <a:gd name="T19" fmla="*/ 1 h 57"/>
                <a:gd name="T20" fmla="*/ 19 w 70"/>
                <a:gd name="T21" fmla="*/ 2 h 57"/>
                <a:gd name="T22" fmla="*/ 22 w 70"/>
                <a:gd name="T23" fmla="*/ 6 h 57"/>
                <a:gd name="T24" fmla="*/ 23 w 70"/>
                <a:gd name="T25" fmla="*/ 6 h 57"/>
                <a:gd name="T26" fmla="*/ 23 w 70"/>
                <a:gd name="T27" fmla="*/ 3 h 57"/>
                <a:gd name="T28" fmla="*/ 27 w 70"/>
                <a:gd name="T29" fmla="*/ 1 h 57"/>
                <a:gd name="T30" fmla="*/ 36 w 70"/>
                <a:gd name="T31" fmla="*/ 2 h 57"/>
                <a:gd name="T32" fmla="*/ 38 w 70"/>
                <a:gd name="T33" fmla="*/ 0 h 57"/>
                <a:gd name="T34" fmla="*/ 45 w 70"/>
                <a:gd name="T35" fmla="*/ 2 h 57"/>
                <a:gd name="T36" fmla="*/ 51 w 70"/>
                <a:gd name="T37" fmla="*/ 1 h 57"/>
                <a:gd name="T38" fmla="*/ 54 w 70"/>
                <a:gd name="T39" fmla="*/ 2 h 57"/>
                <a:gd name="T40" fmla="*/ 66 w 70"/>
                <a:gd name="T41" fmla="*/ 13 h 57"/>
                <a:gd name="T42" fmla="*/ 69 w 70"/>
                <a:gd name="T43" fmla="*/ 28 h 57"/>
                <a:gd name="T44" fmla="*/ 70 w 70"/>
                <a:gd name="T45" fmla="*/ 37 h 57"/>
                <a:gd name="T46" fmla="*/ 66 w 70"/>
                <a:gd name="T47" fmla="*/ 38 h 57"/>
                <a:gd name="T48" fmla="*/ 59 w 70"/>
                <a:gd name="T49" fmla="*/ 45 h 57"/>
                <a:gd name="T50" fmla="*/ 48 w 70"/>
                <a:gd name="T51" fmla="*/ 45 h 57"/>
                <a:gd name="T52" fmla="*/ 38 w 70"/>
                <a:gd name="T53" fmla="*/ 49 h 57"/>
                <a:gd name="T54" fmla="*/ 32 w 70"/>
                <a:gd name="T55" fmla="*/ 55 h 57"/>
                <a:gd name="T56" fmla="*/ 14 w 70"/>
                <a:gd name="T57" fmla="*/ 57 h 5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0"/>
                <a:gd name="T88" fmla="*/ 0 h 57"/>
                <a:gd name="T89" fmla="*/ 70 w 70"/>
                <a:gd name="T90" fmla="*/ 57 h 5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0" h="57">
                  <a:moveTo>
                    <a:pt x="14" y="57"/>
                  </a:moveTo>
                  <a:lnTo>
                    <a:pt x="5" y="48"/>
                  </a:lnTo>
                  <a:lnTo>
                    <a:pt x="0" y="38"/>
                  </a:lnTo>
                  <a:lnTo>
                    <a:pt x="0" y="29"/>
                  </a:lnTo>
                  <a:lnTo>
                    <a:pt x="3" y="9"/>
                  </a:lnTo>
                  <a:lnTo>
                    <a:pt x="4" y="10"/>
                  </a:lnTo>
                  <a:lnTo>
                    <a:pt x="6" y="11"/>
                  </a:lnTo>
                  <a:lnTo>
                    <a:pt x="8" y="9"/>
                  </a:lnTo>
                  <a:lnTo>
                    <a:pt x="8" y="4"/>
                  </a:lnTo>
                  <a:lnTo>
                    <a:pt x="17" y="1"/>
                  </a:lnTo>
                  <a:lnTo>
                    <a:pt x="19" y="2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3" y="3"/>
                  </a:lnTo>
                  <a:lnTo>
                    <a:pt x="27" y="1"/>
                  </a:lnTo>
                  <a:lnTo>
                    <a:pt x="36" y="2"/>
                  </a:lnTo>
                  <a:lnTo>
                    <a:pt x="38" y="0"/>
                  </a:lnTo>
                  <a:lnTo>
                    <a:pt x="45" y="2"/>
                  </a:lnTo>
                  <a:lnTo>
                    <a:pt x="51" y="1"/>
                  </a:lnTo>
                  <a:lnTo>
                    <a:pt x="54" y="2"/>
                  </a:lnTo>
                  <a:lnTo>
                    <a:pt x="66" y="13"/>
                  </a:lnTo>
                  <a:lnTo>
                    <a:pt x="69" y="28"/>
                  </a:lnTo>
                  <a:lnTo>
                    <a:pt x="70" y="37"/>
                  </a:lnTo>
                  <a:lnTo>
                    <a:pt x="66" y="38"/>
                  </a:lnTo>
                  <a:lnTo>
                    <a:pt x="59" y="45"/>
                  </a:lnTo>
                  <a:lnTo>
                    <a:pt x="48" y="45"/>
                  </a:lnTo>
                  <a:lnTo>
                    <a:pt x="38" y="49"/>
                  </a:lnTo>
                  <a:lnTo>
                    <a:pt x="32" y="55"/>
                  </a:lnTo>
                  <a:lnTo>
                    <a:pt x="14" y="57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35" name="Freeform 215"/>
            <p:cNvSpPr>
              <a:spLocks/>
            </p:cNvSpPr>
            <p:nvPr/>
          </p:nvSpPr>
          <p:spPr bwMode="auto">
            <a:xfrm>
              <a:off x="2385" y="3029"/>
              <a:ext cx="70" cy="57"/>
            </a:xfrm>
            <a:custGeom>
              <a:avLst/>
              <a:gdLst>
                <a:gd name="T0" fmla="*/ 14 w 70"/>
                <a:gd name="T1" fmla="*/ 57 h 57"/>
                <a:gd name="T2" fmla="*/ 5 w 70"/>
                <a:gd name="T3" fmla="*/ 48 h 57"/>
                <a:gd name="T4" fmla="*/ 0 w 70"/>
                <a:gd name="T5" fmla="*/ 38 h 57"/>
                <a:gd name="T6" fmla="*/ 0 w 70"/>
                <a:gd name="T7" fmla="*/ 29 h 57"/>
                <a:gd name="T8" fmla="*/ 3 w 70"/>
                <a:gd name="T9" fmla="*/ 9 h 57"/>
                <a:gd name="T10" fmla="*/ 4 w 70"/>
                <a:gd name="T11" fmla="*/ 10 h 57"/>
                <a:gd name="T12" fmla="*/ 6 w 70"/>
                <a:gd name="T13" fmla="*/ 11 h 57"/>
                <a:gd name="T14" fmla="*/ 8 w 70"/>
                <a:gd name="T15" fmla="*/ 9 h 57"/>
                <a:gd name="T16" fmla="*/ 8 w 70"/>
                <a:gd name="T17" fmla="*/ 4 h 57"/>
                <a:gd name="T18" fmla="*/ 17 w 70"/>
                <a:gd name="T19" fmla="*/ 1 h 57"/>
                <a:gd name="T20" fmla="*/ 19 w 70"/>
                <a:gd name="T21" fmla="*/ 2 h 57"/>
                <a:gd name="T22" fmla="*/ 22 w 70"/>
                <a:gd name="T23" fmla="*/ 6 h 57"/>
                <a:gd name="T24" fmla="*/ 23 w 70"/>
                <a:gd name="T25" fmla="*/ 6 h 57"/>
                <a:gd name="T26" fmla="*/ 23 w 70"/>
                <a:gd name="T27" fmla="*/ 3 h 57"/>
                <a:gd name="T28" fmla="*/ 27 w 70"/>
                <a:gd name="T29" fmla="*/ 1 h 57"/>
                <a:gd name="T30" fmla="*/ 36 w 70"/>
                <a:gd name="T31" fmla="*/ 2 h 57"/>
                <a:gd name="T32" fmla="*/ 38 w 70"/>
                <a:gd name="T33" fmla="*/ 0 h 57"/>
                <a:gd name="T34" fmla="*/ 45 w 70"/>
                <a:gd name="T35" fmla="*/ 2 h 57"/>
                <a:gd name="T36" fmla="*/ 51 w 70"/>
                <a:gd name="T37" fmla="*/ 1 h 57"/>
                <a:gd name="T38" fmla="*/ 54 w 70"/>
                <a:gd name="T39" fmla="*/ 2 h 57"/>
                <a:gd name="T40" fmla="*/ 66 w 70"/>
                <a:gd name="T41" fmla="*/ 13 h 57"/>
                <a:gd name="T42" fmla="*/ 69 w 70"/>
                <a:gd name="T43" fmla="*/ 28 h 57"/>
                <a:gd name="T44" fmla="*/ 70 w 70"/>
                <a:gd name="T45" fmla="*/ 37 h 57"/>
                <a:gd name="T46" fmla="*/ 66 w 70"/>
                <a:gd name="T47" fmla="*/ 38 h 57"/>
                <a:gd name="T48" fmla="*/ 59 w 70"/>
                <a:gd name="T49" fmla="*/ 45 h 57"/>
                <a:gd name="T50" fmla="*/ 48 w 70"/>
                <a:gd name="T51" fmla="*/ 45 h 57"/>
                <a:gd name="T52" fmla="*/ 38 w 70"/>
                <a:gd name="T53" fmla="*/ 49 h 57"/>
                <a:gd name="T54" fmla="*/ 32 w 70"/>
                <a:gd name="T55" fmla="*/ 55 h 57"/>
                <a:gd name="T56" fmla="*/ 14 w 70"/>
                <a:gd name="T57" fmla="*/ 57 h 5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0"/>
                <a:gd name="T88" fmla="*/ 0 h 57"/>
                <a:gd name="T89" fmla="*/ 70 w 70"/>
                <a:gd name="T90" fmla="*/ 57 h 5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0" h="57">
                  <a:moveTo>
                    <a:pt x="14" y="57"/>
                  </a:moveTo>
                  <a:lnTo>
                    <a:pt x="5" y="48"/>
                  </a:lnTo>
                  <a:lnTo>
                    <a:pt x="0" y="38"/>
                  </a:lnTo>
                  <a:lnTo>
                    <a:pt x="0" y="29"/>
                  </a:lnTo>
                  <a:lnTo>
                    <a:pt x="3" y="9"/>
                  </a:lnTo>
                  <a:lnTo>
                    <a:pt x="4" y="10"/>
                  </a:lnTo>
                  <a:lnTo>
                    <a:pt x="6" y="11"/>
                  </a:lnTo>
                  <a:lnTo>
                    <a:pt x="8" y="9"/>
                  </a:lnTo>
                  <a:lnTo>
                    <a:pt x="8" y="4"/>
                  </a:lnTo>
                  <a:lnTo>
                    <a:pt x="17" y="1"/>
                  </a:lnTo>
                  <a:lnTo>
                    <a:pt x="19" y="2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3" y="3"/>
                  </a:lnTo>
                  <a:lnTo>
                    <a:pt x="27" y="1"/>
                  </a:lnTo>
                  <a:lnTo>
                    <a:pt x="36" y="2"/>
                  </a:lnTo>
                  <a:lnTo>
                    <a:pt x="38" y="0"/>
                  </a:lnTo>
                  <a:lnTo>
                    <a:pt x="45" y="2"/>
                  </a:lnTo>
                  <a:lnTo>
                    <a:pt x="51" y="1"/>
                  </a:lnTo>
                  <a:lnTo>
                    <a:pt x="54" y="2"/>
                  </a:lnTo>
                  <a:lnTo>
                    <a:pt x="66" y="13"/>
                  </a:lnTo>
                  <a:lnTo>
                    <a:pt x="69" y="28"/>
                  </a:lnTo>
                  <a:lnTo>
                    <a:pt x="70" y="37"/>
                  </a:lnTo>
                  <a:lnTo>
                    <a:pt x="66" y="38"/>
                  </a:lnTo>
                  <a:lnTo>
                    <a:pt x="59" y="45"/>
                  </a:lnTo>
                  <a:lnTo>
                    <a:pt x="48" y="45"/>
                  </a:lnTo>
                  <a:lnTo>
                    <a:pt x="38" y="49"/>
                  </a:lnTo>
                  <a:lnTo>
                    <a:pt x="32" y="55"/>
                  </a:lnTo>
                  <a:lnTo>
                    <a:pt x="14" y="57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66" name="Group 219"/>
          <p:cNvGrpSpPr>
            <a:grpSpLocks/>
          </p:cNvGrpSpPr>
          <p:nvPr/>
        </p:nvGrpSpPr>
        <p:grpSpPr bwMode="auto">
          <a:xfrm>
            <a:off x="4973638" y="4425950"/>
            <a:ext cx="434975" cy="301625"/>
            <a:chOff x="2375" y="2788"/>
            <a:chExt cx="274" cy="190"/>
          </a:xfrm>
        </p:grpSpPr>
        <p:sp>
          <p:nvSpPr>
            <p:cNvPr id="34332" name="Freeform 217"/>
            <p:cNvSpPr>
              <a:spLocks/>
            </p:cNvSpPr>
            <p:nvPr/>
          </p:nvSpPr>
          <p:spPr bwMode="auto">
            <a:xfrm>
              <a:off x="2375" y="2788"/>
              <a:ext cx="274" cy="190"/>
            </a:xfrm>
            <a:custGeom>
              <a:avLst/>
              <a:gdLst>
                <a:gd name="T0" fmla="*/ 235 w 274"/>
                <a:gd name="T1" fmla="*/ 186 h 190"/>
                <a:gd name="T2" fmla="*/ 209 w 274"/>
                <a:gd name="T3" fmla="*/ 174 h 190"/>
                <a:gd name="T4" fmla="*/ 195 w 274"/>
                <a:gd name="T5" fmla="*/ 171 h 190"/>
                <a:gd name="T6" fmla="*/ 170 w 274"/>
                <a:gd name="T7" fmla="*/ 181 h 190"/>
                <a:gd name="T8" fmla="*/ 152 w 274"/>
                <a:gd name="T9" fmla="*/ 190 h 190"/>
                <a:gd name="T10" fmla="*/ 108 w 274"/>
                <a:gd name="T11" fmla="*/ 185 h 190"/>
                <a:gd name="T12" fmla="*/ 83 w 274"/>
                <a:gd name="T13" fmla="*/ 183 h 190"/>
                <a:gd name="T14" fmla="*/ 80 w 274"/>
                <a:gd name="T15" fmla="*/ 171 h 190"/>
                <a:gd name="T16" fmla="*/ 69 w 274"/>
                <a:gd name="T17" fmla="*/ 168 h 190"/>
                <a:gd name="T18" fmla="*/ 70 w 274"/>
                <a:gd name="T19" fmla="*/ 154 h 190"/>
                <a:gd name="T20" fmla="*/ 60 w 274"/>
                <a:gd name="T21" fmla="*/ 152 h 190"/>
                <a:gd name="T22" fmla="*/ 37 w 274"/>
                <a:gd name="T23" fmla="*/ 141 h 190"/>
                <a:gd name="T24" fmla="*/ 36 w 274"/>
                <a:gd name="T25" fmla="*/ 128 h 190"/>
                <a:gd name="T26" fmla="*/ 26 w 274"/>
                <a:gd name="T27" fmla="*/ 124 h 190"/>
                <a:gd name="T28" fmla="*/ 19 w 274"/>
                <a:gd name="T29" fmla="*/ 107 h 190"/>
                <a:gd name="T30" fmla="*/ 10 w 274"/>
                <a:gd name="T31" fmla="*/ 95 h 190"/>
                <a:gd name="T32" fmla="*/ 0 w 274"/>
                <a:gd name="T33" fmla="*/ 90 h 190"/>
                <a:gd name="T34" fmla="*/ 19 w 274"/>
                <a:gd name="T35" fmla="*/ 84 h 190"/>
                <a:gd name="T36" fmla="*/ 31 w 274"/>
                <a:gd name="T37" fmla="*/ 71 h 190"/>
                <a:gd name="T38" fmla="*/ 39 w 274"/>
                <a:gd name="T39" fmla="*/ 58 h 190"/>
                <a:gd name="T40" fmla="*/ 48 w 274"/>
                <a:gd name="T41" fmla="*/ 44 h 190"/>
                <a:gd name="T42" fmla="*/ 52 w 274"/>
                <a:gd name="T43" fmla="*/ 33 h 190"/>
                <a:gd name="T44" fmla="*/ 58 w 274"/>
                <a:gd name="T45" fmla="*/ 24 h 190"/>
                <a:gd name="T46" fmla="*/ 69 w 274"/>
                <a:gd name="T47" fmla="*/ 20 h 190"/>
                <a:gd name="T48" fmla="*/ 75 w 274"/>
                <a:gd name="T49" fmla="*/ 13 h 190"/>
                <a:gd name="T50" fmla="*/ 88 w 274"/>
                <a:gd name="T51" fmla="*/ 11 h 190"/>
                <a:gd name="T52" fmla="*/ 110 w 274"/>
                <a:gd name="T53" fmla="*/ 14 h 190"/>
                <a:gd name="T54" fmla="*/ 126 w 274"/>
                <a:gd name="T55" fmla="*/ 11 h 190"/>
                <a:gd name="T56" fmla="*/ 137 w 274"/>
                <a:gd name="T57" fmla="*/ 19 h 190"/>
                <a:gd name="T58" fmla="*/ 154 w 274"/>
                <a:gd name="T59" fmla="*/ 11 h 190"/>
                <a:gd name="T60" fmla="*/ 181 w 274"/>
                <a:gd name="T61" fmla="*/ 0 h 190"/>
                <a:gd name="T62" fmla="*/ 188 w 274"/>
                <a:gd name="T63" fmla="*/ 0 h 190"/>
                <a:gd name="T64" fmla="*/ 201 w 274"/>
                <a:gd name="T65" fmla="*/ 13 h 190"/>
                <a:gd name="T66" fmla="*/ 207 w 274"/>
                <a:gd name="T67" fmla="*/ 29 h 190"/>
                <a:gd name="T68" fmla="*/ 221 w 274"/>
                <a:gd name="T69" fmla="*/ 51 h 190"/>
                <a:gd name="T70" fmla="*/ 229 w 274"/>
                <a:gd name="T71" fmla="*/ 77 h 190"/>
                <a:gd name="T72" fmla="*/ 228 w 274"/>
                <a:gd name="T73" fmla="*/ 95 h 190"/>
                <a:gd name="T74" fmla="*/ 230 w 274"/>
                <a:gd name="T75" fmla="*/ 107 h 190"/>
                <a:gd name="T76" fmla="*/ 230 w 274"/>
                <a:gd name="T77" fmla="*/ 117 h 190"/>
                <a:gd name="T78" fmla="*/ 241 w 274"/>
                <a:gd name="T79" fmla="*/ 125 h 190"/>
                <a:gd name="T80" fmla="*/ 252 w 274"/>
                <a:gd name="T81" fmla="*/ 121 h 190"/>
                <a:gd name="T82" fmla="*/ 265 w 274"/>
                <a:gd name="T83" fmla="*/ 118 h 190"/>
                <a:gd name="T84" fmla="*/ 272 w 274"/>
                <a:gd name="T85" fmla="*/ 120 h 190"/>
                <a:gd name="T86" fmla="*/ 273 w 274"/>
                <a:gd name="T87" fmla="*/ 133 h 190"/>
                <a:gd name="T88" fmla="*/ 270 w 274"/>
                <a:gd name="T89" fmla="*/ 141 h 190"/>
                <a:gd name="T90" fmla="*/ 263 w 274"/>
                <a:gd name="T91" fmla="*/ 145 h 190"/>
                <a:gd name="T92" fmla="*/ 253 w 274"/>
                <a:gd name="T93" fmla="*/ 154 h 190"/>
                <a:gd name="T94" fmla="*/ 248 w 274"/>
                <a:gd name="T95" fmla="*/ 154 h 190"/>
                <a:gd name="T96" fmla="*/ 255 w 274"/>
                <a:gd name="T97" fmla="*/ 144 h 190"/>
                <a:gd name="T98" fmla="*/ 251 w 274"/>
                <a:gd name="T99" fmla="*/ 137 h 190"/>
                <a:gd name="T100" fmla="*/ 246 w 274"/>
                <a:gd name="T101" fmla="*/ 155 h 190"/>
                <a:gd name="T102" fmla="*/ 244 w 274"/>
                <a:gd name="T103" fmla="*/ 166 h 190"/>
                <a:gd name="T104" fmla="*/ 243 w 274"/>
                <a:gd name="T105" fmla="*/ 179 h 19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74"/>
                <a:gd name="T160" fmla="*/ 0 h 190"/>
                <a:gd name="T161" fmla="*/ 274 w 274"/>
                <a:gd name="T162" fmla="*/ 190 h 19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74" h="190">
                  <a:moveTo>
                    <a:pt x="244" y="185"/>
                  </a:moveTo>
                  <a:lnTo>
                    <a:pt x="235" y="186"/>
                  </a:lnTo>
                  <a:lnTo>
                    <a:pt x="224" y="179"/>
                  </a:lnTo>
                  <a:lnTo>
                    <a:pt x="209" y="174"/>
                  </a:lnTo>
                  <a:lnTo>
                    <a:pt x="205" y="172"/>
                  </a:lnTo>
                  <a:lnTo>
                    <a:pt x="195" y="171"/>
                  </a:lnTo>
                  <a:lnTo>
                    <a:pt x="182" y="175"/>
                  </a:lnTo>
                  <a:lnTo>
                    <a:pt x="170" y="181"/>
                  </a:lnTo>
                  <a:lnTo>
                    <a:pt x="161" y="187"/>
                  </a:lnTo>
                  <a:lnTo>
                    <a:pt x="152" y="190"/>
                  </a:lnTo>
                  <a:lnTo>
                    <a:pt x="129" y="186"/>
                  </a:lnTo>
                  <a:lnTo>
                    <a:pt x="108" y="185"/>
                  </a:lnTo>
                  <a:lnTo>
                    <a:pt x="90" y="183"/>
                  </a:lnTo>
                  <a:lnTo>
                    <a:pt x="83" y="183"/>
                  </a:lnTo>
                  <a:lnTo>
                    <a:pt x="77" y="179"/>
                  </a:lnTo>
                  <a:lnTo>
                    <a:pt x="80" y="171"/>
                  </a:lnTo>
                  <a:lnTo>
                    <a:pt x="74" y="169"/>
                  </a:lnTo>
                  <a:lnTo>
                    <a:pt x="69" y="168"/>
                  </a:lnTo>
                  <a:lnTo>
                    <a:pt x="65" y="159"/>
                  </a:lnTo>
                  <a:lnTo>
                    <a:pt x="70" y="154"/>
                  </a:lnTo>
                  <a:lnTo>
                    <a:pt x="66" y="148"/>
                  </a:lnTo>
                  <a:lnTo>
                    <a:pt x="60" y="152"/>
                  </a:lnTo>
                  <a:lnTo>
                    <a:pt x="45" y="147"/>
                  </a:lnTo>
                  <a:lnTo>
                    <a:pt x="37" y="141"/>
                  </a:lnTo>
                  <a:lnTo>
                    <a:pt x="37" y="133"/>
                  </a:lnTo>
                  <a:lnTo>
                    <a:pt x="36" y="128"/>
                  </a:lnTo>
                  <a:lnTo>
                    <a:pt x="31" y="125"/>
                  </a:lnTo>
                  <a:lnTo>
                    <a:pt x="26" y="124"/>
                  </a:lnTo>
                  <a:lnTo>
                    <a:pt x="21" y="117"/>
                  </a:lnTo>
                  <a:lnTo>
                    <a:pt x="19" y="107"/>
                  </a:lnTo>
                  <a:lnTo>
                    <a:pt x="16" y="101"/>
                  </a:lnTo>
                  <a:lnTo>
                    <a:pt x="10" y="95"/>
                  </a:lnTo>
                  <a:lnTo>
                    <a:pt x="3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19" y="84"/>
                  </a:lnTo>
                  <a:lnTo>
                    <a:pt x="27" y="81"/>
                  </a:lnTo>
                  <a:lnTo>
                    <a:pt x="31" y="71"/>
                  </a:lnTo>
                  <a:lnTo>
                    <a:pt x="35" y="66"/>
                  </a:lnTo>
                  <a:lnTo>
                    <a:pt x="39" y="58"/>
                  </a:lnTo>
                  <a:lnTo>
                    <a:pt x="41" y="51"/>
                  </a:lnTo>
                  <a:lnTo>
                    <a:pt x="48" y="44"/>
                  </a:lnTo>
                  <a:lnTo>
                    <a:pt x="49" y="38"/>
                  </a:lnTo>
                  <a:lnTo>
                    <a:pt x="52" y="33"/>
                  </a:lnTo>
                  <a:lnTo>
                    <a:pt x="52" y="29"/>
                  </a:lnTo>
                  <a:lnTo>
                    <a:pt x="58" y="24"/>
                  </a:lnTo>
                  <a:lnTo>
                    <a:pt x="65" y="20"/>
                  </a:lnTo>
                  <a:lnTo>
                    <a:pt x="69" y="20"/>
                  </a:lnTo>
                  <a:lnTo>
                    <a:pt x="73" y="17"/>
                  </a:lnTo>
                  <a:lnTo>
                    <a:pt x="75" y="13"/>
                  </a:lnTo>
                  <a:lnTo>
                    <a:pt x="79" y="11"/>
                  </a:lnTo>
                  <a:lnTo>
                    <a:pt x="88" y="11"/>
                  </a:lnTo>
                  <a:lnTo>
                    <a:pt x="97" y="13"/>
                  </a:lnTo>
                  <a:lnTo>
                    <a:pt x="110" y="14"/>
                  </a:lnTo>
                  <a:lnTo>
                    <a:pt x="118" y="12"/>
                  </a:lnTo>
                  <a:lnTo>
                    <a:pt x="126" y="11"/>
                  </a:lnTo>
                  <a:lnTo>
                    <a:pt x="132" y="17"/>
                  </a:lnTo>
                  <a:lnTo>
                    <a:pt x="137" y="19"/>
                  </a:lnTo>
                  <a:lnTo>
                    <a:pt x="145" y="13"/>
                  </a:lnTo>
                  <a:lnTo>
                    <a:pt x="154" y="11"/>
                  </a:lnTo>
                  <a:lnTo>
                    <a:pt x="163" y="11"/>
                  </a:lnTo>
                  <a:lnTo>
                    <a:pt x="181" y="0"/>
                  </a:lnTo>
                  <a:lnTo>
                    <a:pt x="184" y="1"/>
                  </a:lnTo>
                  <a:lnTo>
                    <a:pt x="188" y="0"/>
                  </a:lnTo>
                  <a:lnTo>
                    <a:pt x="195" y="6"/>
                  </a:lnTo>
                  <a:lnTo>
                    <a:pt x="201" y="13"/>
                  </a:lnTo>
                  <a:lnTo>
                    <a:pt x="206" y="20"/>
                  </a:lnTo>
                  <a:lnTo>
                    <a:pt x="207" y="29"/>
                  </a:lnTo>
                  <a:lnTo>
                    <a:pt x="213" y="39"/>
                  </a:lnTo>
                  <a:lnTo>
                    <a:pt x="221" y="51"/>
                  </a:lnTo>
                  <a:lnTo>
                    <a:pt x="227" y="61"/>
                  </a:lnTo>
                  <a:lnTo>
                    <a:pt x="229" y="77"/>
                  </a:lnTo>
                  <a:lnTo>
                    <a:pt x="229" y="86"/>
                  </a:lnTo>
                  <a:lnTo>
                    <a:pt x="228" y="95"/>
                  </a:lnTo>
                  <a:lnTo>
                    <a:pt x="229" y="101"/>
                  </a:lnTo>
                  <a:lnTo>
                    <a:pt x="230" y="107"/>
                  </a:lnTo>
                  <a:lnTo>
                    <a:pt x="230" y="115"/>
                  </a:lnTo>
                  <a:lnTo>
                    <a:pt x="230" y="117"/>
                  </a:lnTo>
                  <a:lnTo>
                    <a:pt x="235" y="116"/>
                  </a:lnTo>
                  <a:lnTo>
                    <a:pt x="241" y="125"/>
                  </a:lnTo>
                  <a:lnTo>
                    <a:pt x="247" y="125"/>
                  </a:lnTo>
                  <a:lnTo>
                    <a:pt x="252" y="121"/>
                  </a:lnTo>
                  <a:lnTo>
                    <a:pt x="260" y="120"/>
                  </a:lnTo>
                  <a:lnTo>
                    <a:pt x="265" y="118"/>
                  </a:lnTo>
                  <a:lnTo>
                    <a:pt x="269" y="118"/>
                  </a:lnTo>
                  <a:lnTo>
                    <a:pt x="272" y="120"/>
                  </a:lnTo>
                  <a:lnTo>
                    <a:pt x="274" y="123"/>
                  </a:lnTo>
                  <a:lnTo>
                    <a:pt x="273" y="133"/>
                  </a:lnTo>
                  <a:lnTo>
                    <a:pt x="272" y="138"/>
                  </a:lnTo>
                  <a:lnTo>
                    <a:pt x="270" y="141"/>
                  </a:lnTo>
                  <a:lnTo>
                    <a:pt x="268" y="144"/>
                  </a:lnTo>
                  <a:lnTo>
                    <a:pt x="263" y="145"/>
                  </a:lnTo>
                  <a:lnTo>
                    <a:pt x="257" y="149"/>
                  </a:lnTo>
                  <a:lnTo>
                    <a:pt x="253" y="154"/>
                  </a:lnTo>
                  <a:lnTo>
                    <a:pt x="249" y="158"/>
                  </a:lnTo>
                  <a:lnTo>
                    <a:pt x="248" y="154"/>
                  </a:lnTo>
                  <a:lnTo>
                    <a:pt x="252" y="151"/>
                  </a:lnTo>
                  <a:lnTo>
                    <a:pt x="255" y="144"/>
                  </a:lnTo>
                  <a:lnTo>
                    <a:pt x="255" y="137"/>
                  </a:lnTo>
                  <a:lnTo>
                    <a:pt x="251" y="137"/>
                  </a:lnTo>
                  <a:lnTo>
                    <a:pt x="249" y="149"/>
                  </a:lnTo>
                  <a:lnTo>
                    <a:pt x="246" y="155"/>
                  </a:lnTo>
                  <a:lnTo>
                    <a:pt x="245" y="161"/>
                  </a:lnTo>
                  <a:lnTo>
                    <a:pt x="244" y="166"/>
                  </a:lnTo>
                  <a:lnTo>
                    <a:pt x="244" y="175"/>
                  </a:lnTo>
                  <a:lnTo>
                    <a:pt x="243" y="179"/>
                  </a:lnTo>
                  <a:lnTo>
                    <a:pt x="244" y="185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33" name="Freeform 218"/>
            <p:cNvSpPr>
              <a:spLocks/>
            </p:cNvSpPr>
            <p:nvPr/>
          </p:nvSpPr>
          <p:spPr bwMode="auto">
            <a:xfrm>
              <a:off x="2375" y="2788"/>
              <a:ext cx="274" cy="190"/>
            </a:xfrm>
            <a:custGeom>
              <a:avLst/>
              <a:gdLst>
                <a:gd name="T0" fmla="*/ 235 w 274"/>
                <a:gd name="T1" fmla="*/ 186 h 190"/>
                <a:gd name="T2" fmla="*/ 209 w 274"/>
                <a:gd name="T3" fmla="*/ 174 h 190"/>
                <a:gd name="T4" fmla="*/ 195 w 274"/>
                <a:gd name="T5" fmla="*/ 171 h 190"/>
                <a:gd name="T6" fmla="*/ 170 w 274"/>
                <a:gd name="T7" fmla="*/ 181 h 190"/>
                <a:gd name="T8" fmla="*/ 152 w 274"/>
                <a:gd name="T9" fmla="*/ 190 h 190"/>
                <a:gd name="T10" fmla="*/ 108 w 274"/>
                <a:gd name="T11" fmla="*/ 185 h 190"/>
                <a:gd name="T12" fmla="*/ 83 w 274"/>
                <a:gd name="T13" fmla="*/ 183 h 190"/>
                <a:gd name="T14" fmla="*/ 80 w 274"/>
                <a:gd name="T15" fmla="*/ 171 h 190"/>
                <a:gd name="T16" fmla="*/ 69 w 274"/>
                <a:gd name="T17" fmla="*/ 168 h 190"/>
                <a:gd name="T18" fmla="*/ 70 w 274"/>
                <a:gd name="T19" fmla="*/ 154 h 190"/>
                <a:gd name="T20" fmla="*/ 60 w 274"/>
                <a:gd name="T21" fmla="*/ 152 h 190"/>
                <a:gd name="T22" fmla="*/ 37 w 274"/>
                <a:gd name="T23" fmla="*/ 141 h 190"/>
                <a:gd name="T24" fmla="*/ 36 w 274"/>
                <a:gd name="T25" fmla="*/ 128 h 190"/>
                <a:gd name="T26" fmla="*/ 26 w 274"/>
                <a:gd name="T27" fmla="*/ 124 h 190"/>
                <a:gd name="T28" fmla="*/ 19 w 274"/>
                <a:gd name="T29" fmla="*/ 107 h 190"/>
                <a:gd name="T30" fmla="*/ 10 w 274"/>
                <a:gd name="T31" fmla="*/ 95 h 190"/>
                <a:gd name="T32" fmla="*/ 0 w 274"/>
                <a:gd name="T33" fmla="*/ 90 h 190"/>
                <a:gd name="T34" fmla="*/ 19 w 274"/>
                <a:gd name="T35" fmla="*/ 84 h 190"/>
                <a:gd name="T36" fmla="*/ 31 w 274"/>
                <a:gd name="T37" fmla="*/ 71 h 190"/>
                <a:gd name="T38" fmla="*/ 39 w 274"/>
                <a:gd name="T39" fmla="*/ 58 h 190"/>
                <a:gd name="T40" fmla="*/ 48 w 274"/>
                <a:gd name="T41" fmla="*/ 44 h 190"/>
                <a:gd name="T42" fmla="*/ 52 w 274"/>
                <a:gd name="T43" fmla="*/ 33 h 190"/>
                <a:gd name="T44" fmla="*/ 58 w 274"/>
                <a:gd name="T45" fmla="*/ 24 h 190"/>
                <a:gd name="T46" fmla="*/ 69 w 274"/>
                <a:gd name="T47" fmla="*/ 20 h 190"/>
                <a:gd name="T48" fmla="*/ 75 w 274"/>
                <a:gd name="T49" fmla="*/ 13 h 190"/>
                <a:gd name="T50" fmla="*/ 88 w 274"/>
                <a:gd name="T51" fmla="*/ 11 h 190"/>
                <a:gd name="T52" fmla="*/ 110 w 274"/>
                <a:gd name="T53" fmla="*/ 14 h 190"/>
                <a:gd name="T54" fmla="*/ 126 w 274"/>
                <a:gd name="T55" fmla="*/ 11 h 190"/>
                <a:gd name="T56" fmla="*/ 137 w 274"/>
                <a:gd name="T57" fmla="*/ 19 h 190"/>
                <a:gd name="T58" fmla="*/ 154 w 274"/>
                <a:gd name="T59" fmla="*/ 11 h 190"/>
                <a:gd name="T60" fmla="*/ 181 w 274"/>
                <a:gd name="T61" fmla="*/ 0 h 190"/>
                <a:gd name="T62" fmla="*/ 188 w 274"/>
                <a:gd name="T63" fmla="*/ 0 h 190"/>
                <a:gd name="T64" fmla="*/ 201 w 274"/>
                <a:gd name="T65" fmla="*/ 13 h 190"/>
                <a:gd name="T66" fmla="*/ 207 w 274"/>
                <a:gd name="T67" fmla="*/ 29 h 190"/>
                <a:gd name="T68" fmla="*/ 221 w 274"/>
                <a:gd name="T69" fmla="*/ 51 h 190"/>
                <a:gd name="T70" fmla="*/ 229 w 274"/>
                <a:gd name="T71" fmla="*/ 77 h 190"/>
                <a:gd name="T72" fmla="*/ 228 w 274"/>
                <a:gd name="T73" fmla="*/ 95 h 190"/>
                <a:gd name="T74" fmla="*/ 230 w 274"/>
                <a:gd name="T75" fmla="*/ 107 h 190"/>
                <a:gd name="T76" fmla="*/ 230 w 274"/>
                <a:gd name="T77" fmla="*/ 117 h 190"/>
                <a:gd name="T78" fmla="*/ 241 w 274"/>
                <a:gd name="T79" fmla="*/ 125 h 190"/>
                <a:gd name="T80" fmla="*/ 252 w 274"/>
                <a:gd name="T81" fmla="*/ 121 h 190"/>
                <a:gd name="T82" fmla="*/ 265 w 274"/>
                <a:gd name="T83" fmla="*/ 118 h 190"/>
                <a:gd name="T84" fmla="*/ 272 w 274"/>
                <a:gd name="T85" fmla="*/ 120 h 190"/>
                <a:gd name="T86" fmla="*/ 273 w 274"/>
                <a:gd name="T87" fmla="*/ 133 h 190"/>
                <a:gd name="T88" fmla="*/ 270 w 274"/>
                <a:gd name="T89" fmla="*/ 141 h 190"/>
                <a:gd name="T90" fmla="*/ 263 w 274"/>
                <a:gd name="T91" fmla="*/ 145 h 190"/>
                <a:gd name="T92" fmla="*/ 253 w 274"/>
                <a:gd name="T93" fmla="*/ 154 h 190"/>
                <a:gd name="T94" fmla="*/ 248 w 274"/>
                <a:gd name="T95" fmla="*/ 154 h 190"/>
                <a:gd name="T96" fmla="*/ 255 w 274"/>
                <a:gd name="T97" fmla="*/ 144 h 190"/>
                <a:gd name="T98" fmla="*/ 251 w 274"/>
                <a:gd name="T99" fmla="*/ 137 h 190"/>
                <a:gd name="T100" fmla="*/ 246 w 274"/>
                <a:gd name="T101" fmla="*/ 155 h 190"/>
                <a:gd name="T102" fmla="*/ 244 w 274"/>
                <a:gd name="T103" fmla="*/ 166 h 190"/>
                <a:gd name="T104" fmla="*/ 243 w 274"/>
                <a:gd name="T105" fmla="*/ 179 h 19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74"/>
                <a:gd name="T160" fmla="*/ 0 h 190"/>
                <a:gd name="T161" fmla="*/ 274 w 274"/>
                <a:gd name="T162" fmla="*/ 190 h 19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74" h="190">
                  <a:moveTo>
                    <a:pt x="244" y="185"/>
                  </a:moveTo>
                  <a:lnTo>
                    <a:pt x="235" y="186"/>
                  </a:lnTo>
                  <a:lnTo>
                    <a:pt x="224" y="179"/>
                  </a:lnTo>
                  <a:lnTo>
                    <a:pt x="209" y="174"/>
                  </a:lnTo>
                  <a:lnTo>
                    <a:pt x="205" y="172"/>
                  </a:lnTo>
                  <a:lnTo>
                    <a:pt x="195" y="171"/>
                  </a:lnTo>
                  <a:lnTo>
                    <a:pt x="182" y="175"/>
                  </a:lnTo>
                  <a:lnTo>
                    <a:pt x="170" y="181"/>
                  </a:lnTo>
                  <a:lnTo>
                    <a:pt x="161" y="187"/>
                  </a:lnTo>
                  <a:lnTo>
                    <a:pt x="152" y="190"/>
                  </a:lnTo>
                  <a:lnTo>
                    <a:pt x="129" y="186"/>
                  </a:lnTo>
                  <a:lnTo>
                    <a:pt x="108" y="185"/>
                  </a:lnTo>
                  <a:lnTo>
                    <a:pt x="90" y="183"/>
                  </a:lnTo>
                  <a:lnTo>
                    <a:pt x="83" y="183"/>
                  </a:lnTo>
                  <a:lnTo>
                    <a:pt x="77" y="179"/>
                  </a:lnTo>
                  <a:lnTo>
                    <a:pt x="80" y="171"/>
                  </a:lnTo>
                  <a:lnTo>
                    <a:pt x="74" y="169"/>
                  </a:lnTo>
                  <a:lnTo>
                    <a:pt x="69" y="168"/>
                  </a:lnTo>
                  <a:lnTo>
                    <a:pt x="65" y="159"/>
                  </a:lnTo>
                  <a:lnTo>
                    <a:pt x="70" y="154"/>
                  </a:lnTo>
                  <a:lnTo>
                    <a:pt x="66" y="148"/>
                  </a:lnTo>
                  <a:lnTo>
                    <a:pt x="60" y="152"/>
                  </a:lnTo>
                  <a:lnTo>
                    <a:pt x="45" y="147"/>
                  </a:lnTo>
                  <a:lnTo>
                    <a:pt x="37" y="141"/>
                  </a:lnTo>
                  <a:lnTo>
                    <a:pt x="37" y="133"/>
                  </a:lnTo>
                  <a:lnTo>
                    <a:pt x="36" y="128"/>
                  </a:lnTo>
                  <a:lnTo>
                    <a:pt x="31" y="125"/>
                  </a:lnTo>
                  <a:lnTo>
                    <a:pt x="26" y="124"/>
                  </a:lnTo>
                  <a:lnTo>
                    <a:pt x="21" y="117"/>
                  </a:lnTo>
                  <a:lnTo>
                    <a:pt x="19" y="107"/>
                  </a:lnTo>
                  <a:lnTo>
                    <a:pt x="16" y="101"/>
                  </a:lnTo>
                  <a:lnTo>
                    <a:pt x="10" y="95"/>
                  </a:lnTo>
                  <a:lnTo>
                    <a:pt x="3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19" y="84"/>
                  </a:lnTo>
                  <a:lnTo>
                    <a:pt x="27" y="81"/>
                  </a:lnTo>
                  <a:lnTo>
                    <a:pt x="31" y="71"/>
                  </a:lnTo>
                  <a:lnTo>
                    <a:pt x="35" y="66"/>
                  </a:lnTo>
                  <a:lnTo>
                    <a:pt x="39" y="58"/>
                  </a:lnTo>
                  <a:lnTo>
                    <a:pt x="41" y="51"/>
                  </a:lnTo>
                  <a:lnTo>
                    <a:pt x="48" y="44"/>
                  </a:lnTo>
                  <a:lnTo>
                    <a:pt x="49" y="38"/>
                  </a:lnTo>
                  <a:lnTo>
                    <a:pt x="52" y="33"/>
                  </a:lnTo>
                  <a:lnTo>
                    <a:pt x="52" y="29"/>
                  </a:lnTo>
                  <a:lnTo>
                    <a:pt x="58" y="24"/>
                  </a:lnTo>
                  <a:lnTo>
                    <a:pt x="65" y="20"/>
                  </a:lnTo>
                  <a:lnTo>
                    <a:pt x="69" y="20"/>
                  </a:lnTo>
                  <a:lnTo>
                    <a:pt x="73" y="17"/>
                  </a:lnTo>
                  <a:lnTo>
                    <a:pt x="75" y="13"/>
                  </a:lnTo>
                  <a:lnTo>
                    <a:pt x="79" y="11"/>
                  </a:lnTo>
                  <a:lnTo>
                    <a:pt x="88" y="11"/>
                  </a:lnTo>
                  <a:lnTo>
                    <a:pt x="97" y="13"/>
                  </a:lnTo>
                  <a:lnTo>
                    <a:pt x="110" y="14"/>
                  </a:lnTo>
                  <a:lnTo>
                    <a:pt x="118" y="12"/>
                  </a:lnTo>
                  <a:lnTo>
                    <a:pt x="126" y="11"/>
                  </a:lnTo>
                  <a:lnTo>
                    <a:pt x="132" y="17"/>
                  </a:lnTo>
                  <a:lnTo>
                    <a:pt x="137" y="19"/>
                  </a:lnTo>
                  <a:lnTo>
                    <a:pt x="145" y="13"/>
                  </a:lnTo>
                  <a:lnTo>
                    <a:pt x="154" y="11"/>
                  </a:lnTo>
                  <a:lnTo>
                    <a:pt x="163" y="11"/>
                  </a:lnTo>
                  <a:lnTo>
                    <a:pt x="181" y="0"/>
                  </a:lnTo>
                  <a:lnTo>
                    <a:pt x="184" y="1"/>
                  </a:lnTo>
                  <a:lnTo>
                    <a:pt x="188" y="0"/>
                  </a:lnTo>
                  <a:lnTo>
                    <a:pt x="195" y="6"/>
                  </a:lnTo>
                  <a:lnTo>
                    <a:pt x="201" y="13"/>
                  </a:lnTo>
                  <a:lnTo>
                    <a:pt x="206" y="20"/>
                  </a:lnTo>
                  <a:lnTo>
                    <a:pt x="207" y="29"/>
                  </a:lnTo>
                  <a:lnTo>
                    <a:pt x="213" y="39"/>
                  </a:lnTo>
                  <a:lnTo>
                    <a:pt x="221" y="51"/>
                  </a:lnTo>
                  <a:lnTo>
                    <a:pt x="227" y="61"/>
                  </a:lnTo>
                  <a:lnTo>
                    <a:pt x="229" y="77"/>
                  </a:lnTo>
                  <a:lnTo>
                    <a:pt x="229" y="86"/>
                  </a:lnTo>
                  <a:lnTo>
                    <a:pt x="228" y="95"/>
                  </a:lnTo>
                  <a:lnTo>
                    <a:pt x="229" y="101"/>
                  </a:lnTo>
                  <a:lnTo>
                    <a:pt x="230" y="107"/>
                  </a:lnTo>
                  <a:lnTo>
                    <a:pt x="230" y="115"/>
                  </a:lnTo>
                  <a:lnTo>
                    <a:pt x="230" y="117"/>
                  </a:lnTo>
                  <a:lnTo>
                    <a:pt x="235" y="116"/>
                  </a:lnTo>
                  <a:lnTo>
                    <a:pt x="241" y="125"/>
                  </a:lnTo>
                  <a:lnTo>
                    <a:pt x="247" y="125"/>
                  </a:lnTo>
                  <a:lnTo>
                    <a:pt x="252" y="121"/>
                  </a:lnTo>
                  <a:lnTo>
                    <a:pt x="260" y="120"/>
                  </a:lnTo>
                  <a:lnTo>
                    <a:pt x="265" y="118"/>
                  </a:lnTo>
                  <a:lnTo>
                    <a:pt x="269" y="118"/>
                  </a:lnTo>
                  <a:lnTo>
                    <a:pt x="272" y="120"/>
                  </a:lnTo>
                  <a:lnTo>
                    <a:pt x="274" y="123"/>
                  </a:lnTo>
                  <a:lnTo>
                    <a:pt x="273" y="133"/>
                  </a:lnTo>
                  <a:lnTo>
                    <a:pt x="272" y="138"/>
                  </a:lnTo>
                  <a:lnTo>
                    <a:pt x="270" y="141"/>
                  </a:lnTo>
                  <a:lnTo>
                    <a:pt x="268" y="144"/>
                  </a:lnTo>
                  <a:lnTo>
                    <a:pt x="263" y="145"/>
                  </a:lnTo>
                  <a:lnTo>
                    <a:pt x="257" y="149"/>
                  </a:lnTo>
                  <a:lnTo>
                    <a:pt x="253" y="154"/>
                  </a:lnTo>
                  <a:lnTo>
                    <a:pt x="249" y="158"/>
                  </a:lnTo>
                  <a:lnTo>
                    <a:pt x="248" y="154"/>
                  </a:lnTo>
                  <a:lnTo>
                    <a:pt x="252" y="151"/>
                  </a:lnTo>
                  <a:lnTo>
                    <a:pt x="255" y="144"/>
                  </a:lnTo>
                  <a:lnTo>
                    <a:pt x="255" y="137"/>
                  </a:lnTo>
                  <a:lnTo>
                    <a:pt x="251" y="137"/>
                  </a:lnTo>
                  <a:lnTo>
                    <a:pt x="249" y="149"/>
                  </a:lnTo>
                  <a:lnTo>
                    <a:pt x="246" y="155"/>
                  </a:lnTo>
                  <a:lnTo>
                    <a:pt x="245" y="161"/>
                  </a:lnTo>
                  <a:lnTo>
                    <a:pt x="244" y="166"/>
                  </a:lnTo>
                  <a:lnTo>
                    <a:pt x="244" y="175"/>
                  </a:lnTo>
                  <a:lnTo>
                    <a:pt x="243" y="179"/>
                  </a:lnTo>
                  <a:lnTo>
                    <a:pt x="244" y="185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67" name="Group 222"/>
          <p:cNvGrpSpPr>
            <a:grpSpLocks/>
          </p:cNvGrpSpPr>
          <p:nvPr/>
        </p:nvGrpSpPr>
        <p:grpSpPr bwMode="auto">
          <a:xfrm>
            <a:off x="5048250" y="3630613"/>
            <a:ext cx="61913" cy="58737"/>
            <a:chOff x="2422" y="2287"/>
            <a:chExt cx="39" cy="37"/>
          </a:xfrm>
        </p:grpSpPr>
        <p:sp>
          <p:nvSpPr>
            <p:cNvPr id="34330" name="Freeform 220"/>
            <p:cNvSpPr>
              <a:spLocks/>
            </p:cNvSpPr>
            <p:nvPr/>
          </p:nvSpPr>
          <p:spPr bwMode="auto">
            <a:xfrm>
              <a:off x="2422" y="2287"/>
              <a:ext cx="39" cy="37"/>
            </a:xfrm>
            <a:custGeom>
              <a:avLst/>
              <a:gdLst>
                <a:gd name="T0" fmla="*/ 32 w 39"/>
                <a:gd name="T1" fmla="*/ 0 h 37"/>
                <a:gd name="T2" fmla="*/ 30 w 39"/>
                <a:gd name="T3" fmla="*/ 0 h 37"/>
                <a:gd name="T4" fmla="*/ 21 w 39"/>
                <a:gd name="T5" fmla="*/ 1 h 37"/>
                <a:gd name="T6" fmla="*/ 14 w 39"/>
                <a:gd name="T7" fmla="*/ 1 h 37"/>
                <a:gd name="T8" fmla="*/ 11 w 39"/>
                <a:gd name="T9" fmla="*/ 7 h 37"/>
                <a:gd name="T10" fmla="*/ 8 w 39"/>
                <a:gd name="T11" fmla="*/ 6 h 37"/>
                <a:gd name="T12" fmla="*/ 5 w 39"/>
                <a:gd name="T13" fmla="*/ 8 h 37"/>
                <a:gd name="T14" fmla="*/ 0 w 39"/>
                <a:gd name="T15" fmla="*/ 6 h 37"/>
                <a:gd name="T16" fmla="*/ 0 w 39"/>
                <a:gd name="T17" fmla="*/ 18 h 37"/>
                <a:gd name="T18" fmla="*/ 4 w 39"/>
                <a:gd name="T19" fmla="*/ 23 h 37"/>
                <a:gd name="T20" fmla="*/ 7 w 39"/>
                <a:gd name="T21" fmla="*/ 24 h 37"/>
                <a:gd name="T22" fmla="*/ 7 w 39"/>
                <a:gd name="T23" fmla="*/ 28 h 37"/>
                <a:gd name="T24" fmla="*/ 4 w 39"/>
                <a:gd name="T25" fmla="*/ 33 h 37"/>
                <a:gd name="T26" fmla="*/ 4 w 39"/>
                <a:gd name="T27" fmla="*/ 37 h 37"/>
                <a:gd name="T28" fmla="*/ 8 w 39"/>
                <a:gd name="T29" fmla="*/ 31 h 37"/>
                <a:gd name="T30" fmla="*/ 11 w 39"/>
                <a:gd name="T31" fmla="*/ 24 h 37"/>
                <a:gd name="T32" fmla="*/ 13 w 39"/>
                <a:gd name="T33" fmla="*/ 18 h 37"/>
                <a:gd name="T34" fmla="*/ 20 w 39"/>
                <a:gd name="T35" fmla="*/ 21 h 37"/>
                <a:gd name="T36" fmla="*/ 22 w 39"/>
                <a:gd name="T37" fmla="*/ 21 h 37"/>
                <a:gd name="T38" fmla="*/ 25 w 39"/>
                <a:gd name="T39" fmla="*/ 20 h 37"/>
                <a:gd name="T40" fmla="*/ 27 w 39"/>
                <a:gd name="T41" fmla="*/ 16 h 37"/>
                <a:gd name="T42" fmla="*/ 32 w 39"/>
                <a:gd name="T43" fmla="*/ 13 h 37"/>
                <a:gd name="T44" fmla="*/ 35 w 39"/>
                <a:gd name="T45" fmla="*/ 10 h 37"/>
                <a:gd name="T46" fmla="*/ 39 w 39"/>
                <a:gd name="T47" fmla="*/ 9 h 37"/>
                <a:gd name="T48" fmla="*/ 39 w 39"/>
                <a:gd name="T49" fmla="*/ 7 h 37"/>
                <a:gd name="T50" fmla="*/ 34 w 39"/>
                <a:gd name="T51" fmla="*/ 2 h 37"/>
                <a:gd name="T52" fmla="*/ 32 w 39"/>
                <a:gd name="T53" fmla="*/ 1 h 37"/>
                <a:gd name="T54" fmla="*/ 32 w 39"/>
                <a:gd name="T55" fmla="*/ 0 h 3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39"/>
                <a:gd name="T85" fmla="*/ 0 h 37"/>
                <a:gd name="T86" fmla="*/ 39 w 39"/>
                <a:gd name="T87" fmla="*/ 37 h 3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39" h="37">
                  <a:moveTo>
                    <a:pt x="32" y="0"/>
                  </a:moveTo>
                  <a:lnTo>
                    <a:pt x="30" y="0"/>
                  </a:lnTo>
                  <a:lnTo>
                    <a:pt x="21" y="1"/>
                  </a:lnTo>
                  <a:lnTo>
                    <a:pt x="14" y="1"/>
                  </a:lnTo>
                  <a:lnTo>
                    <a:pt x="11" y="7"/>
                  </a:lnTo>
                  <a:lnTo>
                    <a:pt x="8" y="6"/>
                  </a:lnTo>
                  <a:lnTo>
                    <a:pt x="5" y="8"/>
                  </a:lnTo>
                  <a:lnTo>
                    <a:pt x="0" y="6"/>
                  </a:lnTo>
                  <a:lnTo>
                    <a:pt x="0" y="18"/>
                  </a:lnTo>
                  <a:lnTo>
                    <a:pt x="4" y="23"/>
                  </a:lnTo>
                  <a:lnTo>
                    <a:pt x="7" y="24"/>
                  </a:lnTo>
                  <a:lnTo>
                    <a:pt x="7" y="28"/>
                  </a:lnTo>
                  <a:lnTo>
                    <a:pt x="4" y="33"/>
                  </a:lnTo>
                  <a:lnTo>
                    <a:pt x="4" y="37"/>
                  </a:lnTo>
                  <a:lnTo>
                    <a:pt x="8" y="31"/>
                  </a:lnTo>
                  <a:lnTo>
                    <a:pt x="11" y="24"/>
                  </a:lnTo>
                  <a:lnTo>
                    <a:pt x="13" y="18"/>
                  </a:lnTo>
                  <a:lnTo>
                    <a:pt x="20" y="21"/>
                  </a:lnTo>
                  <a:lnTo>
                    <a:pt x="22" y="21"/>
                  </a:lnTo>
                  <a:lnTo>
                    <a:pt x="25" y="20"/>
                  </a:lnTo>
                  <a:lnTo>
                    <a:pt x="27" y="16"/>
                  </a:lnTo>
                  <a:lnTo>
                    <a:pt x="32" y="13"/>
                  </a:lnTo>
                  <a:lnTo>
                    <a:pt x="35" y="10"/>
                  </a:lnTo>
                  <a:lnTo>
                    <a:pt x="39" y="9"/>
                  </a:lnTo>
                  <a:lnTo>
                    <a:pt x="39" y="7"/>
                  </a:lnTo>
                  <a:lnTo>
                    <a:pt x="34" y="2"/>
                  </a:lnTo>
                  <a:lnTo>
                    <a:pt x="32" y="1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6281C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31" name="Freeform 221"/>
            <p:cNvSpPr>
              <a:spLocks/>
            </p:cNvSpPr>
            <p:nvPr/>
          </p:nvSpPr>
          <p:spPr bwMode="auto">
            <a:xfrm>
              <a:off x="2422" y="2287"/>
              <a:ext cx="39" cy="37"/>
            </a:xfrm>
            <a:custGeom>
              <a:avLst/>
              <a:gdLst>
                <a:gd name="T0" fmla="*/ 32 w 39"/>
                <a:gd name="T1" fmla="*/ 0 h 37"/>
                <a:gd name="T2" fmla="*/ 30 w 39"/>
                <a:gd name="T3" fmla="*/ 0 h 37"/>
                <a:gd name="T4" fmla="*/ 21 w 39"/>
                <a:gd name="T5" fmla="*/ 1 h 37"/>
                <a:gd name="T6" fmla="*/ 14 w 39"/>
                <a:gd name="T7" fmla="*/ 1 h 37"/>
                <a:gd name="T8" fmla="*/ 11 w 39"/>
                <a:gd name="T9" fmla="*/ 7 h 37"/>
                <a:gd name="T10" fmla="*/ 8 w 39"/>
                <a:gd name="T11" fmla="*/ 6 h 37"/>
                <a:gd name="T12" fmla="*/ 5 w 39"/>
                <a:gd name="T13" fmla="*/ 8 h 37"/>
                <a:gd name="T14" fmla="*/ 0 w 39"/>
                <a:gd name="T15" fmla="*/ 6 h 37"/>
                <a:gd name="T16" fmla="*/ 0 w 39"/>
                <a:gd name="T17" fmla="*/ 18 h 37"/>
                <a:gd name="T18" fmla="*/ 4 w 39"/>
                <a:gd name="T19" fmla="*/ 23 h 37"/>
                <a:gd name="T20" fmla="*/ 7 w 39"/>
                <a:gd name="T21" fmla="*/ 24 h 37"/>
                <a:gd name="T22" fmla="*/ 7 w 39"/>
                <a:gd name="T23" fmla="*/ 28 h 37"/>
                <a:gd name="T24" fmla="*/ 4 w 39"/>
                <a:gd name="T25" fmla="*/ 33 h 37"/>
                <a:gd name="T26" fmla="*/ 4 w 39"/>
                <a:gd name="T27" fmla="*/ 37 h 37"/>
                <a:gd name="T28" fmla="*/ 8 w 39"/>
                <a:gd name="T29" fmla="*/ 31 h 37"/>
                <a:gd name="T30" fmla="*/ 11 w 39"/>
                <a:gd name="T31" fmla="*/ 24 h 37"/>
                <a:gd name="T32" fmla="*/ 13 w 39"/>
                <a:gd name="T33" fmla="*/ 18 h 37"/>
                <a:gd name="T34" fmla="*/ 20 w 39"/>
                <a:gd name="T35" fmla="*/ 21 h 37"/>
                <a:gd name="T36" fmla="*/ 22 w 39"/>
                <a:gd name="T37" fmla="*/ 21 h 37"/>
                <a:gd name="T38" fmla="*/ 25 w 39"/>
                <a:gd name="T39" fmla="*/ 20 h 37"/>
                <a:gd name="T40" fmla="*/ 27 w 39"/>
                <a:gd name="T41" fmla="*/ 16 h 37"/>
                <a:gd name="T42" fmla="*/ 32 w 39"/>
                <a:gd name="T43" fmla="*/ 13 h 37"/>
                <a:gd name="T44" fmla="*/ 35 w 39"/>
                <a:gd name="T45" fmla="*/ 10 h 37"/>
                <a:gd name="T46" fmla="*/ 39 w 39"/>
                <a:gd name="T47" fmla="*/ 9 h 37"/>
                <a:gd name="T48" fmla="*/ 39 w 39"/>
                <a:gd name="T49" fmla="*/ 7 h 37"/>
                <a:gd name="T50" fmla="*/ 34 w 39"/>
                <a:gd name="T51" fmla="*/ 2 h 37"/>
                <a:gd name="T52" fmla="*/ 32 w 39"/>
                <a:gd name="T53" fmla="*/ 1 h 37"/>
                <a:gd name="T54" fmla="*/ 32 w 39"/>
                <a:gd name="T55" fmla="*/ 0 h 3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39"/>
                <a:gd name="T85" fmla="*/ 0 h 37"/>
                <a:gd name="T86" fmla="*/ 39 w 39"/>
                <a:gd name="T87" fmla="*/ 37 h 3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39" h="37">
                  <a:moveTo>
                    <a:pt x="32" y="0"/>
                  </a:moveTo>
                  <a:lnTo>
                    <a:pt x="30" y="0"/>
                  </a:lnTo>
                  <a:lnTo>
                    <a:pt x="21" y="1"/>
                  </a:lnTo>
                  <a:lnTo>
                    <a:pt x="14" y="1"/>
                  </a:lnTo>
                  <a:lnTo>
                    <a:pt x="11" y="7"/>
                  </a:lnTo>
                  <a:lnTo>
                    <a:pt x="8" y="6"/>
                  </a:lnTo>
                  <a:lnTo>
                    <a:pt x="5" y="8"/>
                  </a:lnTo>
                  <a:lnTo>
                    <a:pt x="0" y="6"/>
                  </a:lnTo>
                  <a:lnTo>
                    <a:pt x="0" y="18"/>
                  </a:lnTo>
                  <a:lnTo>
                    <a:pt x="4" y="23"/>
                  </a:lnTo>
                  <a:lnTo>
                    <a:pt x="7" y="24"/>
                  </a:lnTo>
                  <a:lnTo>
                    <a:pt x="7" y="28"/>
                  </a:lnTo>
                  <a:lnTo>
                    <a:pt x="4" y="33"/>
                  </a:lnTo>
                  <a:lnTo>
                    <a:pt x="4" y="37"/>
                  </a:lnTo>
                  <a:lnTo>
                    <a:pt x="8" y="31"/>
                  </a:lnTo>
                  <a:lnTo>
                    <a:pt x="11" y="24"/>
                  </a:lnTo>
                  <a:lnTo>
                    <a:pt x="13" y="18"/>
                  </a:lnTo>
                  <a:lnTo>
                    <a:pt x="20" y="21"/>
                  </a:lnTo>
                  <a:lnTo>
                    <a:pt x="22" y="21"/>
                  </a:lnTo>
                  <a:lnTo>
                    <a:pt x="25" y="20"/>
                  </a:lnTo>
                  <a:lnTo>
                    <a:pt x="27" y="16"/>
                  </a:lnTo>
                  <a:lnTo>
                    <a:pt x="32" y="13"/>
                  </a:lnTo>
                  <a:lnTo>
                    <a:pt x="35" y="10"/>
                  </a:lnTo>
                  <a:lnTo>
                    <a:pt x="39" y="9"/>
                  </a:lnTo>
                  <a:lnTo>
                    <a:pt x="39" y="7"/>
                  </a:lnTo>
                  <a:lnTo>
                    <a:pt x="34" y="2"/>
                  </a:lnTo>
                  <a:lnTo>
                    <a:pt x="32" y="1"/>
                  </a:lnTo>
                  <a:lnTo>
                    <a:pt x="32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68" name="Group 225"/>
          <p:cNvGrpSpPr>
            <a:grpSpLocks/>
          </p:cNvGrpSpPr>
          <p:nvPr/>
        </p:nvGrpSpPr>
        <p:grpSpPr bwMode="auto">
          <a:xfrm>
            <a:off x="5054600" y="3590925"/>
            <a:ext cx="44450" cy="31750"/>
            <a:chOff x="2426" y="2262"/>
            <a:chExt cx="28" cy="20"/>
          </a:xfrm>
        </p:grpSpPr>
        <p:sp>
          <p:nvSpPr>
            <p:cNvPr id="34328" name="Freeform 223"/>
            <p:cNvSpPr>
              <a:spLocks/>
            </p:cNvSpPr>
            <p:nvPr/>
          </p:nvSpPr>
          <p:spPr bwMode="auto">
            <a:xfrm>
              <a:off x="2426" y="2262"/>
              <a:ext cx="28" cy="20"/>
            </a:xfrm>
            <a:custGeom>
              <a:avLst/>
              <a:gdLst>
                <a:gd name="T0" fmla="*/ 9 w 28"/>
                <a:gd name="T1" fmla="*/ 8 h 20"/>
                <a:gd name="T2" fmla="*/ 2 w 28"/>
                <a:gd name="T3" fmla="*/ 8 h 20"/>
                <a:gd name="T4" fmla="*/ 0 w 28"/>
                <a:gd name="T5" fmla="*/ 10 h 20"/>
                <a:gd name="T6" fmla="*/ 2 w 28"/>
                <a:gd name="T7" fmla="*/ 11 h 20"/>
                <a:gd name="T8" fmla="*/ 7 w 28"/>
                <a:gd name="T9" fmla="*/ 11 h 20"/>
                <a:gd name="T10" fmla="*/ 10 w 28"/>
                <a:gd name="T11" fmla="*/ 15 h 20"/>
                <a:gd name="T12" fmla="*/ 11 w 28"/>
                <a:gd name="T13" fmla="*/ 20 h 20"/>
                <a:gd name="T14" fmla="*/ 15 w 28"/>
                <a:gd name="T15" fmla="*/ 20 h 20"/>
                <a:gd name="T16" fmla="*/ 18 w 28"/>
                <a:gd name="T17" fmla="*/ 15 h 20"/>
                <a:gd name="T18" fmla="*/ 28 w 28"/>
                <a:gd name="T19" fmla="*/ 12 h 20"/>
                <a:gd name="T20" fmla="*/ 28 w 28"/>
                <a:gd name="T21" fmla="*/ 7 h 20"/>
                <a:gd name="T22" fmla="*/ 25 w 28"/>
                <a:gd name="T23" fmla="*/ 5 h 20"/>
                <a:gd name="T24" fmla="*/ 21 w 28"/>
                <a:gd name="T25" fmla="*/ 3 h 20"/>
                <a:gd name="T26" fmla="*/ 18 w 28"/>
                <a:gd name="T27" fmla="*/ 1 h 20"/>
                <a:gd name="T28" fmla="*/ 15 w 28"/>
                <a:gd name="T29" fmla="*/ 0 h 20"/>
                <a:gd name="T30" fmla="*/ 12 w 28"/>
                <a:gd name="T31" fmla="*/ 6 h 20"/>
                <a:gd name="T32" fmla="*/ 9 w 28"/>
                <a:gd name="T33" fmla="*/ 8 h 2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8"/>
                <a:gd name="T52" fmla="*/ 0 h 20"/>
                <a:gd name="T53" fmla="*/ 28 w 28"/>
                <a:gd name="T54" fmla="*/ 20 h 2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8" h="20">
                  <a:moveTo>
                    <a:pt x="9" y="8"/>
                  </a:moveTo>
                  <a:lnTo>
                    <a:pt x="2" y="8"/>
                  </a:lnTo>
                  <a:lnTo>
                    <a:pt x="0" y="10"/>
                  </a:lnTo>
                  <a:lnTo>
                    <a:pt x="2" y="11"/>
                  </a:lnTo>
                  <a:lnTo>
                    <a:pt x="7" y="11"/>
                  </a:lnTo>
                  <a:lnTo>
                    <a:pt x="10" y="15"/>
                  </a:lnTo>
                  <a:lnTo>
                    <a:pt x="11" y="20"/>
                  </a:lnTo>
                  <a:lnTo>
                    <a:pt x="15" y="20"/>
                  </a:lnTo>
                  <a:lnTo>
                    <a:pt x="18" y="15"/>
                  </a:lnTo>
                  <a:lnTo>
                    <a:pt x="28" y="12"/>
                  </a:lnTo>
                  <a:lnTo>
                    <a:pt x="28" y="7"/>
                  </a:lnTo>
                  <a:lnTo>
                    <a:pt x="25" y="5"/>
                  </a:lnTo>
                  <a:lnTo>
                    <a:pt x="21" y="3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6"/>
                  </a:lnTo>
                  <a:lnTo>
                    <a:pt x="9" y="8"/>
                  </a:lnTo>
                  <a:close/>
                </a:path>
              </a:pathLst>
            </a:custGeom>
            <a:solidFill>
              <a:srgbClr val="6281C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29" name="Freeform 224"/>
            <p:cNvSpPr>
              <a:spLocks/>
            </p:cNvSpPr>
            <p:nvPr/>
          </p:nvSpPr>
          <p:spPr bwMode="auto">
            <a:xfrm>
              <a:off x="2426" y="2262"/>
              <a:ext cx="28" cy="20"/>
            </a:xfrm>
            <a:custGeom>
              <a:avLst/>
              <a:gdLst>
                <a:gd name="T0" fmla="*/ 9 w 28"/>
                <a:gd name="T1" fmla="*/ 8 h 20"/>
                <a:gd name="T2" fmla="*/ 2 w 28"/>
                <a:gd name="T3" fmla="*/ 8 h 20"/>
                <a:gd name="T4" fmla="*/ 0 w 28"/>
                <a:gd name="T5" fmla="*/ 10 h 20"/>
                <a:gd name="T6" fmla="*/ 2 w 28"/>
                <a:gd name="T7" fmla="*/ 11 h 20"/>
                <a:gd name="T8" fmla="*/ 7 w 28"/>
                <a:gd name="T9" fmla="*/ 11 h 20"/>
                <a:gd name="T10" fmla="*/ 10 w 28"/>
                <a:gd name="T11" fmla="*/ 15 h 20"/>
                <a:gd name="T12" fmla="*/ 11 w 28"/>
                <a:gd name="T13" fmla="*/ 20 h 20"/>
                <a:gd name="T14" fmla="*/ 15 w 28"/>
                <a:gd name="T15" fmla="*/ 20 h 20"/>
                <a:gd name="T16" fmla="*/ 18 w 28"/>
                <a:gd name="T17" fmla="*/ 15 h 20"/>
                <a:gd name="T18" fmla="*/ 28 w 28"/>
                <a:gd name="T19" fmla="*/ 12 h 20"/>
                <a:gd name="T20" fmla="*/ 28 w 28"/>
                <a:gd name="T21" fmla="*/ 7 h 20"/>
                <a:gd name="T22" fmla="*/ 25 w 28"/>
                <a:gd name="T23" fmla="*/ 5 h 20"/>
                <a:gd name="T24" fmla="*/ 21 w 28"/>
                <a:gd name="T25" fmla="*/ 3 h 20"/>
                <a:gd name="T26" fmla="*/ 18 w 28"/>
                <a:gd name="T27" fmla="*/ 1 h 20"/>
                <a:gd name="T28" fmla="*/ 15 w 28"/>
                <a:gd name="T29" fmla="*/ 0 h 20"/>
                <a:gd name="T30" fmla="*/ 12 w 28"/>
                <a:gd name="T31" fmla="*/ 6 h 20"/>
                <a:gd name="T32" fmla="*/ 9 w 28"/>
                <a:gd name="T33" fmla="*/ 8 h 2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8"/>
                <a:gd name="T52" fmla="*/ 0 h 20"/>
                <a:gd name="T53" fmla="*/ 28 w 28"/>
                <a:gd name="T54" fmla="*/ 20 h 2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8" h="20">
                  <a:moveTo>
                    <a:pt x="9" y="8"/>
                  </a:moveTo>
                  <a:lnTo>
                    <a:pt x="2" y="8"/>
                  </a:lnTo>
                  <a:lnTo>
                    <a:pt x="0" y="10"/>
                  </a:lnTo>
                  <a:lnTo>
                    <a:pt x="2" y="11"/>
                  </a:lnTo>
                  <a:lnTo>
                    <a:pt x="7" y="11"/>
                  </a:lnTo>
                  <a:lnTo>
                    <a:pt x="10" y="15"/>
                  </a:lnTo>
                  <a:lnTo>
                    <a:pt x="11" y="20"/>
                  </a:lnTo>
                  <a:lnTo>
                    <a:pt x="15" y="20"/>
                  </a:lnTo>
                  <a:lnTo>
                    <a:pt x="18" y="15"/>
                  </a:lnTo>
                  <a:lnTo>
                    <a:pt x="28" y="12"/>
                  </a:lnTo>
                  <a:lnTo>
                    <a:pt x="28" y="7"/>
                  </a:lnTo>
                  <a:lnTo>
                    <a:pt x="25" y="5"/>
                  </a:lnTo>
                  <a:lnTo>
                    <a:pt x="21" y="3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6"/>
                  </a:lnTo>
                  <a:lnTo>
                    <a:pt x="9" y="8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69" name="Group 228"/>
          <p:cNvGrpSpPr>
            <a:grpSpLocks/>
          </p:cNvGrpSpPr>
          <p:nvPr/>
        </p:nvGrpSpPr>
        <p:grpSpPr bwMode="auto">
          <a:xfrm>
            <a:off x="5119688" y="3538538"/>
            <a:ext cx="222250" cy="182562"/>
            <a:chOff x="2467" y="2229"/>
            <a:chExt cx="140" cy="115"/>
          </a:xfrm>
        </p:grpSpPr>
        <p:sp>
          <p:nvSpPr>
            <p:cNvPr id="34326" name="Freeform 226"/>
            <p:cNvSpPr>
              <a:spLocks/>
            </p:cNvSpPr>
            <p:nvPr/>
          </p:nvSpPr>
          <p:spPr bwMode="auto">
            <a:xfrm>
              <a:off x="2467" y="2229"/>
              <a:ext cx="140" cy="115"/>
            </a:xfrm>
            <a:custGeom>
              <a:avLst/>
              <a:gdLst>
                <a:gd name="T0" fmla="*/ 65 w 140"/>
                <a:gd name="T1" fmla="*/ 0 h 115"/>
                <a:gd name="T2" fmla="*/ 73 w 140"/>
                <a:gd name="T3" fmla="*/ 3 h 115"/>
                <a:gd name="T4" fmla="*/ 84 w 140"/>
                <a:gd name="T5" fmla="*/ 7 h 115"/>
                <a:gd name="T6" fmla="*/ 97 w 140"/>
                <a:gd name="T7" fmla="*/ 11 h 115"/>
                <a:gd name="T8" fmla="*/ 126 w 140"/>
                <a:gd name="T9" fmla="*/ 14 h 115"/>
                <a:gd name="T10" fmla="*/ 133 w 140"/>
                <a:gd name="T11" fmla="*/ 8 h 115"/>
                <a:gd name="T12" fmla="*/ 139 w 140"/>
                <a:gd name="T13" fmla="*/ 12 h 115"/>
                <a:gd name="T14" fmla="*/ 139 w 140"/>
                <a:gd name="T15" fmla="*/ 20 h 115"/>
                <a:gd name="T16" fmla="*/ 128 w 140"/>
                <a:gd name="T17" fmla="*/ 34 h 115"/>
                <a:gd name="T18" fmla="*/ 127 w 140"/>
                <a:gd name="T19" fmla="*/ 48 h 115"/>
                <a:gd name="T20" fmla="*/ 126 w 140"/>
                <a:gd name="T21" fmla="*/ 61 h 115"/>
                <a:gd name="T22" fmla="*/ 128 w 140"/>
                <a:gd name="T23" fmla="*/ 67 h 115"/>
                <a:gd name="T24" fmla="*/ 122 w 140"/>
                <a:gd name="T25" fmla="*/ 75 h 115"/>
                <a:gd name="T26" fmla="*/ 118 w 140"/>
                <a:gd name="T27" fmla="*/ 81 h 115"/>
                <a:gd name="T28" fmla="*/ 124 w 140"/>
                <a:gd name="T29" fmla="*/ 85 h 115"/>
                <a:gd name="T30" fmla="*/ 137 w 140"/>
                <a:gd name="T31" fmla="*/ 94 h 115"/>
                <a:gd name="T32" fmla="*/ 131 w 140"/>
                <a:gd name="T33" fmla="*/ 102 h 115"/>
                <a:gd name="T34" fmla="*/ 122 w 140"/>
                <a:gd name="T35" fmla="*/ 92 h 115"/>
                <a:gd name="T36" fmla="*/ 120 w 140"/>
                <a:gd name="T37" fmla="*/ 103 h 115"/>
                <a:gd name="T38" fmla="*/ 118 w 140"/>
                <a:gd name="T39" fmla="*/ 115 h 115"/>
                <a:gd name="T40" fmla="*/ 109 w 140"/>
                <a:gd name="T41" fmla="*/ 113 h 115"/>
                <a:gd name="T42" fmla="*/ 96 w 140"/>
                <a:gd name="T43" fmla="*/ 115 h 115"/>
                <a:gd name="T44" fmla="*/ 81 w 140"/>
                <a:gd name="T45" fmla="*/ 105 h 115"/>
                <a:gd name="T46" fmla="*/ 70 w 140"/>
                <a:gd name="T47" fmla="*/ 97 h 115"/>
                <a:gd name="T48" fmla="*/ 55 w 140"/>
                <a:gd name="T49" fmla="*/ 90 h 115"/>
                <a:gd name="T50" fmla="*/ 34 w 140"/>
                <a:gd name="T51" fmla="*/ 97 h 115"/>
                <a:gd name="T52" fmla="*/ 27 w 140"/>
                <a:gd name="T53" fmla="*/ 101 h 115"/>
                <a:gd name="T54" fmla="*/ 30 w 140"/>
                <a:gd name="T55" fmla="*/ 81 h 115"/>
                <a:gd name="T56" fmla="*/ 32 w 140"/>
                <a:gd name="T57" fmla="*/ 73 h 115"/>
                <a:gd name="T58" fmla="*/ 22 w 140"/>
                <a:gd name="T59" fmla="*/ 76 h 115"/>
                <a:gd name="T60" fmla="*/ 15 w 140"/>
                <a:gd name="T61" fmla="*/ 74 h 115"/>
                <a:gd name="T62" fmla="*/ 8 w 140"/>
                <a:gd name="T63" fmla="*/ 73 h 115"/>
                <a:gd name="T64" fmla="*/ 3 w 140"/>
                <a:gd name="T65" fmla="*/ 63 h 115"/>
                <a:gd name="T66" fmla="*/ 4 w 140"/>
                <a:gd name="T67" fmla="*/ 52 h 115"/>
                <a:gd name="T68" fmla="*/ 9 w 140"/>
                <a:gd name="T69" fmla="*/ 49 h 115"/>
                <a:gd name="T70" fmla="*/ 2 w 140"/>
                <a:gd name="T71" fmla="*/ 41 h 115"/>
                <a:gd name="T72" fmla="*/ 3 w 140"/>
                <a:gd name="T73" fmla="*/ 37 h 115"/>
                <a:gd name="T74" fmla="*/ 2 w 140"/>
                <a:gd name="T75" fmla="*/ 26 h 115"/>
                <a:gd name="T76" fmla="*/ 19 w 140"/>
                <a:gd name="T77" fmla="*/ 20 h 115"/>
                <a:gd name="T78" fmla="*/ 21 w 140"/>
                <a:gd name="T79" fmla="*/ 16 h 115"/>
                <a:gd name="T80" fmla="*/ 29 w 140"/>
                <a:gd name="T81" fmla="*/ 11 h 115"/>
                <a:gd name="T82" fmla="*/ 41 w 140"/>
                <a:gd name="T83" fmla="*/ 7 h 115"/>
                <a:gd name="T84" fmla="*/ 57 w 140"/>
                <a:gd name="T85" fmla="*/ 9 h 115"/>
                <a:gd name="T86" fmla="*/ 59 w 140"/>
                <a:gd name="T87" fmla="*/ 3 h 11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15"/>
                <a:gd name="T134" fmla="*/ 140 w 140"/>
                <a:gd name="T135" fmla="*/ 115 h 11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15">
                  <a:moveTo>
                    <a:pt x="63" y="3"/>
                  </a:moveTo>
                  <a:lnTo>
                    <a:pt x="65" y="0"/>
                  </a:lnTo>
                  <a:lnTo>
                    <a:pt x="69" y="5"/>
                  </a:lnTo>
                  <a:lnTo>
                    <a:pt x="73" y="3"/>
                  </a:lnTo>
                  <a:lnTo>
                    <a:pt x="77" y="4"/>
                  </a:lnTo>
                  <a:lnTo>
                    <a:pt x="84" y="7"/>
                  </a:lnTo>
                  <a:lnTo>
                    <a:pt x="94" y="8"/>
                  </a:lnTo>
                  <a:lnTo>
                    <a:pt x="97" y="11"/>
                  </a:lnTo>
                  <a:lnTo>
                    <a:pt x="103" y="13"/>
                  </a:lnTo>
                  <a:lnTo>
                    <a:pt x="126" y="14"/>
                  </a:lnTo>
                  <a:lnTo>
                    <a:pt x="131" y="12"/>
                  </a:lnTo>
                  <a:lnTo>
                    <a:pt x="133" y="8"/>
                  </a:lnTo>
                  <a:lnTo>
                    <a:pt x="136" y="8"/>
                  </a:lnTo>
                  <a:lnTo>
                    <a:pt x="139" y="12"/>
                  </a:lnTo>
                  <a:lnTo>
                    <a:pt x="140" y="16"/>
                  </a:lnTo>
                  <a:lnTo>
                    <a:pt x="139" y="20"/>
                  </a:lnTo>
                  <a:lnTo>
                    <a:pt x="133" y="26"/>
                  </a:lnTo>
                  <a:lnTo>
                    <a:pt x="128" y="34"/>
                  </a:lnTo>
                  <a:lnTo>
                    <a:pt x="125" y="41"/>
                  </a:lnTo>
                  <a:lnTo>
                    <a:pt x="127" y="48"/>
                  </a:lnTo>
                  <a:lnTo>
                    <a:pt x="125" y="57"/>
                  </a:lnTo>
                  <a:lnTo>
                    <a:pt x="126" y="61"/>
                  </a:lnTo>
                  <a:lnTo>
                    <a:pt x="128" y="63"/>
                  </a:lnTo>
                  <a:lnTo>
                    <a:pt x="128" y="67"/>
                  </a:lnTo>
                  <a:lnTo>
                    <a:pt x="126" y="70"/>
                  </a:lnTo>
                  <a:lnTo>
                    <a:pt x="122" y="75"/>
                  </a:lnTo>
                  <a:lnTo>
                    <a:pt x="119" y="77"/>
                  </a:lnTo>
                  <a:lnTo>
                    <a:pt x="118" y="81"/>
                  </a:lnTo>
                  <a:lnTo>
                    <a:pt x="119" y="85"/>
                  </a:lnTo>
                  <a:lnTo>
                    <a:pt x="124" y="85"/>
                  </a:lnTo>
                  <a:lnTo>
                    <a:pt x="131" y="84"/>
                  </a:lnTo>
                  <a:lnTo>
                    <a:pt x="137" y="94"/>
                  </a:lnTo>
                  <a:lnTo>
                    <a:pt x="136" y="102"/>
                  </a:lnTo>
                  <a:lnTo>
                    <a:pt x="131" y="102"/>
                  </a:lnTo>
                  <a:lnTo>
                    <a:pt x="127" y="96"/>
                  </a:lnTo>
                  <a:lnTo>
                    <a:pt x="122" y="92"/>
                  </a:lnTo>
                  <a:lnTo>
                    <a:pt x="123" y="100"/>
                  </a:lnTo>
                  <a:lnTo>
                    <a:pt x="120" y="103"/>
                  </a:lnTo>
                  <a:lnTo>
                    <a:pt x="117" y="111"/>
                  </a:lnTo>
                  <a:lnTo>
                    <a:pt x="118" y="115"/>
                  </a:lnTo>
                  <a:lnTo>
                    <a:pt x="117" y="115"/>
                  </a:lnTo>
                  <a:lnTo>
                    <a:pt x="109" y="113"/>
                  </a:lnTo>
                  <a:lnTo>
                    <a:pt x="100" y="113"/>
                  </a:lnTo>
                  <a:lnTo>
                    <a:pt x="96" y="115"/>
                  </a:lnTo>
                  <a:lnTo>
                    <a:pt x="92" y="115"/>
                  </a:lnTo>
                  <a:lnTo>
                    <a:pt x="81" y="105"/>
                  </a:lnTo>
                  <a:lnTo>
                    <a:pt x="78" y="100"/>
                  </a:lnTo>
                  <a:lnTo>
                    <a:pt x="70" y="97"/>
                  </a:lnTo>
                  <a:lnTo>
                    <a:pt x="63" y="92"/>
                  </a:lnTo>
                  <a:lnTo>
                    <a:pt x="55" y="90"/>
                  </a:lnTo>
                  <a:lnTo>
                    <a:pt x="41" y="92"/>
                  </a:lnTo>
                  <a:lnTo>
                    <a:pt x="34" y="97"/>
                  </a:lnTo>
                  <a:lnTo>
                    <a:pt x="30" y="98"/>
                  </a:lnTo>
                  <a:lnTo>
                    <a:pt x="27" y="101"/>
                  </a:lnTo>
                  <a:lnTo>
                    <a:pt x="28" y="94"/>
                  </a:lnTo>
                  <a:lnTo>
                    <a:pt x="30" y="81"/>
                  </a:lnTo>
                  <a:lnTo>
                    <a:pt x="32" y="75"/>
                  </a:lnTo>
                  <a:lnTo>
                    <a:pt x="32" y="73"/>
                  </a:lnTo>
                  <a:lnTo>
                    <a:pt x="24" y="72"/>
                  </a:lnTo>
                  <a:lnTo>
                    <a:pt x="22" y="76"/>
                  </a:lnTo>
                  <a:lnTo>
                    <a:pt x="18" y="78"/>
                  </a:lnTo>
                  <a:lnTo>
                    <a:pt x="15" y="74"/>
                  </a:lnTo>
                  <a:lnTo>
                    <a:pt x="12" y="74"/>
                  </a:lnTo>
                  <a:lnTo>
                    <a:pt x="8" y="73"/>
                  </a:lnTo>
                  <a:lnTo>
                    <a:pt x="6" y="67"/>
                  </a:lnTo>
                  <a:lnTo>
                    <a:pt x="3" y="63"/>
                  </a:lnTo>
                  <a:lnTo>
                    <a:pt x="2" y="57"/>
                  </a:lnTo>
                  <a:lnTo>
                    <a:pt x="4" y="52"/>
                  </a:lnTo>
                  <a:lnTo>
                    <a:pt x="10" y="51"/>
                  </a:lnTo>
                  <a:lnTo>
                    <a:pt x="9" y="49"/>
                  </a:lnTo>
                  <a:lnTo>
                    <a:pt x="2" y="48"/>
                  </a:lnTo>
                  <a:lnTo>
                    <a:pt x="2" y="41"/>
                  </a:lnTo>
                  <a:lnTo>
                    <a:pt x="4" y="40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2" y="26"/>
                  </a:lnTo>
                  <a:lnTo>
                    <a:pt x="4" y="24"/>
                  </a:lnTo>
                  <a:lnTo>
                    <a:pt x="19" y="20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25" y="15"/>
                  </a:lnTo>
                  <a:lnTo>
                    <a:pt x="29" y="11"/>
                  </a:lnTo>
                  <a:lnTo>
                    <a:pt x="39" y="12"/>
                  </a:lnTo>
                  <a:lnTo>
                    <a:pt x="41" y="7"/>
                  </a:lnTo>
                  <a:lnTo>
                    <a:pt x="46" y="10"/>
                  </a:lnTo>
                  <a:lnTo>
                    <a:pt x="57" y="9"/>
                  </a:lnTo>
                  <a:lnTo>
                    <a:pt x="60" y="7"/>
                  </a:lnTo>
                  <a:lnTo>
                    <a:pt x="59" y="3"/>
                  </a:lnTo>
                  <a:lnTo>
                    <a:pt x="63" y="3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27" name="Freeform 227"/>
            <p:cNvSpPr>
              <a:spLocks/>
            </p:cNvSpPr>
            <p:nvPr/>
          </p:nvSpPr>
          <p:spPr bwMode="auto">
            <a:xfrm>
              <a:off x="2467" y="2229"/>
              <a:ext cx="140" cy="115"/>
            </a:xfrm>
            <a:custGeom>
              <a:avLst/>
              <a:gdLst>
                <a:gd name="T0" fmla="*/ 65 w 140"/>
                <a:gd name="T1" fmla="*/ 0 h 115"/>
                <a:gd name="T2" fmla="*/ 73 w 140"/>
                <a:gd name="T3" fmla="*/ 3 h 115"/>
                <a:gd name="T4" fmla="*/ 84 w 140"/>
                <a:gd name="T5" fmla="*/ 7 h 115"/>
                <a:gd name="T6" fmla="*/ 97 w 140"/>
                <a:gd name="T7" fmla="*/ 11 h 115"/>
                <a:gd name="T8" fmla="*/ 126 w 140"/>
                <a:gd name="T9" fmla="*/ 14 h 115"/>
                <a:gd name="T10" fmla="*/ 133 w 140"/>
                <a:gd name="T11" fmla="*/ 8 h 115"/>
                <a:gd name="T12" fmla="*/ 139 w 140"/>
                <a:gd name="T13" fmla="*/ 12 h 115"/>
                <a:gd name="T14" fmla="*/ 139 w 140"/>
                <a:gd name="T15" fmla="*/ 20 h 115"/>
                <a:gd name="T16" fmla="*/ 128 w 140"/>
                <a:gd name="T17" fmla="*/ 34 h 115"/>
                <a:gd name="T18" fmla="*/ 127 w 140"/>
                <a:gd name="T19" fmla="*/ 48 h 115"/>
                <a:gd name="T20" fmla="*/ 126 w 140"/>
                <a:gd name="T21" fmla="*/ 61 h 115"/>
                <a:gd name="T22" fmla="*/ 128 w 140"/>
                <a:gd name="T23" fmla="*/ 67 h 115"/>
                <a:gd name="T24" fmla="*/ 122 w 140"/>
                <a:gd name="T25" fmla="*/ 75 h 115"/>
                <a:gd name="T26" fmla="*/ 118 w 140"/>
                <a:gd name="T27" fmla="*/ 81 h 115"/>
                <a:gd name="T28" fmla="*/ 124 w 140"/>
                <a:gd name="T29" fmla="*/ 85 h 115"/>
                <a:gd name="T30" fmla="*/ 137 w 140"/>
                <a:gd name="T31" fmla="*/ 94 h 115"/>
                <a:gd name="T32" fmla="*/ 131 w 140"/>
                <a:gd name="T33" fmla="*/ 102 h 115"/>
                <a:gd name="T34" fmla="*/ 122 w 140"/>
                <a:gd name="T35" fmla="*/ 92 h 115"/>
                <a:gd name="T36" fmla="*/ 120 w 140"/>
                <a:gd name="T37" fmla="*/ 103 h 115"/>
                <a:gd name="T38" fmla="*/ 118 w 140"/>
                <a:gd name="T39" fmla="*/ 115 h 115"/>
                <a:gd name="T40" fmla="*/ 109 w 140"/>
                <a:gd name="T41" fmla="*/ 113 h 115"/>
                <a:gd name="T42" fmla="*/ 96 w 140"/>
                <a:gd name="T43" fmla="*/ 115 h 115"/>
                <a:gd name="T44" fmla="*/ 81 w 140"/>
                <a:gd name="T45" fmla="*/ 105 h 115"/>
                <a:gd name="T46" fmla="*/ 70 w 140"/>
                <a:gd name="T47" fmla="*/ 97 h 115"/>
                <a:gd name="T48" fmla="*/ 55 w 140"/>
                <a:gd name="T49" fmla="*/ 90 h 115"/>
                <a:gd name="T50" fmla="*/ 34 w 140"/>
                <a:gd name="T51" fmla="*/ 97 h 115"/>
                <a:gd name="T52" fmla="*/ 27 w 140"/>
                <a:gd name="T53" fmla="*/ 101 h 115"/>
                <a:gd name="T54" fmla="*/ 30 w 140"/>
                <a:gd name="T55" fmla="*/ 81 h 115"/>
                <a:gd name="T56" fmla="*/ 32 w 140"/>
                <a:gd name="T57" fmla="*/ 73 h 115"/>
                <a:gd name="T58" fmla="*/ 22 w 140"/>
                <a:gd name="T59" fmla="*/ 76 h 115"/>
                <a:gd name="T60" fmla="*/ 15 w 140"/>
                <a:gd name="T61" fmla="*/ 74 h 115"/>
                <a:gd name="T62" fmla="*/ 8 w 140"/>
                <a:gd name="T63" fmla="*/ 73 h 115"/>
                <a:gd name="T64" fmla="*/ 3 w 140"/>
                <a:gd name="T65" fmla="*/ 63 h 115"/>
                <a:gd name="T66" fmla="*/ 4 w 140"/>
                <a:gd name="T67" fmla="*/ 52 h 115"/>
                <a:gd name="T68" fmla="*/ 9 w 140"/>
                <a:gd name="T69" fmla="*/ 49 h 115"/>
                <a:gd name="T70" fmla="*/ 2 w 140"/>
                <a:gd name="T71" fmla="*/ 41 h 115"/>
                <a:gd name="T72" fmla="*/ 3 w 140"/>
                <a:gd name="T73" fmla="*/ 37 h 115"/>
                <a:gd name="T74" fmla="*/ 2 w 140"/>
                <a:gd name="T75" fmla="*/ 26 h 115"/>
                <a:gd name="T76" fmla="*/ 19 w 140"/>
                <a:gd name="T77" fmla="*/ 20 h 115"/>
                <a:gd name="T78" fmla="*/ 21 w 140"/>
                <a:gd name="T79" fmla="*/ 16 h 115"/>
                <a:gd name="T80" fmla="*/ 29 w 140"/>
                <a:gd name="T81" fmla="*/ 11 h 115"/>
                <a:gd name="T82" fmla="*/ 41 w 140"/>
                <a:gd name="T83" fmla="*/ 7 h 115"/>
                <a:gd name="T84" fmla="*/ 57 w 140"/>
                <a:gd name="T85" fmla="*/ 9 h 115"/>
                <a:gd name="T86" fmla="*/ 59 w 140"/>
                <a:gd name="T87" fmla="*/ 3 h 11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40"/>
                <a:gd name="T133" fmla="*/ 0 h 115"/>
                <a:gd name="T134" fmla="*/ 140 w 140"/>
                <a:gd name="T135" fmla="*/ 115 h 11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40" h="115">
                  <a:moveTo>
                    <a:pt x="63" y="3"/>
                  </a:moveTo>
                  <a:lnTo>
                    <a:pt x="65" y="0"/>
                  </a:lnTo>
                  <a:lnTo>
                    <a:pt x="69" y="5"/>
                  </a:lnTo>
                  <a:lnTo>
                    <a:pt x="73" y="3"/>
                  </a:lnTo>
                  <a:lnTo>
                    <a:pt x="77" y="4"/>
                  </a:lnTo>
                  <a:lnTo>
                    <a:pt x="84" y="7"/>
                  </a:lnTo>
                  <a:lnTo>
                    <a:pt x="94" y="8"/>
                  </a:lnTo>
                  <a:lnTo>
                    <a:pt x="97" y="11"/>
                  </a:lnTo>
                  <a:lnTo>
                    <a:pt x="103" y="13"/>
                  </a:lnTo>
                  <a:lnTo>
                    <a:pt x="126" y="14"/>
                  </a:lnTo>
                  <a:lnTo>
                    <a:pt x="131" y="12"/>
                  </a:lnTo>
                  <a:lnTo>
                    <a:pt x="133" y="8"/>
                  </a:lnTo>
                  <a:lnTo>
                    <a:pt x="136" y="8"/>
                  </a:lnTo>
                  <a:lnTo>
                    <a:pt x="139" y="12"/>
                  </a:lnTo>
                  <a:lnTo>
                    <a:pt x="140" y="16"/>
                  </a:lnTo>
                  <a:lnTo>
                    <a:pt x="139" y="20"/>
                  </a:lnTo>
                  <a:lnTo>
                    <a:pt x="133" y="26"/>
                  </a:lnTo>
                  <a:lnTo>
                    <a:pt x="128" y="34"/>
                  </a:lnTo>
                  <a:lnTo>
                    <a:pt x="125" y="41"/>
                  </a:lnTo>
                  <a:lnTo>
                    <a:pt x="127" y="48"/>
                  </a:lnTo>
                  <a:lnTo>
                    <a:pt x="125" y="57"/>
                  </a:lnTo>
                  <a:lnTo>
                    <a:pt x="126" y="61"/>
                  </a:lnTo>
                  <a:lnTo>
                    <a:pt x="128" y="63"/>
                  </a:lnTo>
                  <a:lnTo>
                    <a:pt x="128" y="67"/>
                  </a:lnTo>
                  <a:lnTo>
                    <a:pt x="126" y="70"/>
                  </a:lnTo>
                  <a:lnTo>
                    <a:pt x="122" y="75"/>
                  </a:lnTo>
                  <a:lnTo>
                    <a:pt x="119" y="77"/>
                  </a:lnTo>
                  <a:lnTo>
                    <a:pt x="118" y="81"/>
                  </a:lnTo>
                  <a:lnTo>
                    <a:pt x="119" y="85"/>
                  </a:lnTo>
                  <a:lnTo>
                    <a:pt x="124" y="85"/>
                  </a:lnTo>
                  <a:lnTo>
                    <a:pt x="131" y="84"/>
                  </a:lnTo>
                  <a:lnTo>
                    <a:pt x="137" y="94"/>
                  </a:lnTo>
                  <a:lnTo>
                    <a:pt x="136" y="102"/>
                  </a:lnTo>
                  <a:lnTo>
                    <a:pt x="131" y="102"/>
                  </a:lnTo>
                  <a:lnTo>
                    <a:pt x="127" y="96"/>
                  </a:lnTo>
                  <a:lnTo>
                    <a:pt x="122" y="92"/>
                  </a:lnTo>
                  <a:lnTo>
                    <a:pt x="123" y="100"/>
                  </a:lnTo>
                  <a:lnTo>
                    <a:pt x="120" y="103"/>
                  </a:lnTo>
                  <a:lnTo>
                    <a:pt x="117" y="111"/>
                  </a:lnTo>
                  <a:lnTo>
                    <a:pt x="118" y="115"/>
                  </a:lnTo>
                  <a:lnTo>
                    <a:pt x="117" y="115"/>
                  </a:lnTo>
                  <a:lnTo>
                    <a:pt x="109" y="113"/>
                  </a:lnTo>
                  <a:lnTo>
                    <a:pt x="100" y="113"/>
                  </a:lnTo>
                  <a:lnTo>
                    <a:pt x="96" y="115"/>
                  </a:lnTo>
                  <a:lnTo>
                    <a:pt x="92" y="115"/>
                  </a:lnTo>
                  <a:lnTo>
                    <a:pt x="81" y="105"/>
                  </a:lnTo>
                  <a:lnTo>
                    <a:pt x="78" y="100"/>
                  </a:lnTo>
                  <a:lnTo>
                    <a:pt x="70" y="97"/>
                  </a:lnTo>
                  <a:lnTo>
                    <a:pt x="63" y="92"/>
                  </a:lnTo>
                  <a:lnTo>
                    <a:pt x="55" y="90"/>
                  </a:lnTo>
                  <a:lnTo>
                    <a:pt x="41" y="92"/>
                  </a:lnTo>
                  <a:lnTo>
                    <a:pt x="34" y="97"/>
                  </a:lnTo>
                  <a:lnTo>
                    <a:pt x="30" y="98"/>
                  </a:lnTo>
                  <a:lnTo>
                    <a:pt x="27" y="101"/>
                  </a:lnTo>
                  <a:lnTo>
                    <a:pt x="28" y="94"/>
                  </a:lnTo>
                  <a:lnTo>
                    <a:pt x="30" y="81"/>
                  </a:lnTo>
                  <a:lnTo>
                    <a:pt x="32" y="75"/>
                  </a:lnTo>
                  <a:lnTo>
                    <a:pt x="32" y="73"/>
                  </a:lnTo>
                  <a:lnTo>
                    <a:pt x="24" y="72"/>
                  </a:lnTo>
                  <a:lnTo>
                    <a:pt x="22" y="76"/>
                  </a:lnTo>
                  <a:lnTo>
                    <a:pt x="18" y="78"/>
                  </a:lnTo>
                  <a:lnTo>
                    <a:pt x="15" y="74"/>
                  </a:lnTo>
                  <a:lnTo>
                    <a:pt x="12" y="74"/>
                  </a:lnTo>
                  <a:lnTo>
                    <a:pt x="8" y="73"/>
                  </a:lnTo>
                  <a:lnTo>
                    <a:pt x="6" y="67"/>
                  </a:lnTo>
                  <a:lnTo>
                    <a:pt x="3" y="63"/>
                  </a:lnTo>
                  <a:lnTo>
                    <a:pt x="2" y="57"/>
                  </a:lnTo>
                  <a:lnTo>
                    <a:pt x="4" y="52"/>
                  </a:lnTo>
                  <a:lnTo>
                    <a:pt x="10" y="51"/>
                  </a:lnTo>
                  <a:lnTo>
                    <a:pt x="9" y="49"/>
                  </a:lnTo>
                  <a:lnTo>
                    <a:pt x="2" y="48"/>
                  </a:lnTo>
                  <a:lnTo>
                    <a:pt x="2" y="41"/>
                  </a:lnTo>
                  <a:lnTo>
                    <a:pt x="4" y="40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2" y="26"/>
                  </a:lnTo>
                  <a:lnTo>
                    <a:pt x="4" y="24"/>
                  </a:lnTo>
                  <a:lnTo>
                    <a:pt x="19" y="20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25" y="15"/>
                  </a:lnTo>
                  <a:lnTo>
                    <a:pt x="29" y="11"/>
                  </a:lnTo>
                  <a:lnTo>
                    <a:pt x="39" y="12"/>
                  </a:lnTo>
                  <a:lnTo>
                    <a:pt x="41" y="7"/>
                  </a:lnTo>
                  <a:lnTo>
                    <a:pt x="46" y="10"/>
                  </a:lnTo>
                  <a:lnTo>
                    <a:pt x="57" y="9"/>
                  </a:lnTo>
                  <a:lnTo>
                    <a:pt x="60" y="7"/>
                  </a:lnTo>
                  <a:lnTo>
                    <a:pt x="59" y="3"/>
                  </a:lnTo>
                  <a:lnTo>
                    <a:pt x="63" y="3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70" name="Group 231"/>
          <p:cNvGrpSpPr>
            <a:grpSpLocks/>
          </p:cNvGrpSpPr>
          <p:nvPr/>
        </p:nvGrpSpPr>
        <p:grpSpPr bwMode="auto">
          <a:xfrm>
            <a:off x="4945063" y="3875088"/>
            <a:ext cx="150812" cy="112712"/>
            <a:chOff x="2357" y="2441"/>
            <a:chExt cx="95" cy="71"/>
          </a:xfrm>
        </p:grpSpPr>
        <p:sp>
          <p:nvSpPr>
            <p:cNvPr id="34324" name="Freeform 229"/>
            <p:cNvSpPr>
              <a:spLocks/>
            </p:cNvSpPr>
            <p:nvPr/>
          </p:nvSpPr>
          <p:spPr bwMode="auto">
            <a:xfrm>
              <a:off x="2357" y="2441"/>
              <a:ext cx="95" cy="71"/>
            </a:xfrm>
            <a:custGeom>
              <a:avLst/>
              <a:gdLst>
                <a:gd name="T0" fmla="*/ 0 w 95"/>
                <a:gd name="T1" fmla="*/ 63 h 71"/>
                <a:gd name="T2" fmla="*/ 1 w 95"/>
                <a:gd name="T3" fmla="*/ 61 h 71"/>
                <a:gd name="T4" fmla="*/ 6 w 95"/>
                <a:gd name="T5" fmla="*/ 57 h 71"/>
                <a:gd name="T6" fmla="*/ 7 w 95"/>
                <a:gd name="T7" fmla="*/ 55 h 71"/>
                <a:gd name="T8" fmla="*/ 10 w 95"/>
                <a:gd name="T9" fmla="*/ 47 h 71"/>
                <a:gd name="T10" fmla="*/ 10 w 95"/>
                <a:gd name="T11" fmla="*/ 41 h 71"/>
                <a:gd name="T12" fmla="*/ 13 w 95"/>
                <a:gd name="T13" fmla="*/ 38 h 71"/>
                <a:gd name="T14" fmla="*/ 24 w 95"/>
                <a:gd name="T15" fmla="*/ 37 h 71"/>
                <a:gd name="T16" fmla="*/ 28 w 95"/>
                <a:gd name="T17" fmla="*/ 34 h 71"/>
                <a:gd name="T18" fmla="*/ 35 w 95"/>
                <a:gd name="T19" fmla="*/ 26 h 71"/>
                <a:gd name="T20" fmla="*/ 40 w 95"/>
                <a:gd name="T21" fmla="*/ 18 h 71"/>
                <a:gd name="T22" fmla="*/ 43 w 95"/>
                <a:gd name="T23" fmla="*/ 8 h 71"/>
                <a:gd name="T24" fmla="*/ 44 w 95"/>
                <a:gd name="T25" fmla="*/ 0 h 71"/>
                <a:gd name="T26" fmla="*/ 41 w 95"/>
                <a:gd name="T27" fmla="*/ 15 h 71"/>
                <a:gd name="T28" fmla="*/ 37 w 95"/>
                <a:gd name="T29" fmla="*/ 25 h 71"/>
                <a:gd name="T30" fmla="*/ 34 w 95"/>
                <a:gd name="T31" fmla="*/ 30 h 71"/>
                <a:gd name="T32" fmla="*/ 29 w 95"/>
                <a:gd name="T33" fmla="*/ 34 h 71"/>
                <a:gd name="T34" fmla="*/ 31 w 95"/>
                <a:gd name="T35" fmla="*/ 39 h 71"/>
                <a:gd name="T36" fmla="*/ 35 w 95"/>
                <a:gd name="T37" fmla="*/ 38 h 71"/>
                <a:gd name="T38" fmla="*/ 40 w 95"/>
                <a:gd name="T39" fmla="*/ 40 h 71"/>
                <a:gd name="T40" fmla="*/ 45 w 95"/>
                <a:gd name="T41" fmla="*/ 40 h 71"/>
                <a:gd name="T42" fmla="*/ 47 w 95"/>
                <a:gd name="T43" fmla="*/ 35 h 71"/>
                <a:gd name="T44" fmla="*/ 47 w 95"/>
                <a:gd name="T45" fmla="*/ 27 h 71"/>
                <a:gd name="T46" fmla="*/ 48 w 95"/>
                <a:gd name="T47" fmla="*/ 24 h 71"/>
                <a:gd name="T48" fmla="*/ 49 w 95"/>
                <a:gd name="T49" fmla="*/ 22 h 71"/>
                <a:gd name="T50" fmla="*/ 54 w 95"/>
                <a:gd name="T51" fmla="*/ 21 h 71"/>
                <a:gd name="T52" fmla="*/ 57 w 95"/>
                <a:gd name="T53" fmla="*/ 24 h 71"/>
                <a:gd name="T54" fmla="*/ 61 w 95"/>
                <a:gd name="T55" fmla="*/ 25 h 71"/>
                <a:gd name="T56" fmla="*/ 64 w 95"/>
                <a:gd name="T57" fmla="*/ 28 h 71"/>
                <a:gd name="T58" fmla="*/ 68 w 95"/>
                <a:gd name="T59" fmla="*/ 29 h 71"/>
                <a:gd name="T60" fmla="*/ 77 w 95"/>
                <a:gd name="T61" fmla="*/ 31 h 71"/>
                <a:gd name="T62" fmla="*/ 85 w 95"/>
                <a:gd name="T63" fmla="*/ 30 h 71"/>
                <a:gd name="T64" fmla="*/ 89 w 95"/>
                <a:gd name="T65" fmla="*/ 32 h 71"/>
                <a:gd name="T66" fmla="*/ 95 w 95"/>
                <a:gd name="T67" fmla="*/ 44 h 71"/>
                <a:gd name="T68" fmla="*/ 92 w 95"/>
                <a:gd name="T69" fmla="*/ 52 h 71"/>
                <a:gd name="T70" fmla="*/ 92 w 95"/>
                <a:gd name="T71" fmla="*/ 61 h 71"/>
                <a:gd name="T72" fmla="*/ 93 w 95"/>
                <a:gd name="T73" fmla="*/ 66 h 71"/>
                <a:gd name="T74" fmla="*/ 80 w 95"/>
                <a:gd name="T75" fmla="*/ 68 h 71"/>
                <a:gd name="T76" fmla="*/ 66 w 95"/>
                <a:gd name="T77" fmla="*/ 71 h 71"/>
                <a:gd name="T78" fmla="*/ 41 w 95"/>
                <a:gd name="T79" fmla="*/ 71 h 71"/>
                <a:gd name="T80" fmla="*/ 7 w 95"/>
                <a:gd name="T81" fmla="*/ 66 h 71"/>
                <a:gd name="T82" fmla="*/ 0 w 95"/>
                <a:gd name="T83" fmla="*/ 63 h 7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5"/>
                <a:gd name="T127" fmla="*/ 0 h 71"/>
                <a:gd name="T128" fmla="*/ 95 w 95"/>
                <a:gd name="T129" fmla="*/ 71 h 7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5" h="71">
                  <a:moveTo>
                    <a:pt x="0" y="63"/>
                  </a:moveTo>
                  <a:lnTo>
                    <a:pt x="1" y="61"/>
                  </a:lnTo>
                  <a:lnTo>
                    <a:pt x="6" y="57"/>
                  </a:lnTo>
                  <a:lnTo>
                    <a:pt x="7" y="55"/>
                  </a:lnTo>
                  <a:lnTo>
                    <a:pt x="10" y="47"/>
                  </a:lnTo>
                  <a:lnTo>
                    <a:pt x="10" y="41"/>
                  </a:lnTo>
                  <a:lnTo>
                    <a:pt x="13" y="38"/>
                  </a:lnTo>
                  <a:lnTo>
                    <a:pt x="24" y="37"/>
                  </a:lnTo>
                  <a:lnTo>
                    <a:pt x="28" y="34"/>
                  </a:lnTo>
                  <a:lnTo>
                    <a:pt x="35" y="26"/>
                  </a:lnTo>
                  <a:lnTo>
                    <a:pt x="40" y="18"/>
                  </a:lnTo>
                  <a:lnTo>
                    <a:pt x="43" y="8"/>
                  </a:lnTo>
                  <a:lnTo>
                    <a:pt x="44" y="0"/>
                  </a:lnTo>
                  <a:lnTo>
                    <a:pt x="41" y="15"/>
                  </a:lnTo>
                  <a:lnTo>
                    <a:pt x="37" y="25"/>
                  </a:lnTo>
                  <a:lnTo>
                    <a:pt x="34" y="30"/>
                  </a:lnTo>
                  <a:lnTo>
                    <a:pt x="29" y="34"/>
                  </a:lnTo>
                  <a:lnTo>
                    <a:pt x="31" y="39"/>
                  </a:lnTo>
                  <a:lnTo>
                    <a:pt x="35" y="38"/>
                  </a:lnTo>
                  <a:lnTo>
                    <a:pt x="40" y="40"/>
                  </a:lnTo>
                  <a:lnTo>
                    <a:pt x="45" y="40"/>
                  </a:lnTo>
                  <a:lnTo>
                    <a:pt x="47" y="35"/>
                  </a:lnTo>
                  <a:lnTo>
                    <a:pt x="47" y="27"/>
                  </a:lnTo>
                  <a:lnTo>
                    <a:pt x="48" y="24"/>
                  </a:lnTo>
                  <a:lnTo>
                    <a:pt x="49" y="22"/>
                  </a:lnTo>
                  <a:lnTo>
                    <a:pt x="54" y="21"/>
                  </a:lnTo>
                  <a:lnTo>
                    <a:pt x="57" y="24"/>
                  </a:lnTo>
                  <a:lnTo>
                    <a:pt x="61" y="25"/>
                  </a:lnTo>
                  <a:lnTo>
                    <a:pt x="64" y="28"/>
                  </a:lnTo>
                  <a:lnTo>
                    <a:pt x="68" y="29"/>
                  </a:lnTo>
                  <a:lnTo>
                    <a:pt x="77" y="31"/>
                  </a:lnTo>
                  <a:lnTo>
                    <a:pt x="85" y="30"/>
                  </a:lnTo>
                  <a:lnTo>
                    <a:pt x="89" y="32"/>
                  </a:lnTo>
                  <a:lnTo>
                    <a:pt x="95" y="44"/>
                  </a:lnTo>
                  <a:lnTo>
                    <a:pt x="92" y="52"/>
                  </a:lnTo>
                  <a:lnTo>
                    <a:pt x="92" y="61"/>
                  </a:lnTo>
                  <a:lnTo>
                    <a:pt x="93" y="66"/>
                  </a:lnTo>
                  <a:lnTo>
                    <a:pt x="80" y="68"/>
                  </a:lnTo>
                  <a:lnTo>
                    <a:pt x="66" y="71"/>
                  </a:lnTo>
                  <a:lnTo>
                    <a:pt x="41" y="71"/>
                  </a:lnTo>
                  <a:lnTo>
                    <a:pt x="7" y="66"/>
                  </a:lnTo>
                  <a:lnTo>
                    <a:pt x="0" y="63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25" name="Freeform 230"/>
            <p:cNvSpPr>
              <a:spLocks/>
            </p:cNvSpPr>
            <p:nvPr/>
          </p:nvSpPr>
          <p:spPr bwMode="auto">
            <a:xfrm>
              <a:off x="2357" y="2441"/>
              <a:ext cx="95" cy="71"/>
            </a:xfrm>
            <a:custGeom>
              <a:avLst/>
              <a:gdLst>
                <a:gd name="T0" fmla="*/ 0 w 95"/>
                <a:gd name="T1" fmla="*/ 63 h 71"/>
                <a:gd name="T2" fmla="*/ 1 w 95"/>
                <a:gd name="T3" fmla="*/ 61 h 71"/>
                <a:gd name="T4" fmla="*/ 6 w 95"/>
                <a:gd name="T5" fmla="*/ 57 h 71"/>
                <a:gd name="T6" fmla="*/ 7 w 95"/>
                <a:gd name="T7" fmla="*/ 55 h 71"/>
                <a:gd name="T8" fmla="*/ 10 w 95"/>
                <a:gd name="T9" fmla="*/ 47 h 71"/>
                <a:gd name="T10" fmla="*/ 10 w 95"/>
                <a:gd name="T11" fmla="*/ 41 h 71"/>
                <a:gd name="T12" fmla="*/ 13 w 95"/>
                <a:gd name="T13" fmla="*/ 38 h 71"/>
                <a:gd name="T14" fmla="*/ 24 w 95"/>
                <a:gd name="T15" fmla="*/ 37 h 71"/>
                <a:gd name="T16" fmla="*/ 28 w 95"/>
                <a:gd name="T17" fmla="*/ 34 h 71"/>
                <a:gd name="T18" fmla="*/ 35 w 95"/>
                <a:gd name="T19" fmla="*/ 26 h 71"/>
                <a:gd name="T20" fmla="*/ 40 w 95"/>
                <a:gd name="T21" fmla="*/ 18 h 71"/>
                <a:gd name="T22" fmla="*/ 43 w 95"/>
                <a:gd name="T23" fmla="*/ 8 h 71"/>
                <a:gd name="T24" fmla="*/ 44 w 95"/>
                <a:gd name="T25" fmla="*/ 0 h 71"/>
                <a:gd name="T26" fmla="*/ 41 w 95"/>
                <a:gd name="T27" fmla="*/ 15 h 71"/>
                <a:gd name="T28" fmla="*/ 37 w 95"/>
                <a:gd name="T29" fmla="*/ 25 h 71"/>
                <a:gd name="T30" fmla="*/ 34 w 95"/>
                <a:gd name="T31" fmla="*/ 30 h 71"/>
                <a:gd name="T32" fmla="*/ 29 w 95"/>
                <a:gd name="T33" fmla="*/ 34 h 71"/>
                <a:gd name="T34" fmla="*/ 31 w 95"/>
                <a:gd name="T35" fmla="*/ 39 h 71"/>
                <a:gd name="T36" fmla="*/ 35 w 95"/>
                <a:gd name="T37" fmla="*/ 38 h 71"/>
                <a:gd name="T38" fmla="*/ 40 w 95"/>
                <a:gd name="T39" fmla="*/ 40 h 71"/>
                <a:gd name="T40" fmla="*/ 45 w 95"/>
                <a:gd name="T41" fmla="*/ 40 h 71"/>
                <a:gd name="T42" fmla="*/ 47 w 95"/>
                <a:gd name="T43" fmla="*/ 35 h 71"/>
                <a:gd name="T44" fmla="*/ 47 w 95"/>
                <a:gd name="T45" fmla="*/ 27 h 71"/>
                <a:gd name="T46" fmla="*/ 48 w 95"/>
                <a:gd name="T47" fmla="*/ 24 h 71"/>
                <a:gd name="T48" fmla="*/ 49 w 95"/>
                <a:gd name="T49" fmla="*/ 22 h 71"/>
                <a:gd name="T50" fmla="*/ 54 w 95"/>
                <a:gd name="T51" fmla="*/ 21 h 71"/>
                <a:gd name="T52" fmla="*/ 57 w 95"/>
                <a:gd name="T53" fmla="*/ 24 h 71"/>
                <a:gd name="T54" fmla="*/ 61 w 95"/>
                <a:gd name="T55" fmla="*/ 25 h 71"/>
                <a:gd name="T56" fmla="*/ 64 w 95"/>
                <a:gd name="T57" fmla="*/ 28 h 71"/>
                <a:gd name="T58" fmla="*/ 68 w 95"/>
                <a:gd name="T59" fmla="*/ 29 h 71"/>
                <a:gd name="T60" fmla="*/ 77 w 95"/>
                <a:gd name="T61" fmla="*/ 31 h 71"/>
                <a:gd name="T62" fmla="*/ 85 w 95"/>
                <a:gd name="T63" fmla="*/ 30 h 71"/>
                <a:gd name="T64" fmla="*/ 89 w 95"/>
                <a:gd name="T65" fmla="*/ 32 h 71"/>
                <a:gd name="T66" fmla="*/ 95 w 95"/>
                <a:gd name="T67" fmla="*/ 44 h 71"/>
                <a:gd name="T68" fmla="*/ 92 w 95"/>
                <a:gd name="T69" fmla="*/ 52 h 71"/>
                <a:gd name="T70" fmla="*/ 92 w 95"/>
                <a:gd name="T71" fmla="*/ 61 h 71"/>
                <a:gd name="T72" fmla="*/ 93 w 95"/>
                <a:gd name="T73" fmla="*/ 66 h 71"/>
                <a:gd name="T74" fmla="*/ 80 w 95"/>
                <a:gd name="T75" fmla="*/ 68 h 71"/>
                <a:gd name="T76" fmla="*/ 66 w 95"/>
                <a:gd name="T77" fmla="*/ 71 h 71"/>
                <a:gd name="T78" fmla="*/ 41 w 95"/>
                <a:gd name="T79" fmla="*/ 71 h 71"/>
                <a:gd name="T80" fmla="*/ 7 w 95"/>
                <a:gd name="T81" fmla="*/ 66 h 71"/>
                <a:gd name="T82" fmla="*/ 0 w 95"/>
                <a:gd name="T83" fmla="*/ 63 h 71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5"/>
                <a:gd name="T127" fmla="*/ 0 h 71"/>
                <a:gd name="T128" fmla="*/ 95 w 95"/>
                <a:gd name="T129" fmla="*/ 71 h 71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5" h="71">
                  <a:moveTo>
                    <a:pt x="0" y="63"/>
                  </a:moveTo>
                  <a:lnTo>
                    <a:pt x="1" y="61"/>
                  </a:lnTo>
                  <a:lnTo>
                    <a:pt x="6" y="57"/>
                  </a:lnTo>
                  <a:lnTo>
                    <a:pt x="7" y="55"/>
                  </a:lnTo>
                  <a:lnTo>
                    <a:pt x="10" y="47"/>
                  </a:lnTo>
                  <a:lnTo>
                    <a:pt x="10" y="41"/>
                  </a:lnTo>
                  <a:lnTo>
                    <a:pt x="13" y="38"/>
                  </a:lnTo>
                  <a:lnTo>
                    <a:pt x="24" y="37"/>
                  </a:lnTo>
                  <a:lnTo>
                    <a:pt x="28" y="34"/>
                  </a:lnTo>
                  <a:lnTo>
                    <a:pt x="35" y="26"/>
                  </a:lnTo>
                  <a:lnTo>
                    <a:pt x="40" y="18"/>
                  </a:lnTo>
                  <a:lnTo>
                    <a:pt x="43" y="8"/>
                  </a:lnTo>
                  <a:lnTo>
                    <a:pt x="44" y="0"/>
                  </a:lnTo>
                  <a:lnTo>
                    <a:pt x="41" y="15"/>
                  </a:lnTo>
                  <a:lnTo>
                    <a:pt x="37" y="25"/>
                  </a:lnTo>
                  <a:lnTo>
                    <a:pt x="34" y="30"/>
                  </a:lnTo>
                  <a:lnTo>
                    <a:pt x="29" y="34"/>
                  </a:lnTo>
                  <a:lnTo>
                    <a:pt x="31" y="39"/>
                  </a:lnTo>
                  <a:lnTo>
                    <a:pt x="35" y="38"/>
                  </a:lnTo>
                  <a:lnTo>
                    <a:pt x="40" y="40"/>
                  </a:lnTo>
                  <a:lnTo>
                    <a:pt x="45" y="40"/>
                  </a:lnTo>
                  <a:lnTo>
                    <a:pt x="47" y="35"/>
                  </a:lnTo>
                  <a:lnTo>
                    <a:pt x="47" y="27"/>
                  </a:lnTo>
                  <a:lnTo>
                    <a:pt x="48" y="24"/>
                  </a:lnTo>
                  <a:lnTo>
                    <a:pt x="49" y="22"/>
                  </a:lnTo>
                  <a:lnTo>
                    <a:pt x="54" y="21"/>
                  </a:lnTo>
                  <a:lnTo>
                    <a:pt x="57" y="24"/>
                  </a:lnTo>
                  <a:lnTo>
                    <a:pt x="61" y="25"/>
                  </a:lnTo>
                  <a:lnTo>
                    <a:pt x="64" y="28"/>
                  </a:lnTo>
                  <a:lnTo>
                    <a:pt x="68" y="29"/>
                  </a:lnTo>
                  <a:lnTo>
                    <a:pt x="77" y="31"/>
                  </a:lnTo>
                  <a:lnTo>
                    <a:pt x="85" y="30"/>
                  </a:lnTo>
                  <a:lnTo>
                    <a:pt x="89" y="32"/>
                  </a:lnTo>
                  <a:lnTo>
                    <a:pt x="95" y="44"/>
                  </a:lnTo>
                  <a:lnTo>
                    <a:pt x="92" y="52"/>
                  </a:lnTo>
                  <a:lnTo>
                    <a:pt x="92" y="61"/>
                  </a:lnTo>
                  <a:lnTo>
                    <a:pt x="93" y="66"/>
                  </a:lnTo>
                  <a:lnTo>
                    <a:pt x="80" y="68"/>
                  </a:lnTo>
                  <a:lnTo>
                    <a:pt x="66" y="71"/>
                  </a:lnTo>
                  <a:lnTo>
                    <a:pt x="41" y="71"/>
                  </a:lnTo>
                  <a:lnTo>
                    <a:pt x="7" y="66"/>
                  </a:lnTo>
                  <a:lnTo>
                    <a:pt x="0" y="63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71" name="Group 234"/>
          <p:cNvGrpSpPr>
            <a:grpSpLocks/>
          </p:cNvGrpSpPr>
          <p:nvPr/>
        </p:nvGrpSpPr>
        <p:grpSpPr bwMode="auto">
          <a:xfrm>
            <a:off x="6253163" y="2487613"/>
            <a:ext cx="96837" cy="103187"/>
            <a:chOff x="3181" y="1567"/>
            <a:chExt cx="61" cy="65"/>
          </a:xfrm>
        </p:grpSpPr>
        <p:sp>
          <p:nvSpPr>
            <p:cNvPr id="34322" name="Freeform 232"/>
            <p:cNvSpPr>
              <a:spLocks/>
            </p:cNvSpPr>
            <p:nvPr/>
          </p:nvSpPr>
          <p:spPr bwMode="auto">
            <a:xfrm>
              <a:off x="3181" y="1567"/>
              <a:ext cx="61" cy="65"/>
            </a:xfrm>
            <a:custGeom>
              <a:avLst/>
              <a:gdLst>
                <a:gd name="T0" fmla="*/ 14 w 61"/>
                <a:gd name="T1" fmla="*/ 4 h 65"/>
                <a:gd name="T2" fmla="*/ 15 w 61"/>
                <a:gd name="T3" fmla="*/ 2 h 65"/>
                <a:gd name="T4" fmla="*/ 17 w 61"/>
                <a:gd name="T5" fmla="*/ 2 h 65"/>
                <a:gd name="T6" fmla="*/ 20 w 61"/>
                <a:gd name="T7" fmla="*/ 4 h 65"/>
                <a:gd name="T8" fmla="*/ 25 w 61"/>
                <a:gd name="T9" fmla="*/ 0 h 65"/>
                <a:gd name="T10" fmla="*/ 28 w 61"/>
                <a:gd name="T11" fmla="*/ 0 h 65"/>
                <a:gd name="T12" fmla="*/ 49 w 61"/>
                <a:gd name="T13" fmla="*/ 19 h 65"/>
                <a:gd name="T14" fmla="*/ 52 w 61"/>
                <a:gd name="T15" fmla="*/ 27 h 65"/>
                <a:gd name="T16" fmla="*/ 54 w 61"/>
                <a:gd name="T17" fmla="*/ 27 h 65"/>
                <a:gd name="T18" fmla="*/ 54 w 61"/>
                <a:gd name="T19" fmla="*/ 18 h 65"/>
                <a:gd name="T20" fmla="*/ 57 w 61"/>
                <a:gd name="T21" fmla="*/ 25 h 65"/>
                <a:gd name="T22" fmla="*/ 61 w 61"/>
                <a:gd name="T23" fmla="*/ 33 h 65"/>
                <a:gd name="T24" fmla="*/ 60 w 61"/>
                <a:gd name="T25" fmla="*/ 41 h 65"/>
                <a:gd name="T26" fmla="*/ 56 w 61"/>
                <a:gd name="T27" fmla="*/ 33 h 65"/>
                <a:gd name="T28" fmla="*/ 50 w 61"/>
                <a:gd name="T29" fmla="*/ 40 h 65"/>
                <a:gd name="T30" fmla="*/ 40 w 61"/>
                <a:gd name="T31" fmla="*/ 54 h 65"/>
                <a:gd name="T32" fmla="*/ 33 w 61"/>
                <a:gd name="T33" fmla="*/ 59 h 65"/>
                <a:gd name="T34" fmla="*/ 29 w 61"/>
                <a:gd name="T35" fmla="*/ 59 h 65"/>
                <a:gd name="T36" fmla="*/ 24 w 61"/>
                <a:gd name="T37" fmla="*/ 64 h 65"/>
                <a:gd name="T38" fmla="*/ 18 w 61"/>
                <a:gd name="T39" fmla="*/ 65 h 65"/>
                <a:gd name="T40" fmla="*/ 16 w 61"/>
                <a:gd name="T41" fmla="*/ 61 h 65"/>
                <a:gd name="T42" fmla="*/ 14 w 61"/>
                <a:gd name="T43" fmla="*/ 65 h 65"/>
                <a:gd name="T44" fmla="*/ 10 w 61"/>
                <a:gd name="T45" fmla="*/ 61 h 65"/>
                <a:gd name="T46" fmla="*/ 6 w 61"/>
                <a:gd name="T47" fmla="*/ 55 h 65"/>
                <a:gd name="T48" fmla="*/ 3 w 61"/>
                <a:gd name="T49" fmla="*/ 54 h 65"/>
                <a:gd name="T50" fmla="*/ 3 w 61"/>
                <a:gd name="T51" fmla="*/ 61 h 65"/>
                <a:gd name="T52" fmla="*/ 4 w 61"/>
                <a:gd name="T53" fmla="*/ 65 h 65"/>
                <a:gd name="T54" fmla="*/ 1 w 61"/>
                <a:gd name="T55" fmla="*/ 60 h 65"/>
                <a:gd name="T56" fmla="*/ 0 w 61"/>
                <a:gd name="T57" fmla="*/ 54 h 65"/>
                <a:gd name="T58" fmla="*/ 1 w 61"/>
                <a:gd name="T59" fmla="*/ 47 h 65"/>
                <a:gd name="T60" fmla="*/ 2 w 61"/>
                <a:gd name="T61" fmla="*/ 29 h 65"/>
                <a:gd name="T62" fmla="*/ 4 w 61"/>
                <a:gd name="T63" fmla="*/ 21 h 65"/>
                <a:gd name="T64" fmla="*/ 10 w 61"/>
                <a:gd name="T65" fmla="*/ 9 h 65"/>
                <a:gd name="T66" fmla="*/ 14 w 61"/>
                <a:gd name="T67" fmla="*/ 4 h 6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1"/>
                <a:gd name="T103" fmla="*/ 0 h 65"/>
                <a:gd name="T104" fmla="*/ 61 w 61"/>
                <a:gd name="T105" fmla="*/ 65 h 6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1" h="65">
                  <a:moveTo>
                    <a:pt x="14" y="4"/>
                  </a:moveTo>
                  <a:lnTo>
                    <a:pt x="15" y="2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5" y="0"/>
                  </a:lnTo>
                  <a:lnTo>
                    <a:pt x="28" y="0"/>
                  </a:lnTo>
                  <a:lnTo>
                    <a:pt x="49" y="19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4" y="18"/>
                  </a:lnTo>
                  <a:lnTo>
                    <a:pt x="57" y="25"/>
                  </a:lnTo>
                  <a:lnTo>
                    <a:pt x="61" y="33"/>
                  </a:lnTo>
                  <a:lnTo>
                    <a:pt x="60" y="41"/>
                  </a:lnTo>
                  <a:lnTo>
                    <a:pt x="56" y="33"/>
                  </a:lnTo>
                  <a:lnTo>
                    <a:pt x="50" y="40"/>
                  </a:lnTo>
                  <a:lnTo>
                    <a:pt x="40" y="54"/>
                  </a:lnTo>
                  <a:lnTo>
                    <a:pt x="33" y="59"/>
                  </a:lnTo>
                  <a:lnTo>
                    <a:pt x="29" y="59"/>
                  </a:lnTo>
                  <a:lnTo>
                    <a:pt x="24" y="64"/>
                  </a:lnTo>
                  <a:lnTo>
                    <a:pt x="18" y="65"/>
                  </a:lnTo>
                  <a:lnTo>
                    <a:pt x="16" y="61"/>
                  </a:lnTo>
                  <a:lnTo>
                    <a:pt x="14" y="65"/>
                  </a:lnTo>
                  <a:lnTo>
                    <a:pt x="10" y="61"/>
                  </a:lnTo>
                  <a:lnTo>
                    <a:pt x="6" y="55"/>
                  </a:lnTo>
                  <a:lnTo>
                    <a:pt x="3" y="54"/>
                  </a:lnTo>
                  <a:lnTo>
                    <a:pt x="3" y="61"/>
                  </a:lnTo>
                  <a:lnTo>
                    <a:pt x="4" y="65"/>
                  </a:lnTo>
                  <a:lnTo>
                    <a:pt x="1" y="60"/>
                  </a:lnTo>
                  <a:lnTo>
                    <a:pt x="0" y="54"/>
                  </a:lnTo>
                  <a:lnTo>
                    <a:pt x="1" y="47"/>
                  </a:lnTo>
                  <a:lnTo>
                    <a:pt x="2" y="29"/>
                  </a:lnTo>
                  <a:lnTo>
                    <a:pt x="4" y="21"/>
                  </a:lnTo>
                  <a:lnTo>
                    <a:pt x="10" y="9"/>
                  </a:lnTo>
                  <a:lnTo>
                    <a:pt x="14" y="4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23" name="Freeform 233"/>
            <p:cNvSpPr>
              <a:spLocks/>
            </p:cNvSpPr>
            <p:nvPr/>
          </p:nvSpPr>
          <p:spPr bwMode="auto">
            <a:xfrm>
              <a:off x="3181" y="1567"/>
              <a:ext cx="61" cy="65"/>
            </a:xfrm>
            <a:custGeom>
              <a:avLst/>
              <a:gdLst>
                <a:gd name="T0" fmla="*/ 14 w 61"/>
                <a:gd name="T1" fmla="*/ 4 h 65"/>
                <a:gd name="T2" fmla="*/ 15 w 61"/>
                <a:gd name="T3" fmla="*/ 2 h 65"/>
                <a:gd name="T4" fmla="*/ 17 w 61"/>
                <a:gd name="T5" fmla="*/ 2 h 65"/>
                <a:gd name="T6" fmla="*/ 20 w 61"/>
                <a:gd name="T7" fmla="*/ 4 h 65"/>
                <a:gd name="T8" fmla="*/ 25 w 61"/>
                <a:gd name="T9" fmla="*/ 0 h 65"/>
                <a:gd name="T10" fmla="*/ 28 w 61"/>
                <a:gd name="T11" fmla="*/ 0 h 65"/>
                <a:gd name="T12" fmla="*/ 49 w 61"/>
                <a:gd name="T13" fmla="*/ 19 h 65"/>
                <a:gd name="T14" fmla="*/ 52 w 61"/>
                <a:gd name="T15" fmla="*/ 27 h 65"/>
                <a:gd name="T16" fmla="*/ 54 w 61"/>
                <a:gd name="T17" fmla="*/ 27 h 65"/>
                <a:gd name="T18" fmla="*/ 54 w 61"/>
                <a:gd name="T19" fmla="*/ 18 h 65"/>
                <a:gd name="T20" fmla="*/ 57 w 61"/>
                <a:gd name="T21" fmla="*/ 25 h 65"/>
                <a:gd name="T22" fmla="*/ 61 w 61"/>
                <a:gd name="T23" fmla="*/ 33 h 65"/>
                <a:gd name="T24" fmla="*/ 60 w 61"/>
                <a:gd name="T25" fmla="*/ 41 h 65"/>
                <a:gd name="T26" fmla="*/ 56 w 61"/>
                <a:gd name="T27" fmla="*/ 33 h 65"/>
                <a:gd name="T28" fmla="*/ 50 w 61"/>
                <a:gd name="T29" fmla="*/ 40 h 65"/>
                <a:gd name="T30" fmla="*/ 40 w 61"/>
                <a:gd name="T31" fmla="*/ 54 h 65"/>
                <a:gd name="T32" fmla="*/ 33 w 61"/>
                <a:gd name="T33" fmla="*/ 59 h 65"/>
                <a:gd name="T34" fmla="*/ 29 w 61"/>
                <a:gd name="T35" fmla="*/ 59 h 65"/>
                <a:gd name="T36" fmla="*/ 24 w 61"/>
                <a:gd name="T37" fmla="*/ 64 h 65"/>
                <a:gd name="T38" fmla="*/ 18 w 61"/>
                <a:gd name="T39" fmla="*/ 65 h 65"/>
                <a:gd name="T40" fmla="*/ 16 w 61"/>
                <a:gd name="T41" fmla="*/ 61 h 65"/>
                <a:gd name="T42" fmla="*/ 14 w 61"/>
                <a:gd name="T43" fmla="*/ 65 h 65"/>
                <a:gd name="T44" fmla="*/ 10 w 61"/>
                <a:gd name="T45" fmla="*/ 61 h 65"/>
                <a:gd name="T46" fmla="*/ 6 w 61"/>
                <a:gd name="T47" fmla="*/ 55 h 65"/>
                <a:gd name="T48" fmla="*/ 3 w 61"/>
                <a:gd name="T49" fmla="*/ 54 h 65"/>
                <a:gd name="T50" fmla="*/ 3 w 61"/>
                <a:gd name="T51" fmla="*/ 61 h 65"/>
                <a:gd name="T52" fmla="*/ 4 w 61"/>
                <a:gd name="T53" fmla="*/ 65 h 65"/>
                <a:gd name="T54" fmla="*/ 1 w 61"/>
                <a:gd name="T55" fmla="*/ 60 h 65"/>
                <a:gd name="T56" fmla="*/ 0 w 61"/>
                <a:gd name="T57" fmla="*/ 54 h 65"/>
                <a:gd name="T58" fmla="*/ 1 w 61"/>
                <a:gd name="T59" fmla="*/ 47 h 65"/>
                <a:gd name="T60" fmla="*/ 2 w 61"/>
                <a:gd name="T61" fmla="*/ 29 h 65"/>
                <a:gd name="T62" fmla="*/ 4 w 61"/>
                <a:gd name="T63" fmla="*/ 21 h 65"/>
                <a:gd name="T64" fmla="*/ 10 w 61"/>
                <a:gd name="T65" fmla="*/ 9 h 65"/>
                <a:gd name="T66" fmla="*/ 14 w 61"/>
                <a:gd name="T67" fmla="*/ 4 h 65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61"/>
                <a:gd name="T103" fmla="*/ 0 h 65"/>
                <a:gd name="T104" fmla="*/ 61 w 61"/>
                <a:gd name="T105" fmla="*/ 65 h 65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61" h="65">
                  <a:moveTo>
                    <a:pt x="14" y="4"/>
                  </a:moveTo>
                  <a:lnTo>
                    <a:pt x="15" y="2"/>
                  </a:lnTo>
                  <a:lnTo>
                    <a:pt x="17" y="2"/>
                  </a:lnTo>
                  <a:lnTo>
                    <a:pt x="20" y="4"/>
                  </a:lnTo>
                  <a:lnTo>
                    <a:pt x="25" y="0"/>
                  </a:lnTo>
                  <a:lnTo>
                    <a:pt x="28" y="0"/>
                  </a:lnTo>
                  <a:lnTo>
                    <a:pt x="49" y="19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4" y="18"/>
                  </a:lnTo>
                  <a:lnTo>
                    <a:pt x="57" y="25"/>
                  </a:lnTo>
                  <a:lnTo>
                    <a:pt x="61" y="33"/>
                  </a:lnTo>
                  <a:lnTo>
                    <a:pt x="60" y="41"/>
                  </a:lnTo>
                  <a:lnTo>
                    <a:pt x="56" y="33"/>
                  </a:lnTo>
                  <a:lnTo>
                    <a:pt x="50" y="40"/>
                  </a:lnTo>
                  <a:lnTo>
                    <a:pt x="40" y="54"/>
                  </a:lnTo>
                  <a:lnTo>
                    <a:pt x="33" y="59"/>
                  </a:lnTo>
                  <a:lnTo>
                    <a:pt x="29" y="59"/>
                  </a:lnTo>
                  <a:lnTo>
                    <a:pt x="24" y="64"/>
                  </a:lnTo>
                  <a:lnTo>
                    <a:pt x="18" y="65"/>
                  </a:lnTo>
                  <a:lnTo>
                    <a:pt x="16" y="61"/>
                  </a:lnTo>
                  <a:lnTo>
                    <a:pt x="14" y="65"/>
                  </a:lnTo>
                  <a:lnTo>
                    <a:pt x="10" y="61"/>
                  </a:lnTo>
                  <a:lnTo>
                    <a:pt x="6" y="55"/>
                  </a:lnTo>
                  <a:lnTo>
                    <a:pt x="3" y="54"/>
                  </a:lnTo>
                  <a:lnTo>
                    <a:pt x="3" y="61"/>
                  </a:lnTo>
                  <a:lnTo>
                    <a:pt x="4" y="65"/>
                  </a:lnTo>
                  <a:lnTo>
                    <a:pt x="1" y="60"/>
                  </a:lnTo>
                  <a:lnTo>
                    <a:pt x="0" y="54"/>
                  </a:lnTo>
                  <a:lnTo>
                    <a:pt x="1" y="47"/>
                  </a:lnTo>
                  <a:lnTo>
                    <a:pt x="2" y="29"/>
                  </a:lnTo>
                  <a:lnTo>
                    <a:pt x="4" y="21"/>
                  </a:lnTo>
                  <a:lnTo>
                    <a:pt x="10" y="9"/>
                  </a:lnTo>
                  <a:lnTo>
                    <a:pt x="14" y="4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72" name="Group 237"/>
          <p:cNvGrpSpPr>
            <a:grpSpLocks/>
          </p:cNvGrpSpPr>
          <p:nvPr/>
        </p:nvGrpSpPr>
        <p:grpSpPr bwMode="auto">
          <a:xfrm>
            <a:off x="5305425" y="2432050"/>
            <a:ext cx="1365250" cy="2443163"/>
            <a:chOff x="2584" y="1532"/>
            <a:chExt cx="860" cy="1539"/>
          </a:xfrm>
        </p:grpSpPr>
        <p:sp>
          <p:nvSpPr>
            <p:cNvPr id="34320" name="Freeform 235"/>
            <p:cNvSpPr>
              <a:spLocks/>
            </p:cNvSpPr>
            <p:nvPr/>
          </p:nvSpPr>
          <p:spPr bwMode="auto">
            <a:xfrm>
              <a:off x="2584" y="1532"/>
              <a:ext cx="860" cy="1539"/>
            </a:xfrm>
            <a:custGeom>
              <a:avLst/>
              <a:gdLst>
                <a:gd name="T0" fmla="*/ 776 w 860"/>
                <a:gd name="T1" fmla="*/ 133 h 1539"/>
                <a:gd name="T2" fmla="*/ 774 w 860"/>
                <a:gd name="T3" fmla="*/ 81 h 1539"/>
                <a:gd name="T4" fmla="*/ 731 w 860"/>
                <a:gd name="T5" fmla="*/ 100 h 1539"/>
                <a:gd name="T6" fmla="*/ 676 w 860"/>
                <a:gd name="T7" fmla="*/ 128 h 1539"/>
                <a:gd name="T8" fmla="*/ 580 w 860"/>
                <a:gd name="T9" fmla="*/ 234 h 1539"/>
                <a:gd name="T10" fmla="*/ 505 w 860"/>
                <a:gd name="T11" fmla="*/ 189 h 1539"/>
                <a:gd name="T12" fmla="*/ 501 w 860"/>
                <a:gd name="T13" fmla="*/ 114 h 1539"/>
                <a:gd name="T14" fmla="*/ 482 w 860"/>
                <a:gd name="T15" fmla="*/ 217 h 1539"/>
                <a:gd name="T16" fmla="*/ 460 w 860"/>
                <a:gd name="T17" fmla="*/ 296 h 1539"/>
                <a:gd name="T18" fmla="*/ 376 w 860"/>
                <a:gd name="T19" fmla="*/ 314 h 1539"/>
                <a:gd name="T20" fmla="*/ 360 w 860"/>
                <a:gd name="T21" fmla="*/ 396 h 1539"/>
                <a:gd name="T22" fmla="*/ 289 w 860"/>
                <a:gd name="T23" fmla="*/ 364 h 1539"/>
                <a:gd name="T24" fmla="*/ 302 w 860"/>
                <a:gd name="T25" fmla="*/ 439 h 1539"/>
                <a:gd name="T26" fmla="*/ 218 w 860"/>
                <a:gd name="T27" fmla="*/ 409 h 1539"/>
                <a:gd name="T28" fmla="*/ 207 w 860"/>
                <a:gd name="T29" fmla="*/ 305 h 1539"/>
                <a:gd name="T30" fmla="*/ 139 w 860"/>
                <a:gd name="T31" fmla="*/ 227 h 1539"/>
                <a:gd name="T32" fmla="*/ 200 w 860"/>
                <a:gd name="T33" fmla="*/ 248 h 1539"/>
                <a:gd name="T34" fmla="*/ 334 w 860"/>
                <a:gd name="T35" fmla="*/ 292 h 1539"/>
                <a:gd name="T36" fmla="*/ 380 w 860"/>
                <a:gd name="T37" fmla="*/ 171 h 1539"/>
                <a:gd name="T38" fmla="*/ 332 w 860"/>
                <a:gd name="T39" fmla="*/ 134 h 1539"/>
                <a:gd name="T40" fmla="*/ 226 w 860"/>
                <a:gd name="T41" fmla="*/ 60 h 1539"/>
                <a:gd name="T42" fmla="*/ 154 w 860"/>
                <a:gd name="T43" fmla="*/ 44 h 1539"/>
                <a:gd name="T44" fmla="*/ 157 w 860"/>
                <a:gd name="T45" fmla="*/ 30 h 1539"/>
                <a:gd name="T46" fmla="*/ 121 w 860"/>
                <a:gd name="T47" fmla="*/ 23 h 1539"/>
                <a:gd name="T48" fmla="*/ 54 w 860"/>
                <a:gd name="T49" fmla="*/ 63 h 1539"/>
                <a:gd name="T50" fmla="*/ 67 w 860"/>
                <a:gd name="T51" fmla="*/ 166 h 1539"/>
                <a:gd name="T52" fmla="*/ 69 w 860"/>
                <a:gd name="T53" fmla="*/ 340 h 1539"/>
                <a:gd name="T54" fmla="*/ 84 w 860"/>
                <a:gd name="T55" fmla="*/ 464 h 1539"/>
                <a:gd name="T56" fmla="*/ 33 w 860"/>
                <a:gd name="T57" fmla="*/ 636 h 1539"/>
                <a:gd name="T58" fmla="*/ 72 w 860"/>
                <a:gd name="T59" fmla="*/ 677 h 1539"/>
                <a:gd name="T60" fmla="*/ 20 w 860"/>
                <a:gd name="T61" fmla="*/ 694 h 1539"/>
                <a:gd name="T62" fmla="*/ 11 w 860"/>
                <a:gd name="T63" fmla="*/ 763 h 1539"/>
                <a:gd name="T64" fmla="*/ 0 w 860"/>
                <a:gd name="T65" fmla="*/ 808 h 1539"/>
                <a:gd name="T66" fmla="*/ 25 w 860"/>
                <a:gd name="T67" fmla="*/ 881 h 1539"/>
                <a:gd name="T68" fmla="*/ 89 w 860"/>
                <a:gd name="T69" fmla="*/ 903 h 1539"/>
                <a:gd name="T70" fmla="*/ 108 w 860"/>
                <a:gd name="T71" fmla="*/ 968 h 1539"/>
                <a:gd name="T72" fmla="*/ 151 w 860"/>
                <a:gd name="T73" fmla="*/ 1023 h 1539"/>
                <a:gd name="T74" fmla="*/ 119 w 860"/>
                <a:gd name="T75" fmla="*/ 1060 h 1539"/>
                <a:gd name="T76" fmla="*/ 175 w 860"/>
                <a:gd name="T77" fmla="*/ 1074 h 1539"/>
                <a:gd name="T78" fmla="*/ 213 w 860"/>
                <a:gd name="T79" fmla="*/ 1125 h 1539"/>
                <a:gd name="T80" fmla="*/ 266 w 860"/>
                <a:gd name="T81" fmla="*/ 1165 h 1539"/>
                <a:gd name="T82" fmla="*/ 344 w 860"/>
                <a:gd name="T83" fmla="*/ 1189 h 1539"/>
                <a:gd name="T84" fmla="*/ 353 w 860"/>
                <a:gd name="T85" fmla="*/ 1240 h 1539"/>
                <a:gd name="T86" fmla="*/ 311 w 860"/>
                <a:gd name="T87" fmla="*/ 1295 h 1539"/>
                <a:gd name="T88" fmla="*/ 317 w 860"/>
                <a:gd name="T89" fmla="*/ 1319 h 1539"/>
                <a:gd name="T90" fmla="*/ 293 w 860"/>
                <a:gd name="T91" fmla="*/ 1367 h 1539"/>
                <a:gd name="T92" fmla="*/ 327 w 860"/>
                <a:gd name="T93" fmla="*/ 1423 h 1539"/>
                <a:gd name="T94" fmla="*/ 428 w 860"/>
                <a:gd name="T95" fmla="*/ 1461 h 1539"/>
                <a:gd name="T96" fmla="*/ 513 w 860"/>
                <a:gd name="T97" fmla="*/ 1486 h 1539"/>
                <a:gd name="T98" fmla="*/ 568 w 860"/>
                <a:gd name="T99" fmla="*/ 1534 h 1539"/>
                <a:gd name="T100" fmla="*/ 578 w 860"/>
                <a:gd name="T101" fmla="*/ 1468 h 1539"/>
                <a:gd name="T102" fmla="*/ 565 w 860"/>
                <a:gd name="T103" fmla="*/ 1389 h 1539"/>
                <a:gd name="T104" fmla="*/ 602 w 860"/>
                <a:gd name="T105" fmla="*/ 1355 h 1539"/>
                <a:gd name="T106" fmla="*/ 603 w 860"/>
                <a:gd name="T107" fmla="*/ 1289 h 1539"/>
                <a:gd name="T108" fmla="*/ 549 w 860"/>
                <a:gd name="T109" fmla="*/ 1249 h 1539"/>
                <a:gd name="T110" fmla="*/ 583 w 860"/>
                <a:gd name="T111" fmla="*/ 1164 h 1539"/>
                <a:gd name="T112" fmla="*/ 632 w 860"/>
                <a:gd name="T113" fmla="*/ 1130 h 1539"/>
                <a:gd name="T114" fmla="*/ 687 w 860"/>
                <a:gd name="T115" fmla="*/ 1111 h 1539"/>
                <a:gd name="T116" fmla="*/ 747 w 860"/>
                <a:gd name="T117" fmla="*/ 1109 h 1539"/>
                <a:gd name="T118" fmla="*/ 781 w 860"/>
                <a:gd name="T119" fmla="*/ 1137 h 1539"/>
                <a:gd name="T120" fmla="*/ 842 w 860"/>
                <a:gd name="T121" fmla="*/ 1137 h 153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60"/>
                <a:gd name="T184" fmla="*/ 0 h 1539"/>
                <a:gd name="T185" fmla="*/ 860 w 860"/>
                <a:gd name="T186" fmla="*/ 1539 h 153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60" h="1539">
                  <a:moveTo>
                    <a:pt x="860" y="112"/>
                  </a:moveTo>
                  <a:lnTo>
                    <a:pt x="854" y="113"/>
                  </a:lnTo>
                  <a:lnTo>
                    <a:pt x="851" y="108"/>
                  </a:lnTo>
                  <a:lnTo>
                    <a:pt x="843" y="106"/>
                  </a:lnTo>
                  <a:lnTo>
                    <a:pt x="833" y="109"/>
                  </a:lnTo>
                  <a:lnTo>
                    <a:pt x="824" y="104"/>
                  </a:lnTo>
                  <a:lnTo>
                    <a:pt x="812" y="112"/>
                  </a:lnTo>
                  <a:lnTo>
                    <a:pt x="806" y="111"/>
                  </a:lnTo>
                  <a:lnTo>
                    <a:pt x="793" y="122"/>
                  </a:lnTo>
                  <a:lnTo>
                    <a:pt x="791" y="126"/>
                  </a:lnTo>
                  <a:lnTo>
                    <a:pt x="791" y="137"/>
                  </a:lnTo>
                  <a:lnTo>
                    <a:pt x="789" y="142"/>
                  </a:lnTo>
                  <a:lnTo>
                    <a:pt x="785" y="142"/>
                  </a:lnTo>
                  <a:lnTo>
                    <a:pt x="780" y="139"/>
                  </a:lnTo>
                  <a:lnTo>
                    <a:pt x="776" y="133"/>
                  </a:lnTo>
                  <a:lnTo>
                    <a:pt x="773" y="134"/>
                  </a:lnTo>
                  <a:lnTo>
                    <a:pt x="770" y="137"/>
                  </a:lnTo>
                  <a:lnTo>
                    <a:pt x="764" y="129"/>
                  </a:lnTo>
                  <a:lnTo>
                    <a:pt x="764" y="115"/>
                  </a:lnTo>
                  <a:lnTo>
                    <a:pt x="761" y="112"/>
                  </a:lnTo>
                  <a:lnTo>
                    <a:pt x="761" y="108"/>
                  </a:lnTo>
                  <a:lnTo>
                    <a:pt x="764" y="100"/>
                  </a:lnTo>
                  <a:lnTo>
                    <a:pt x="765" y="93"/>
                  </a:lnTo>
                  <a:lnTo>
                    <a:pt x="762" y="87"/>
                  </a:lnTo>
                  <a:lnTo>
                    <a:pt x="759" y="85"/>
                  </a:lnTo>
                  <a:lnTo>
                    <a:pt x="759" y="89"/>
                  </a:lnTo>
                  <a:lnTo>
                    <a:pt x="757" y="90"/>
                  </a:lnTo>
                  <a:lnTo>
                    <a:pt x="757" y="84"/>
                  </a:lnTo>
                  <a:lnTo>
                    <a:pt x="761" y="82"/>
                  </a:lnTo>
                  <a:lnTo>
                    <a:pt x="774" y="81"/>
                  </a:lnTo>
                  <a:lnTo>
                    <a:pt x="781" y="77"/>
                  </a:lnTo>
                  <a:lnTo>
                    <a:pt x="782" y="76"/>
                  </a:lnTo>
                  <a:lnTo>
                    <a:pt x="779" y="77"/>
                  </a:lnTo>
                  <a:lnTo>
                    <a:pt x="769" y="80"/>
                  </a:lnTo>
                  <a:lnTo>
                    <a:pt x="766" y="79"/>
                  </a:lnTo>
                  <a:lnTo>
                    <a:pt x="758" y="80"/>
                  </a:lnTo>
                  <a:lnTo>
                    <a:pt x="747" y="85"/>
                  </a:lnTo>
                  <a:lnTo>
                    <a:pt x="747" y="90"/>
                  </a:lnTo>
                  <a:lnTo>
                    <a:pt x="743" y="91"/>
                  </a:lnTo>
                  <a:lnTo>
                    <a:pt x="741" y="94"/>
                  </a:lnTo>
                  <a:lnTo>
                    <a:pt x="743" y="100"/>
                  </a:lnTo>
                  <a:lnTo>
                    <a:pt x="743" y="105"/>
                  </a:lnTo>
                  <a:lnTo>
                    <a:pt x="737" y="107"/>
                  </a:lnTo>
                  <a:lnTo>
                    <a:pt x="733" y="105"/>
                  </a:lnTo>
                  <a:lnTo>
                    <a:pt x="731" y="100"/>
                  </a:lnTo>
                  <a:lnTo>
                    <a:pt x="734" y="96"/>
                  </a:lnTo>
                  <a:lnTo>
                    <a:pt x="730" y="96"/>
                  </a:lnTo>
                  <a:lnTo>
                    <a:pt x="718" y="109"/>
                  </a:lnTo>
                  <a:lnTo>
                    <a:pt x="723" y="108"/>
                  </a:lnTo>
                  <a:lnTo>
                    <a:pt x="725" y="113"/>
                  </a:lnTo>
                  <a:lnTo>
                    <a:pt x="725" y="117"/>
                  </a:lnTo>
                  <a:lnTo>
                    <a:pt x="724" y="122"/>
                  </a:lnTo>
                  <a:lnTo>
                    <a:pt x="719" y="126"/>
                  </a:lnTo>
                  <a:lnTo>
                    <a:pt x="717" y="127"/>
                  </a:lnTo>
                  <a:lnTo>
                    <a:pt x="714" y="120"/>
                  </a:lnTo>
                  <a:lnTo>
                    <a:pt x="710" y="114"/>
                  </a:lnTo>
                  <a:lnTo>
                    <a:pt x="696" y="118"/>
                  </a:lnTo>
                  <a:lnTo>
                    <a:pt x="697" y="121"/>
                  </a:lnTo>
                  <a:lnTo>
                    <a:pt x="678" y="129"/>
                  </a:lnTo>
                  <a:lnTo>
                    <a:pt x="676" y="128"/>
                  </a:lnTo>
                  <a:lnTo>
                    <a:pt x="672" y="129"/>
                  </a:lnTo>
                  <a:lnTo>
                    <a:pt x="658" y="143"/>
                  </a:lnTo>
                  <a:lnTo>
                    <a:pt x="619" y="168"/>
                  </a:lnTo>
                  <a:lnTo>
                    <a:pt x="615" y="168"/>
                  </a:lnTo>
                  <a:lnTo>
                    <a:pt x="614" y="176"/>
                  </a:lnTo>
                  <a:lnTo>
                    <a:pt x="617" y="177"/>
                  </a:lnTo>
                  <a:lnTo>
                    <a:pt x="612" y="181"/>
                  </a:lnTo>
                  <a:lnTo>
                    <a:pt x="600" y="183"/>
                  </a:lnTo>
                  <a:lnTo>
                    <a:pt x="595" y="187"/>
                  </a:lnTo>
                  <a:lnTo>
                    <a:pt x="592" y="185"/>
                  </a:lnTo>
                  <a:lnTo>
                    <a:pt x="589" y="192"/>
                  </a:lnTo>
                  <a:lnTo>
                    <a:pt x="585" y="209"/>
                  </a:lnTo>
                  <a:lnTo>
                    <a:pt x="583" y="215"/>
                  </a:lnTo>
                  <a:lnTo>
                    <a:pt x="584" y="228"/>
                  </a:lnTo>
                  <a:lnTo>
                    <a:pt x="580" y="234"/>
                  </a:lnTo>
                  <a:lnTo>
                    <a:pt x="572" y="239"/>
                  </a:lnTo>
                  <a:lnTo>
                    <a:pt x="566" y="238"/>
                  </a:lnTo>
                  <a:lnTo>
                    <a:pt x="555" y="243"/>
                  </a:lnTo>
                  <a:lnTo>
                    <a:pt x="553" y="254"/>
                  </a:lnTo>
                  <a:lnTo>
                    <a:pt x="550" y="246"/>
                  </a:lnTo>
                  <a:lnTo>
                    <a:pt x="549" y="238"/>
                  </a:lnTo>
                  <a:lnTo>
                    <a:pt x="543" y="243"/>
                  </a:lnTo>
                  <a:lnTo>
                    <a:pt x="537" y="243"/>
                  </a:lnTo>
                  <a:lnTo>
                    <a:pt x="533" y="239"/>
                  </a:lnTo>
                  <a:lnTo>
                    <a:pt x="527" y="229"/>
                  </a:lnTo>
                  <a:lnTo>
                    <a:pt x="525" y="223"/>
                  </a:lnTo>
                  <a:lnTo>
                    <a:pt x="513" y="210"/>
                  </a:lnTo>
                  <a:lnTo>
                    <a:pt x="508" y="205"/>
                  </a:lnTo>
                  <a:lnTo>
                    <a:pt x="505" y="197"/>
                  </a:lnTo>
                  <a:lnTo>
                    <a:pt x="505" y="189"/>
                  </a:lnTo>
                  <a:lnTo>
                    <a:pt x="511" y="189"/>
                  </a:lnTo>
                  <a:lnTo>
                    <a:pt x="515" y="184"/>
                  </a:lnTo>
                  <a:lnTo>
                    <a:pt x="517" y="177"/>
                  </a:lnTo>
                  <a:lnTo>
                    <a:pt x="524" y="174"/>
                  </a:lnTo>
                  <a:lnTo>
                    <a:pt x="553" y="168"/>
                  </a:lnTo>
                  <a:lnTo>
                    <a:pt x="549" y="159"/>
                  </a:lnTo>
                  <a:lnTo>
                    <a:pt x="548" y="149"/>
                  </a:lnTo>
                  <a:lnTo>
                    <a:pt x="546" y="140"/>
                  </a:lnTo>
                  <a:lnTo>
                    <a:pt x="541" y="143"/>
                  </a:lnTo>
                  <a:lnTo>
                    <a:pt x="536" y="133"/>
                  </a:lnTo>
                  <a:lnTo>
                    <a:pt x="533" y="131"/>
                  </a:lnTo>
                  <a:lnTo>
                    <a:pt x="532" y="122"/>
                  </a:lnTo>
                  <a:lnTo>
                    <a:pt x="527" y="117"/>
                  </a:lnTo>
                  <a:lnTo>
                    <a:pt x="513" y="113"/>
                  </a:lnTo>
                  <a:lnTo>
                    <a:pt x="501" y="114"/>
                  </a:lnTo>
                  <a:lnTo>
                    <a:pt x="488" y="112"/>
                  </a:lnTo>
                  <a:lnTo>
                    <a:pt x="482" y="114"/>
                  </a:lnTo>
                  <a:lnTo>
                    <a:pt x="477" y="113"/>
                  </a:lnTo>
                  <a:lnTo>
                    <a:pt x="456" y="102"/>
                  </a:lnTo>
                  <a:lnTo>
                    <a:pt x="456" y="107"/>
                  </a:lnTo>
                  <a:lnTo>
                    <a:pt x="481" y="129"/>
                  </a:lnTo>
                  <a:lnTo>
                    <a:pt x="481" y="146"/>
                  </a:lnTo>
                  <a:lnTo>
                    <a:pt x="482" y="154"/>
                  </a:lnTo>
                  <a:lnTo>
                    <a:pt x="480" y="164"/>
                  </a:lnTo>
                  <a:lnTo>
                    <a:pt x="480" y="173"/>
                  </a:lnTo>
                  <a:lnTo>
                    <a:pt x="473" y="199"/>
                  </a:lnTo>
                  <a:lnTo>
                    <a:pt x="472" y="206"/>
                  </a:lnTo>
                  <a:lnTo>
                    <a:pt x="473" y="215"/>
                  </a:lnTo>
                  <a:lnTo>
                    <a:pt x="476" y="217"/>
                  </a:lnTo>
                  <a:lnTo>
                    <a:pt x="482" y="217"/>
                  </a:lnTo>
                  <a:lnTo>
                    <a:pt x="487" y="221"/>
                  </a:lnTo>
                  <a:lnTo>
                    <a:pt x="492" y="231"/>
                  </a:lnTo>
                  <a:lnTo>
                    <a:pt x="492" y="238"/>
                  </a:lnTo>
                  <a:lnTo>
                    <a:pt x="490" y="244"/>
                  </a:lnTo>
                  <a:lnTo>
                    <a:pt x="491" y="250"/>
                  </a:lnTo>
                  <a:lnTo>
                    <a:pt x="489" y="260"/>
                  </a:lnTo>
                  <a:lnTo>
                    <a:pt x="484" y="268"/>
                  </a:lnTo>
                  <a:lnTo>
                    <a:pt x="480" y="281"/>
                  </a:lnTo>
                  <a:lnTo>
                    <a:pt x="484" y="290"/>
                  </a:lnTo>
                  <a:lnTo>
                    <a:pt x="482" y="309"/>
                  </a:lnTo>
                  <a:lnTo>
                    <a:pt x="476" y="301"/>
                  </a:lnTo>
                  <a:lnTo>
                    <a:pt x="475" y="295"/>
                  </a:lnTo>
                  <a:lnTo>
                    <a:pt x="471" y="290"/>
                  </a:lnTo>
                  <a:lnTo>
                    <a:pt x="467" y="291"/>
                  </a:lnTo>
                  <a:lnTo>
                    <a:pt x="460" y="296"/>
                  </a:lnTo>
                  <a:lnTo>
                    <a:pt x="464" y="288"/>
                  </a:lnTo>
                  <a:lnTo>
                    <a:pt x="465" y="283"/>
                  </a:lnTo>
                  <a:lnTo>
                    <a:pt x="456" y="275"/>
                  </a:lnTo>
                  <a:lnTo>
                    <a:pt x="452" y="273"/>
                  </a:lnTo>
                  <a:lnTo>
                    <a:pt x="439" y="273"/>
                  </a:lnTo>
                  <a:lnTo>
                    <a:pt x="428" y="263"/>
                  </a:lnTo>
                  <a:lnTo>
                    <a:pt x="424" y="268"/>
                  </a:lnTo>
                  <a:lnTo>
                    <a:pt x="422" y="274"/>
                  </a:lnTo>
                  <a:lnTo>
                    <a:pt x="414" y="283"/>
                  </a:lnTo>
                  <a:lnTo>
                    <a:pt x="408" y="290"/>
                  </a:lnTo>
                  <a:lnTo>
                    <a:pt x="403" y="296"/>
                  </a:lnTo>
                  <a:lnTo>
                    <a:pt x="390" y="302"/>
                  </a:lnTo>
                  <a:lnTo>
                    <a:pt x="386" y="302"/>
                  </a:lnTo>
                  <a:lnTo>
                    <a:pt x="379" y="306"/>
                  </a:lnTo>
                  <a:lnTo>
                    <a:pt x="376" y="314"/>
                  </a:lnTo>
                  <a:lnTo>
                    <a:pt x="370" y="320"/>
                  </a:lnTo>
                  <a:lnTo>
                    <a:pt x="363" y="325"/>
                  </a:lnTo>
                  <a:lnTo>
                    <a:pt x="357" y="327"/>
                  </a:lnTo>
                  <a:lnTo>
                    <a:pt x="357" y="333"/>
                  </a:lnTo>
                  <a:lnTo>
                    <a:pt x="359" y="347"/>
                  </a:lnTo>
                  <a:lnTo>
                    <a:pt x="365" y="359"/>
                  </a:lnTo>
                  <a:lnTo>
                    <a:pt x="371" y="367"/>
                  </a:lnTo>
                  <a:lnTo>
                    <a:pt x="375" y="375"/>
                  </a:lnTo>
                  <a:lnTo>
                    <a:pt x="382" y="391"/>
                  </a:lnTo>
                  <a:lnTo>
                    <a:pt x="383" y="396"/>
                  </a:lnTo>
                  <a:lnTo>
                    <a:pt x="387" y="403"/>
                  </a:lnTo>
                  <a:lnTo>
                    <a:pt x="387" y="406"/>
                  </a:lnTo>
                  <a:lnTo>
                    <a:pt x="378" y="400"/>
                  </a:lnTo>
                  <a:lnTo>
                    <a:pt x="375" y="401"/>
                  </a:lnTo>
                  <a:lnTo>
                    <a:pt x="360" y="396"/>
                  </a:lnTo>
                  <a:lnTo>
                    <a:pt x="360" y="398"/>
                  </a:lnTo>
                  <a:lnTo>
                    <a:pt x="359" y="400"/>
                  </a:lnTo>
                  <a:lnTo>
                    <a:pt x="353" y="399"/>
                  </a:lnTo>
                  <a:lnTo>
                    <a:pt x="342" y="395"/>
                  </a:lnTo>
                  <a:lnTo>
                    <a:pt x="333" y="387"/>
                  </a:lnTo>
                  <a:lnTo>
                    <a:pt x="325" y="386"/>
                  </a:lnTo>
                  <a:lnTo>
                    <a:pt x="320" y="383"/>
                  </a:lnTo>
                  <a:lnTo>
                    <a:pt x="312" y="390"/>
                  </a:lnTo>
                  <a:lnTo>
                    <a:pt x="308" y="397"/>
                  </a:lnTo>
                  <a:lnTo>
                    <a:pt x="306" y="386"/>
                  </a:lnTo>
                  <a:lnTo>
                    <a:pt x="314" y="381"/>
                  </a:lnTo>
                  <a:lnTo>
                    <a:pt x="308" y="378"/>
                  </a:lnTo>
                  <a:lnTo>
                    <a:pt x="299" y="377"/>
                  </a:lnTo>
                  <a:lnTo>
                    <a:pt x="297" y="370"/>
                  </a:lnTo>
                  <a:lnTo>
                    <a:pt x="289" y="364"/>
                  </a:lnTo>
                  <a:lnTo>
                    <a:pt x="279" y="359"/>
                  </a:lnTo>
                  <a:lnTo>
                    <a:pt x="273" y="358"/>
                  </a:lnTo>
                  <a:lnTo>
                    <a:pt x="272" y="369"/>
                  </a:lnTo>
                  <a:lnTo>
                    <a:pt x="267" y="375"/>
                  </a:lnTo>
                  <a:lnTo>
                    <a:pt x="262" y="377"/>
                  </a:lnTo>
                  <a:lnTo>
                    <a:pt x="263" y="382"/>
                  </a:lnTo>
                  <a:lnTo>
                    <a:pt x="266" y="390"/>
                  </a:lnTo>
                  <a:lnTo>
                    <a:pt x="271" y="392"/>
                  </a:lnTo>
                  <a:lnTo>
                    <a:pt x="277" y="404"/>
                  </a:lnTo>
                  <a:lnTo>
                    <a:pt x="285" y="413"/>
                  </a:lnTo>
                  <a:lnTo>
                    <a:pt x="301" y="406"/>
                  </a:lnTo>
                  <a:lnTo>
                    <a:pt x="304" y="415"/>
                  </a:lnTo>
                  <a:lnTo>
                    <a:pt x="308" y="439"/>
                  </a:lnTo>
                  <a:lnTo>
                    <a:pt x="311" y="443"/>
                  </a:lnTo>
                  <a:lnTo>
                    <a:pt x="302" y="439"/>
                  </a:lnTo>
                  <a:lnTo>
                    <a:pt x="294" y="445"/>
                  </a:lnTo>
                  <a:lnTo>
                    <a:pt x="292" y="449"/>
                  </a:lnTo>
                  <a:lnTo>
                    <a:pt x="292" y="451"/>
                  </a:lnTo>
                  <a:lnTo>
                    <a:pt x="285" y="446"/>
                  </a:lnTo>
                  <a:lnTo>
                    <a:pt x="280" y="446"/>
                  </a:lnTo>
                  <a:lnTo>
                    <a:pt x="263" y="437"/>
                  </a:lnTo>
                  <a:lnTo>
                    <a:pt x="254" y="434"/>
                  </a:lnTo>
                  <a:lnTo>
                    <a:pt x="253" y="431"/>
                  </a:lnTo>
                  <a:lnTo>
                    <a:pt x="249" y="425"/>
                  </a:lnTo>
                  <a:lnTo>
                    <a:pt x="245" y="421"/>
                  </a:lnTo>
                  <a:lnTo>
                    <a:pt x="241" y="416"/>
                  </a:lnTo>
                  <a:lnTo>
                    <a:pt x="236" y="413"/>
                  </a:lnTo>
                  <a:lnTo>
                    <a:pt x="233" y="416"/>
                  </a:lnTo>
                  <a:lnTo>
                    <a:pt x="227" y="417"/>
                  </a:lnTo>
                  <a:lnTo>
                    <a:pt x="218" y="409"/>
                  </a:lnTo>
                  <a:lnTo>
                    <a:pt x="215" y="403"/>
                  </a:lnTo>
                  <a:lnTo>
                    <a:pt x="208" y="407"/>
                  </a:lnTo>
                  <a:lnTo>
                    <a:pt x="209" y="402"/>
                  </a:lnTo>
                  <a:lnTo>
                    <a:pt x="214" y="397"/>
                  </a:lnTo>
                  <a:lnTo>
                    <a:pt x="213" y="387"/>
                  </a:lnTo>
                  <a:lnTo>
                    <a:pt x="214" y="378"/>
                  </a:lnTo>
                  <a:lnTo>
                    <a:pt x="209" y="373"/>
                  </a:lnTo>
                  <a:lnTo>
                    <a:pt x="209" y="365"/>
                  </a:lnTo>
                  <a:lnTo>
                    <a:pt x="199" y="346"/>
                  </a:lnTo>
                  <a:lnTo>
                    <a:pt x="202" y="342"/>
                  </a:lnTo>
                  <a:lnTo>
                    <a:pt x="209" y="340"/>
                  </a:lnTo>
                  <a:lnTo>
                    <a:pt x="211" y="329"/>
                  </a:lnTo>
                  <a:lnTo>
                    <a:pt x="212" y="315"/>
                  </a:lnTo>
                  <a:lnTo>
                    <a:pt x="211" y="309"/>
                  </a:lnTo>
                  <a:lnTo>
                    <a:pt x="207" y="305"/>
                  </a:lnTo>
                  <a:lnTo>
                    <a:pt x="204" y="294"/>
                  </a:lnTo>
                  <a:lnTo>
                    <a:pt x="201" y="291"/>
                  </a:lnTo>
                  <a:lnTo>
                    <a:pt x="193" y="290"/>
                  </a:lnTo>
                  <a:lnTo>
                    <a:pt x="191" y="283"/>
                  </a:lnTo>
                  <a:lnTo>
                    <a:pt x="185" y="283"/>
                  </a:lnTo>
                  <a:lnTo>
                    <a:pt x="176" y="280"/>
                  </a:lnTo>
                  <a:lnTo>
                    <a:pt x="176" y="276"/>
                  </a:lnTo>
                  <a:lnTo>
                    <a:pt x="177" y="271"/>
                  </a:lnTo>
                  <a:lnTo>
                    <a:pt x="176" y="269"/>
                  </a:lnTo>
                  <a:lnTo>
                    <a:pt x="167" y="268"/>
                  </a:lnTo>
                  <a:lnTo>
                    <a:pt x="150" y="252"/>
                  </a:lnTo>
                  <a:lnTo>
                    <a:pt x="153" y="249"/>
                  </a:lnTo>
                  <a:lnTo>
                    <a:pt x="145" y="241"/>
                  </a:lnTo>
                  <a:lnTo>
                    <a:pt x="143" y="233"/>
                  </a:lnTo>
                  <a:lnTo>
                    <a:pt x="139" y="227"/>
                  </a:lnTo>
                  <a:lnTo>
                    <a:pt x="131" y="224"/>
                  </a:lnTo>
                  <a:lnTo>
                    <a:pt x="134" y="220"/>
                  </a:lnTo>
                  <a:lnTo>
                    <a:pt x="145" y="218"/>
                  </a:lnTo>
                  <a:lnTo>
                    <a:pt x="155" y="224"/>
                  </a:lnTo>
                  <a:lnTo>
                    <a:pt x="156" y="230"/>
                  </a:lnTo>
                  <a:lnTo>
                    <a:pt x="161" y="238"/>
                  </a:lnTo>
                  <a:lnTo>
                    <a:pt x="176" y="247"/>
                  </a:lnTo>
                  <a:lnTo>
                    <a:pt x="178" y="246"/>
                  </a:lnTo>
                  <a:lnTo>
                    <a:pt x="180" y="242"/>
                  </a:lnTo>
                  <a:lnTo>
                    <a:pt x="184" y="249"/>
                  </a:lnTo>
                  <a:lnTo>
                    <a:pt x="188" y="253"/>
                  </a:lnTo>
                  <a:lnTo>
                    <a:pt x="191" y="249"/>
                  </a:lnTo>
                  <a:lnTo>
                    <a:pt x="194" y="251"/>
                  </a:lnTo>
                  <a:lnTo>
                    <a:pt x="197" y="247"/>
                  </a:lnTo>
                  <a:lnTo>
                    <a:pt x="200" y="248"/>
                  </a:lnTo>
                  <a:lnTo>
                    <a:pt x="201" y="255"/>
                  </a:lnTo>
                  <a:lnTo>
                    <a:pt x="203" y="261"/>
                  </a:lnTo>
                  <a:lnTo>
                    <a:pt x="211" y="258"/>
                  </a:lnTo>
                  <a:lnTo>
                    <a:pt x="221" y="261"/>
                  </a:lnTo>
                  <a:lnTo>
                    <a:pt x="224" y="266"/>
                  </a:lnTo>
                  <a:lnTo>
                    <a:pt x="230" y="266"/>
                  </a:lnTo>
                  <a:lnTo>
                    <a:pt x="235" y="271"/>
                  </a:lnTo>
                  <a:lnTo>
                    <a:pt x="252" y="276"/>
                  </a:lnTo>
                  <a:lnTo>
                    <a:pt x="259" y="280"/>
                  </a:lnTo>
                  <a:lnTo>
                    <a:pt x="274" y="281"/>
                  </a:lnTo>
                  <a:lnTo>
                    <a:pt x="288" y="286"/>
                  </a:lnTo>
                  <a:lnTo>
                    <a:pt x="292" y="291"/>
                  </a:lnTo>
                  <a:lnTo>
                    <a:pt x="302" y="293"/>
                  </a:lnTo>
                  <a:lnTo>
                    <a:pt x="328" y="295"/>
                  </a:lnTo>
                  <a:lnTo>
                    <a:pt x="334" y="292"/>
                  </a:lnTo>
                  <a:lnTo>
                    <a:pt x="341" y="291"/>
                  </a:lnTo>
                  <a:lnTo>
                    <a:pt x="364" y="280"/>
                  </a:lnTo>
                  <a:lnTo>
                    <a:pt x="369" y="275"/>
                  </a:lnTo>
                  <a:lnTo>
                    <a:pt x="374" y="272"/>
                  </a:lnTo>
                  <a:lnTo>
                    <a:pt x="384" y="261"/>
                  </a:lnTo>
                  <a:lnTo>
                    <a:pt x="395" y="243"/>
                  </a:lnTo>
                  <a:lnTo>
                    <a:pt x="399" y="230"/>
                  </a:lnTo>
                  <a:lnTo>
                    <a:pt x="401" y="218"/>
                  </a:lnTo>
                  <a:lnTo>
                    <a:pt x="396" y="215"/>
                  </a:lnTo>
                  <a:lnTo>
                    <a:pt x="394" y="213"/>
                  </a:lnTo>
                  <a:lnTo>
                    <a:pt x="394" y="201"/>
                  </a:lnTo>
                  <a:lnTo>
                    <a:pt x="392" y="193"/>
                  </a:lnTo>
                  <a:lnTo>
                    <a:pt x="391" y="182"/>
                  </a:lnTo>
                  <a:lnTo>
                    <a:pt x="386" y="175"/>
                  </a:lnTo>
                  <a:lnTo>
                    <a:pt x="380" y="171"/>
                  </a:lnTo>
                  <a:lnTo>
                    <a:pt x="377" y="173"/>
                  </a:lnTo>
                  <a:lnTo>
                    <a:pt x="372" y="169"/>
                  </a:lnTo>
                  <a:lnTo>
                    <a:pt x="373" y="164"/>
                  </a:lnTo>
                  <a:lnTo>
                    <a:pt x="370" y="162"/>
                  </a:lnTo>
                  <a:lnTo>
                    <a:pt x="363" y="154"/>
                  </a:lnTo>
                  <a:lnTo>
                    <a:pt x="362" y="150"/>
                  </a:lnTo>
                  <a:lnTo>
                    <a:pt x="359" y="147"/>
                  </a:lnTo>
                  <a:lnTo>
                    <a:pt x="355" y="144"/>
                  </a:lnTo>
                  <a:lnTo>
                    <a:pt x="357" y="151"/>
                  </a:lnTo>
                  <a:lnTo>
                    <a:pt x="353" y="153"/>
                  </a:lnTo>
                  <a:lnTo>
                    <a:pt x="341" y="144"/>
                  </a:lnTo>
                  <a:lnTo>
                    <a:pt x="336" y="139"/>
                  </a:lnTo>
                  <a:lnTo>
                    <a:pt x="335" y="144"/>
                  </a:lnTo>
                  <a:lnTo>
                    <a:pt x="334" y="141"/>
                  </a:lnTo>
                  <a:lnTo>
                    <a:pt x="332" y="134"/>
                  </a:lnTo>
                  <a:lnTo>
                    <a:pt x="325" y="126"/>
                  </a:lnTo>
                  <a:lnTo>
                    <a:pt x="329" y="135"/>
                  </a:lnTo>
                  <a:lnTo>
                    <a:pt x="318" y="132"/>
                  </a:lnTo>
                  <a:lnTo>
                    <a:pt x="314" y="126"/>
                  </a:lnTo>
                  <a:lnTo>
                    <a:pt x="313" y="122"/>
                  </a:lnTo>
                  <a:lnTo>
                    <a:pt x="309" y="117"/>
                  </a:lnTo>
                  <a:lnTo>
                    <a:pt x="293" y="101"/>
                  </a:lnTo>
                  <a:lnTo>
                    <a:pt x="284" y="94"/>
                  </a:lnTo>
                  <a:lnTo>
                    <a:pt x="280" y="89"/>
                  </a:lnTo>
                  <a:lnTo>
                    <a:pt x="267" y="80"/>
                  </a:lnTo>
                  <a:lnTo>
                    <a:pt x="263" y="74"/>
                  </a:lnTo>
                  <a:lnTo>
                    <a:pt x="245" y="65"/>
                  </a:lnTo>
                  <a:lnTo>
                    <a:pt x="242" y="62"/>
                  </a:lnTo>
                  <a:lnTo>
                    <a:pt x="224" y="57"/>
                  </a:lnTo>
                  <a:lnTo>
                    <a:pt x="226" y="60"/>
                  </a:lnTo>
                  <a:lnTo>
                    <a:pt x="224" y="63"/>
                  </a:lnTo>
                  <a:lnTo>
                    <a:pt x="221" y="63"/>
                  </a:lnTo>
                  <a:lnTo>
                    <a:pt x="212" y="58"/>
                  </a:lnTo>
                  <a:lnTo>
                    <a:pt x="193" y="54"/>
                  </a:lnTo>
                  <a:lnTo>
                    <a:pt x="186" y="50"/>
                  </a:lnTo>
                  <a:lnTo>
                    <a:pt x="184" y="54"/>
                  </a:lnTo>
                  <a:lnTo>
                    <a:pt x="174" y="55"/>
                  </a:lnTo>
                  <a:lnTo>
                    <a:pt x="171" y="58"/>
                  </a:lnTo>
                  <a:lnTo>
                    <a:pt x="169" y="53"/>
                  </a:lnTo>
                  <a:lnTo>
                    <a:pt x="167" y="51"/>
                  </a:lnTo>
                  <a:lnTo>
                    <a:pt x="168" y="44"/>
                  </a:lnTo>
                  <a:lnTo>
                    <a:pt x="167" y="43"/>
                  </a:lnTo>
                  <a:lnTo>
                    <a:pt x="157" y="51"/>
                  </a:lnTo>
                  <a:lnTo>
                    <a:pt x="159" y="41"/>
                  </a:lnTo>
                  <a:lnTo>
                    <a:pt x="154" y="44"/>
                  </a:lnTo>
                  <a:lnTo>
                    <a:pt x="155" y="39"/>
                  </a:lnTo>
                  <a:lnTo>
                    <a:pt x="153" y="38"/>
                  </a:lnTo>
                  <a:lnTo>
                    <a:pt x="149" y="38"/>
                  </a:lnTo>
                  <a:lnTo>
                    <a:pt x="141" y="41"/>
                  </a:lnTo>
                  <a:lnTo>
                    <a:pt x="142" y="38"/>
                  </a:lnTo>
                  <a:lnTo>
                    <a:pt x="142" y="34"/>
                  </a:lnTo>
                  <a:lnTo>
                    <a:pt x="140" y="31"/>
                  </a:lnTo>
                  <a:lnTo>
                    <a:pt x="131" y="31"/>
                  </a:lnTo>
                  <a:lnTo>
                    <a:pt x="135" y="16"/>
                  </a:lnTo>
                  <a:lnTo>
                    <a:pt x="137" y="23"/>
                  </a:lnTo>
                  <a:lnTo>
                    <a:pt x="140" y="25"/>
                  </a:lnTo>
                  <a:lnTo>
                    <a:pt x="143" y="25"/>
                  </a:lnTo>
                  <a:lnTo>
                    <a:pt x="147" y="28"/>
                  </a:lnTo>
                  <a:lnTo>
                    <a:pt x="152" y="28"/>
                  </a:lnTo>
                  <a:lnTo>
                    <a:pt x="157" y="30"/>
                  </a:lnTo>
                  <a:lnTo>
                    <a:pt x="161" y="22"/>
                  </a:lnTo>
                  <a:lnTo>
                    <a:pt x="162" y="16"/>
                  </a:lnTo>
                  <a:lnTo>
                    <a:pt x="152" y="12"/>
                  </a:lnTo>
                  <a:lnTo>
                    <a:pt x="149" y="14"/>
                  </a:lnTo>
                  <a:lnTo>
                    <a:pt x="144" y="10"/>
                  </a:lnTo>
                  <a:lnTo>
                    <a:pt x="144" y="8"/>
                  </a:lnTo>
                  <a:lnTo>
                    <a:pt x="136" y="3"/>
                  </a:lnTo>
                  <a:lnTo>
                    <a:pt x="127" y="0"/>
                  </a:lnTo>
                  <a:lnTo>
                    <a:pt x="130" y="4"/>
                  </a:lnTo>
                  <a:lnTo>
                    <a:pt x="130" y="12"/>
                  </a:lnTo>
                  <a:lnTo>
                    <a:pt x="126" y="13"/>
                  </a:lnTo>
                  <a:lnTo>
                    <a:pt x="123" y="10"/>
                  </a:lnTo>
                  <a:lnTo>
                    <a:pt x="122" y="14"/>
                  </a:lnTo>
                  <a:lnTo>
                    <a:pt x="123" y="20"/>
                  </a:lnTo>
                  <a:lnTo>
                    <a:pt x="121" y="23"/>
                  </a:lnTo>
                  <a:lnTo>
                    <a:pt x="116" y="24"/>
                  </a:lnTo>
                  <a:lnTo>
                    <a:pt x="111" y="17"/>
                  </a:lnTo>
                  <a:lnTo>
                    <a:pt x="100" y="13"/>
                  </a:lnTo>
                  <a:lnTo>
                    <a:pt x="99" y="13"/>
                  </a:lnTo>
                  <a:lnTo>
                    <a:pt x="100" y="16"/>
                  </a:lnTo>
                  <a:lnTo>
                    <a:pt x="100" y="21"/>
                  </a:lnTo>
                  <a:lnTo>
                    <a:pt x="98" y="28"/>
                  </a:lnTo>
                  <a:lnTo>
                    <a:pt x="97" y="31"/>
                  </a:lnTo>
                  <a:lnTo>
                    <a:pt x="91" y="32"/>
                  </a:lnTo>
                  <a:lnTo>
                    <a:pt x="79" y="25"/>
                  </a:lnTo>
                  <a:lnTo>
                    <a:pt x="75" y="41"/>
                  </a:lnTo>
                  <a:lnTo>
                    <a:pt x="72" y="45"/>
                  </a:lnTo>
                  <a:lnTo>
                    <a:pt x="55" y="55"/>
                  </a:lnTo>
                  <a:lnTo>
                    <a:pt x="54" y="57"/>
                  </a:lnTo>
                  <a:lnTo>
                    <a:pt x="54" y="63"/>
                  </a:lnTo>
                  <a:lnTo>
                    <a:pt x="53" y="65"/>
                  </a:lnTo>
                  <a:lnTo>
                    <a:pt x="49" y="70"/>
                  </a:lnTo>
                  <a:lnTo>
                    <a:pt x="47" y="70"/>
                  </a:lnTo>
                  <a:lnTo>
                    <a:pt x="31" y="84"/>
                  </a:lnTo>
                  <a:lnTo>
                    <a:pt x="36" y="87"/>
                  </a:lnTo>
                  <a:lnTo>
                    <a:pt x="36" y="89"/>
                  </a:lnTo>
                  <a:lnTo>
                    <a:pt x="31" y="105"/>
                  </a:lnTo>
                  <a:lnTo>
                    <a:pt x="30" y="110"/>
                  </a:lnTo>
                  <a:lnTo>
                    <a:pt x="31" y="123"/>
                  </a:lnTo>
                  <a:lnTo>
                    <a:pt x="34" y="133"/>
                  </a:lnTo>
                  <a:lnTo>
                    <a:pt x="36" y="137"/>
                  </a:lnTo>
                  <a:lnTo>
                    <a:pt x="41" y="141"/>
                  </a:lnTo>
                  <a:lnTo>
                    <a:pt x="49" y="141"/>
                  </a:lnTo>
                  <a:lnTo>
                    <a:pt x="56" y="146"/>
                  </a:lnTo>
                  <a:lnTo>
                    <a:pt x="67" y="166"/>
                  </a:lnTo>
                  <a:lnTo>
                    <a:pt x="72" y="173"/>
                  </a:lnTo>
                  <a:lnTo>
                    <a:pt x="73" y="185"/>
                  </a:lnTo>
                  <a:lnTo>
                    <a:pt x="64" y="204"/>
                  </a:lnTo>
                  <a:lnTo>
                    <a:pt x="55" y="227"/>
                  </a:lnTo>
                  <a:lnTo>
                    <a:pt x="51" y="233"/>
                  </a:lnTo>
                  <a:lnTo>
                    <a:pt x="52" y="244"/>
                  </a:lnTo>
                  <a:lnTo>
                    <a:pt x="57" y="255"/>
                  </a:lnTo>
                  <a:lnTo>
                    <a:pt x="61" y="264"/>
                  </a:lnTo>
                  <a:lnTo>
                    <a:pt x="62" y="274"/>
                  </a:lnTo>
                  <a:lnTo>
                    <a:pt x="70" y="287"/>
                  </a:lnTo>
                  <a:lnTo>
                    <a:pt x="75" y="306"/>
                  </a:lnTo>
                  <a:lnTo>
                    <a:pt x="77" y="314"/>
                  </a:lnTo>
                  <a:lnTo>
                    <a:pt x="78" y="322"/>
                  </a:lnTo>
                  <a:lnTo>
                    <a:pt x="70" y="329"/>
                  </a:lnTo>
                  <a:lnTo>
                    <a:pt x="69" y="340"/>
                  </a:lnTo>
                  <a:lnTo>
                    <a:pt x="67" y="349"/>
                  </a:lnTo>
                  <a:lnTo>
                    <a:pt x="69" y="354"/>
                  </a:lnTo>
                  <a:lnTo>
                    <a:pt x="69" y="363"/>
                  </a:lnTo>
                  <a:lnTo>
                    <a:pt x="67" y="369"/>
                  </a:lnTo>
                  <a:lnTo>
                    <a:pt x="67" y="380"/>
                  </a:lnTo>
                  <a:lnTo>
                    <a:pt x="75" y="382"/>
                  </a:lnTo>
                  <a:lnTo>
                    <a:pt x="79" y="391"/>
                  </a:lnTo>
                  <a:lnTo>
                    <a:pt x="78" y="402"/>
                  </a:lnTo>
                  <a:lnTo>
                    <a:pt x="82" y="410"/>
                  </a:lnTo>
                  <a:lnTo>
                    <a:pt x="91" y="418"/>
                  </a:lnTo>
                  <a:lnTo>
                    <a:pt x="91" y="428"/>
                  </a:lnTo>
                  <a:lnTo>
                    <a:pt x="88" y="438"/>
                  </a:lnTo>
                  <a:lnTo>
                    <a:pt x="83" y="446"/>
                  </a:lnTo>
                  <a:lnTo>
                    <a:pt x="80" y="454"/>
                  </a:lnTo>
                  <a:lnTo>
                    <a:pt x="84" y="464"/>
                  </a:lnTo>
                  <a:lnTo>
                    <a:pt x="88" y="470"/>
                  </a:lnTo>
                  <a:lnTo>
                    <a:pt x="103" y="482"/>
                  </a:lnTo>
                  <a:lnTo>
                    <a:pt x="106" y="491"/>
                  </a:lnTo>
                  <a:lnTo>
                    <a:pt x="111" y="500"/>
                  </a:lnTo>
                  <a:lnTo>
                    <a:pt x="114" y="497"/>
                  </a:lnTo>
                  <a:lnTo>
                    <a:pt x="113" y="517"/>
                  </a:lnTo>
                  <a:lnTo>
                    <a:pt x="104" y="537"/>
                  </a:lnTo>
                  <a:lnTo>
                    <a:pt x="98" y="547"/>
                  </a:lnTo>
                  <a:lnTo>
                    <a:pt x="70" y="583"/>
                  </a:lnTo>
                  <a:lnTo>
                    <a:pt x="50" y="606"/>
                  </a:lnTo>
                  <a:lnTo>
                    <a:pt x="24" y="632"/>
                  </a:lnTo>
                  <a:lnTo>
                    <a:pt x="5" y="646"/>
                  </a:lnTo>
                  <a:lnTo>
                    <a:pt x="18" y="648"/>
                  </a:lnTo>
                  <a:lnTo>
                    <a:pt x="24" y="642"/>
                  </a:lnTo>
                  <a:lnTo>
                    <a:pt x="33" y="636"/>
                  </a:lnTo>
                  <a:lnTo>
                    <a:pt x="34" y="640"/>
                  </a:lnTo>
                  <a:lnTo>
                    <a:pt x="33" y="642"/>
                  </a:lnTo>
                  <a:lnTo>
                    <a:pt x="33" y="652"/>
                  </a:lnTo>
                  <a:lnTo>
                    <a:pt x="31" y="648"/>
                  </a:lnTo>
                  <a:lnTo>
                    <a:pt x="28" y="647"/>
                  </a:lnTo>
                  <a:lnTo>
                    <a:pt x="28" y="655"/>
                  </a:lnTo>
                  <a:lnTo>
                    <a:pt x="31" y="659"/>
                  </a:lnTo>
                  <a:lnTo>
                    <a:pt x="34" y="660"/>
                  </a:lnTo>
                  <a:lnTo>
                    <a:pt x="37" y="661"/>
                  </a:lnTo>
                  <a:lnTo>
                    <a:pt x="46" y="669"/>
                  </a:lnTo>
                  <a:lnTo>
                    <a:pt x="52" y="669"/>
                  </a:lnTo>
                  <a:lnTo>
                    <a:pt x="62" y="667"/>
                  </a:lnTo>
                  <a:lnTo>
                    <a:pt x="67" y="668"/>
                  </a:lnTo>
                  <a:lnTo>
                    <a:pt x="72" y="672"/>
                  </a:lnTo>
                  <a:lnTo>
                    <a:pt x="72" y="677"/>
                  </a:lnTo>
                  <a:lnTo>
                    <a:pt x="75" y="679"/>
                  </a:lnTo>
                  <a:lnTo>
                    <a:pt x="79" y="680"/>
                  </a:lnTo>
                  <a:lnTo>
                    <a:pt x="80" y="682"/>
                  </a:lnTo>
                  <a:lnTo>
                    <a:pt x="76" y="684"/>
                  </a:lnTo>
                  <a:lnTo>
                    <a:pt x="72" y="684"/>
                  </a:lnTo>
                  <a:lnTo>
                    <a:pt x="58" y="680"/>
                  </a:lnTo>
                  <a:lnTo>
                    <a:pt x="48" y="680"/>
                  </a:lnTo>
                  <a:lnTo>
                    <a:pt x="45" y="683"/>
                  </a:lnTo>
                  <a:lnTo>
                    <a:pt x="43" y="687"/>
                  </a:lnTo>
                  <a:lnTo>
                    <a:pt x="36" y="691"/>
                  </a:lnTo>
                  <a:lnTo>
                    <a:pt x="32" y="689"/>
                  </a:lnTo>
                  <a:lnTo>
                    <a:pt x="29" y="690"/>
                  </a:lnTo>
                  <a:lnTo>
                    <a:pt x="27" y="695"/>
                  </a:lnTo>
                  <a:lnTo>
                    <a:pt x="23" y="697"/>
                  </a:lnTo>
                  <a:lnTo>
                    <a:pt x="20" y="694"/>
                  </a:lnTo>
                  <a:lnTo>
                    <a:pt x="16" y="692"/>
                  </a:lnTo>
                  <a:lnTo>
                    <a:pt x="15" y="696"/>
                  </a:lnTo>
                  <a:lnTo>
                    <a:pt x="16" y="705"/>
                  </a:lnTo>
                  <a:lnTo>
                    <a:pt x="20" y="705"/>
                  </a:lnTo>
                  <a:lnTo>
                    <a:pt x="22" y="709"/>
                  </a:lnTo>
                  <a:lnTo>
                    <a:pt x="24" y="713"/>
                  </a:lnTo>
                  <a:lnTo>
                    <a:pt x="22" y="717"/>
                  </a:lnTo>
                  <a:lnTo>
                    <a:pt x="16" y="723"/>
                  </a:lnTo>
                  <a:lnTo>
                    <a:pt x="12" y="730"/>
                  </a:lnTo>
                  <a:lnTo>
                    <a:pt x="8" y="738"/>
                  </a:lnTo>
                  <a:lnTo>
                    <a:pt x="10" y="745"/>
                  </a:lnTo>
                  <a:lnTo>
                    <a:pt x="8" y="754"/>
                  </a:lnTo>
                  <a:lnTo>
                    <a:pt x="9" y="758"/>
                  </a:lnTo>
                  <a:lnTo>
                    <a:pt x="11" y="760"/>
                  </a:lnTo>
                  <a:lnTo>
                    <a:pt x="11" y="763"/>
                  </a:lnTo>
                  <a:lnTo>
                    <a:pt x="9" y="767"/>
                  </a:lnTo>
                  <a:lnTo>
                    <a:pt x="5" y="772"/>
                  </a:lnTo>
                  <a:lnTo>
                    <a:pt x="2" y="774"/>
                  </a:lnTo>
                  <a:lnTo>
                    <a:pt x="1" y="777"/>
                  </a:lnTo>
                  <a:lnTo>
                    <a:pt x="3" y="782"/>
                  </a:lnTo>
                  <a:lnTo>
                    <a:pt x="7" y="782"/>
                  </a:lnTo>
                  <a:lnTo>
                    <a:pt x="15" y="781"/>
                  </a:lnTo>
                  <a:lnTo>
                    <a:pt x="20" y="790"/>
                  </a:lnTo>
                  <a:lnTo>
                    <a:pt x="20" y="798"/>
                  </a:lnTo>
                  <a:lnTo>
                    <a:pt x="14" y="798"/>
                  </a:lnTo>
                  <a:lnTo>
                    <a:pt x="10" y="793"/>
                  </a:lnTo>
                  <a:lnTo>
                    <a:pt x="5" y="789"/>
                  </a:lnTo>
                  <a:lnTo>
                    <a:pt x="6" y="797"/>
                  </a:lnTo>
                  <a:lnTo>
                    <a:pt x="3" y="800"/>
                  </a:lnTo>
                  <a:lnTo>
                    <a:pt x="0" y="808"/>
                  </a:lnTo>
                  <a:lnTo>
                    <a:pt x="1" y="812"/>
                  </a:lnTo>
                  <a:lnTo>
                    <a:pt x="4" y="815"/>
                  </a:lnTo>
                  <a:lnTo>
                    <a:pt x="6" y="819"/>
                  </a:lnTo>
                  <a:lnTo>
                    <a:pt x="9" y="822"/>
                  </a:lnTo>
                  <a:lnTo>
                    <a:pt x="11" y="825"/>
                  </a:lnTo>
                  <a:lnTo>
                    <a:pt x="12" y="829"/>
                  </a:lnTo>
                  <a:lnTo>
                    <a:pt x="9" y="842"/>
                  </a:lnTo>
                  <a:lnTo>
                    <a:pt x="8" y="846"/>
                  </a:lnTo>
                  <a:lnTo>
                    <a:pt x="12" y="847"/>
                  </a:lnTo>
                  <a:lnTo>
                    <a:pt x="15" y="850"/>
                  </a:lnTo>
                  <a:lnTo>
                    <a:pt x="15" y="853"/>
                  </a:lnTo>
                  <a:lnTo>
                    <a:pt x="22" y="865"/>
                  </a:lnTo>
                  <a:lnTo>
                    <a:pt x="23" y="869"/>
                  </a:lnTo>
                  <a:lnTo>
                    <a:pt x="25" y="873"/>
                  </a:lnTo>
                  <a:lnTo>
                    <a:pt x="25" y="881"/>
                  </a:lnTo>
                  <a:lnTo>
                    <a:pt x="25" y="886"/>
                  </a:lnTo>
                  <a:lnTo>
                    <a:pt x="26" y="890"/>
                  </a:lnTo>
                  <a:lnTo>
                    <a:pt x="34" y="888"/>
                  </a:lnTo>
                  <a:lnTo>
                    <a:pt x="38" y="890"/>
                  </a:lnTo>
                  <a:lnTo>
                    <a:pt x="40" y="893"/>
                  </a:lnTo>
                  <a:lnTo>
                    <a:pt x="49" y="892"/>
                  </a:lnTo>
                  <a:lnTo>
                    <a:pt x="53" y="893"/>
                  </a:lnTo>
                  <a:lnTo>
                    <a:pt x="59" y="898"/>
                  </a:lnTo>
                  <a:lnTo>
                    <a:pt x="59" y="908"/>
                  </a:lnTo>
                  <a:lnTo>
                    <a:pt x="66" y="904"/>
                  </a:lnTo>
                  <a:lnTo>
                    <a:pt x="70" y="903"/>
                  </a:lnTo>
                  <a:lnTo>
                    <a:pt x="73" y="901"/>
                  </a:lnTo>
                  <a:lnTo>
                    <a:pt x="81" y="900"/>
                  </a:lnTo>
                  <a:lnTo>
                    <a:pt x="86" y="901"/>
                  </a:lnTo>
                  <a:lnTo>
                    <a:pt x="89" y="903"/>
                  </a:lnTo>
                  <a:lnTo>
                    <a:pt x="92" y="906"/>
                  </a:lnTo>
                  <a:lnTo>
                    <a:pt x="97" y="913"/>
                  </a:lnTo>
                  <a:lnTo>
                    <a:pt x="101" y="914"/>
                  </a:lnTo>
                  <a:lnTo>
                    <a:pt x="102" y="919"/>
                  </a:lnTo>
                  <a:lnTo>
                    <a:pt x="100" y="924"/>
                  </a:lnTo>
                  <a:lnTo>
                    <a:pt x="101" y="928"/>
                  </a:lnTo>
                  <a:lnTo>
                    <a:pt x="103" y="931"/>
                  </a:lnTo>
                  <a:lnTo>
                    <a:pt x="105" y="935"/>
                  </a:lnTo>
                  <a:lnTo>
                    <a:pt x="104" y="939"/>
                  </a:lnTo>
                  <a:lnTo>
                    <a:pt x="103" y="944"/>
                  </a:lnTo>
                  <a:lnTo>
                    <a:pt x="99" y="946"/>
                  </a:lnTo>
                  <a:lnTo>
                    <a:pt x="99" y="950"/>
                  </a:lnTo>
                  <a:lnTo>
                    <a:pt x="100" y="954"/>
                  </a:lnTo>
                  <a:lnTo>
                    <a:pt x="106" y="960"/>
                  </a:lnTo>
                  <a:lnTo>
                    <a:pt x="108" y="968"/>
                  </a:lnTo>
                  <a:lnTo>
                    <a:pt x="114" y="980"/>
                  </a:lnTo>
                  <a:lnTo>
                    <a:pt x="116" y="983"/>
                  </a:lnTo>
                  <a:lnTo>
                    <a:pt x="124" y="988"/>
                  </a:lnTo>
                  <a:lnTo>
                    <a:pt x="126" y="991"/>
                  </a:lnTo>
                  <a:lnTo>
                    <a:pt x="127" y="995"/>
                  </a:lnTo>
                  <a:lnTo>
                    <a:pt x="127" y="999"/>
                  </a:lnTo>
                  <a:lnTo>
                    <a:pt x="128" y="1003"/>
                  </a:lnTo>
                  <a:lnTo>
                    <a:pt x="141" y="1001"/>
                  </a:lnTo>
                  <a:lnTo>
                    <a:pt x="144" y="1004"/>
                  </a:lnTo>
                  <a:lnTo>
                    <a:pt x="148" y="1005"/>
                  </a:lnTo>
                  <a:lnTo>
                    <a:pt x="147" y="1009"/>
                  </a:lnTo>
                  <a:lnTo>
                    <a:pt x="149" y="1012"/>
                  </a:lnTo>
                  <a:lnTo>
                    <a:pt x="154" y="1013"/>
                  </a:lnTo>
                  <a:lnTo>
                    <a:pt x="155" y="1020"/>
                  </a:lnTo>
                  <a:lnTo>
                    <a:pt x="151" y="1023"/>
                  </a:lnTo>
                  <a:lnTo>
                    <a:pt x="149" y="1026"/>
                  </a:lnTo>
                  <a:lnTo>
                    <a:pt x="143" y="1032"/>
                  </a:lnTo>
                  <a:lnTo>
                    <a:pt x="139" y="1034"/>
                  </a:lnTo>
                  <a:lnTo>
                    <a:pt x="130" y="1033"/>
                  </a:lnTo>
                  <a:lnTo>
                    <a:pt x="124" y="1028"/>
                  </a:lnTo>
                  <a:lnTo>
                    <a:pt x="119" y="1027"/>
                  </a:lnTo>
                  <a:lnTo>
                    <a:pt x="116" y="1029"/>
                  </a:lnTo>
                  <a:lnTo>
                    <a:pt x="115" y="1033"/>
                  </a:lnTo>
                  <a:lnTo>
                    <a:pt x="111" y="1035"/>
                  </a:lnTo>
                  <a:lnTo>
                    <a:pt x="112" y="1039"/>
                  </a:lnTo>
                  <a:lnTo>
                    <a:pt x="118" y="1045"/>
                  </a:lnTo>
                  <a:lnTo>
                    <a:pt x="119" y="1049"/>
                  </a:lnTo>
                  <a:lnTo>
                    <a:pt x="118" y="1053"/>
                  </a:lnTo>
                  <a:lnTo>
                    <a:pt x="120" y="1056"/>
                  </a:lnTo>
                  <a:lnTo>
                    <a:pt x="119" y="1060"/>
                  </a:lnTo>
                  <a:lnTo>
                    <a:pt x="123" y="1062"/>
                  </a:lnTo>
                  <a:lnTo>
                    <a:pt x="125" y="1066"/>
                  </a:lnTo>
                  <a:lnTo>
                    <a:pt x="124" y="1070"/>
                  </a:lnTo>
                  <a:lnTo>
                    <a:pt x="127" y="1082"/>
                  </a:lnTo>
                  <a:lnTo>
                    <a:pt x="130" y="1084"/>
                  </a:lnTo>
                  <a:lnTo>
                    <a:pt x="134" y="1086"/>
                  </a:lnTo>
                  <a:lnTo>
                    <a:pt x="138" y="1084"/>
                  </a:lnTo>
                  <a:lnTo>
                    <a:pt x="140" y="1080"/>
                  </a:lnTo>
                  <a:lnTo>
                    <a:pt x="141" y="1076"/>
                  </a:lnTo>
                  <a:lnTo>
                    <a:pt x="145" y="1074"/>
                  </a:lnTo>
                  <a:lnTo>
                    <a:pt x="154" y="1075"/>
                  </a:lnTo>
                  <a:lnTo>
                    <a:pt x="158" y="1075"/>
                  </a:lnTo>
                  <a:lnTo>
                    <a:pt x="167" y="1073"/>
                  </a:lnTo>
                  <a:lnTo>
                    <a:pt x="175" y="1074"/>
                  </a:lnTo>
                  <a:lnTo>
                    <a:pt x="183" y="1072"/>
                  </a:lnTo>
                  <a:lnTo>
                    <a:pt x="190" y="1078"/>
                  </a:lnTo>
                  <a:lnTo>
                    <a:pt x="192" y="1081"/>
                  </a:lnTo>
                  <a:lnTo>
                    <a:pt x="192" y="1086"/>
                  </a:lnTo>
                  <a:lnTo>
                    <a:pt x="199" y="1091"/>
                  </a:lnTo>
                  <a:lnTo>
                    <a:pt x="201" y="1095"/>
                  </a:lnTo>
                  <a:lnTo>
                    <a:pt x="201" y="1099"/>
                  </a:lnTo>
                  <a:lnTo>
                    <a:pt x="197" y="1102"/>
                  </a:lnTo>
                  <a:lnTo>
                    <a:pt x="193" y="1102"/>
                  </a:lnTo>
                  <a:lnTo>
                    <a:pt x="194" y="1106"/>
                  </a:lnTo>
                  <a:lnTo>
                    <a:pt x="195" y="1110"/>
                  </a:lnTo>
                  <a:lnTo>
                    <a:pt x="197" y="1118"/>
                  </a:lnTo>
                  <a:lnTo>
                    <a:pt x="200" y="1121"/>
                  </a:lnTo>
                  <a:lnTo>
                    <a:pt x="205" y="1122"/>
                  </a:lnTo>
                  <a:lnTo>
                    <a:pt x="213" y="1125"/>
                  </a:lnTo>
                  <a:lnTo>
                    <a:pt x="217" y="1123"/>
                  </a:lnTo>
                  <a:lnTo>
                    <a:pt x="221" y="1123"/>
                  </a:lnTo>
                  <a:lnTo>
                    <a:pt x="223" y="1127"/>
                  </a:lnTo>
                  <a:lnTo>
                    <a:pt x="228" y="1134"/>
                  </a:lnTo>
                  <a:lnTo>
                    <a:pt x="232" y="1148"/>
                  </a:lnTo>
                  <a:lnTo>
                    <a:pt x="231" y="1152"/>
                  </a:lnTo>
                  <a:lnTo>
                    <a:pt x="232" y="1156"/>
                  </a:lnTo>
                  <a:lnTo>
                    <a:pt x="236" y="1159"/>
                  </a:lnTo>
                  <a:lnTo>
                    <a:pt x="239" y="1161"/>
                  </a:lnTo>
                  <a:lnTo>
                    <a:pt x="243" y="1159"/>
                  </a:lnTo>
                  <a:lnTo>
                    <a:pt x="247" y="1158"/>
                  </a:lnTo>
                  <a:lnTo>
                    <a:pt x="251" y="1159"/>
                  </a:lnTo>
                  <a:lnTo>
                    <a:pt x="257" y="1165"/>
                  </a:lnTo>
                  <a:lnTo>
                    <a:pt x="262" y="1163"/>
                  </a:lnTo>
                  <a:lnTo>
                    <a:pt x="266" y="1165"/>
                  </a:lnTo>
                  <a:lnTo>
                    <a:pt x="278" y="1162"/>
                  </a:lnTo>
                  <a:lnTo>
                    <a:pt x="286" y="1158"/>
                  </a:lnTo>
                  <a:lnTo>
                    <a:pt x="290" y="1159"/>
                  </a:lnTo>
                  <a:lnTo>
                    <a:pt x="293" y="1163"/>
                  </a:lnTo>
                  <a:lnTo>
                    <a:pt x="299" y="1174"/>
                  </a:lnTo>
                  <a:lnTo>
                    <a:pt x="304" y="1180"/>
                  </a:lnTo>
                  <a:lnTo>
                    <a:pt x="309" y="1180"/>
                  </a:lnTo>
                  <a:lnTo>
                    <a:pt x="310" y="1176"/>
                  </a:lnTo>
                  <a:lnTo>
                    <a:pt x="314" y="1176"/>
                  </a:lnTo>
                  <a:lnTo>
                    <a:pt x="317" y="1180"/>
                  </a:lnTo>
                  <a:lnTo>
                    <a:pt x="321" y="1180"/>
                  </a:lnTo>
                  <a:lnTo>
                    <a:pt x="325" y="1182"/>
                  </a:lnTo>
                  <a:lnTo>
                    <a:pt x="328" y="1185"/>
                  </a:lnTo>
                  <a:lnTo>
                    <a:pt x="337" y="1185"/>
                  </a:lnTo>
                  <a:lnTo>
                    <a:pt x="344" y="1189"/>
                  </a:lnTo>
                  <a:lnTo>
                    <a:pt x="348" y="1189"/>
                  </a:lnTo>
                  <a:lnTo>
                    <a:pt x="354" y="1195"/>
                  </a:lnTo>
                  <a:lnTo>
                    <a:pt x="359" y="1196"/>
                  </a:lnTo>
                  <a:lnTo>
                    <a:pt x="363" y="1196"/>
                  </a:lnTo>
                  <a:lnTo>
                    <a:pt x="366" y="1198"/>
                  </a:lnTo>
                  <a:lnTo>
                    <a:pt x="363" y="1200"/>
                  </a:lnTo>
                  <a:lnTo>
                    <a:pt x="367" y="1212"/>
                  </a:lnTo>
                  <a:lnTo>
                    <a:pt x="362" y="1220"/>
                  </a:lnTo>
                  <a:lnTo>
                    <a:pt x="354" y="1222"/>
                  </a:lnTo>
                  <a:lnTo>
                    <a:pt x="357" y="1225"/>
                  </a:lnTo>
                  <a:lnTo>
                    <a:pt x="361" y="1226"/>
                  </a:lnTo>
                  <a:lnTo>
                    <a:pt x="363" y="1230"/>
                  </a:lnTo>
                  <a:lnTo>
                    <a:pt x="355" y="1232"/>
                  </a:lnTo>
                  <a:lnTo>
                    <a:pt x="353" y="1236"/>
                  </a:lnTo>
                  <a:lnTo>
                    <a:pt x="353" y="1240"/>
                  </a:lnTo>
                  <a:lnTo>
                    <a:pt x="355" y="1243"/>
                  </a:lnTo>
                  <a:lnTo>
                    <a:pt x="357" y="1247"/>
                  </a:lnTo>
                  <a:lnTo>
                    <a:pt x="356" y="1251"/>
                  </a:lnTo>
                  <a:lnTo>
                    <a:pt x="360" y="1254"/>
                  </a:lnTo>
                  <a:lnTo>
                    <a:pt x="358" y="1262"/>
                  </a:lnTo>
                  <a:lnTo>
                    <a:pt x="354" y="1274"/>
                  </a:lnTo>
                  <a:lnTo>
                    <a:pt x="350" y="1276"/>
                  </a:lnTo>
                  <a:lnTo>
                    <a:pt x="342" y="1274"/>
                  </a:lnTo>
                  <a:lnTo>
                    <a:pt x="338" y="1275"/>
                  </a:lnTo>
                  <a:lnTo>
                    <a:pt x="330" y="1270"/>
                  </a:lnTo>
                  <a:lnTo>
                    <a:pt x="327" y="1273"/>
                  </a:lnTo>
                  <a:lnTo>
                    <a:pt x="322" y="1280"/>
                  </a:lnTo>
                  <a:lnTo>
                    <a:pt x="314" y="1284"/>
                  </a:lnTo>
                  <a:lnTo>
                    <a:pt x="311" y="1291"/>
                  </a:lnTo>
                  <a:lnTo>
                    <a:pt x="311" y="1295"/>
                  </a:lnTo>
                  <a:lnTo>
                    <a:pt x="312" y="1303"/>
                  </a:lnTo>
                  <a:lnTo>
                    <a:pt x="319" y="1301"/>
                  </a:lnTo>
                  <a:lnTo>
                    <a:pt x="323" y="1302"/>
                  </a:lnTo>
                  <a:lnTo>
                    <a:pt x="327" y="1299"/>
                  </a:lnTo>
                  <a:lnTo>
                    <a:pt x="335" y="1297"/>
                  </a:lnTo>
                  <a:lnTo>
                    <a:pt x="338" y="1299"/>
                  </a:lnTo>
                  <a:lnTo>
                    <a:pt x="338" y="1302"/>
                  </a:lnTo>
                  <a:lnTo>
                    <a:pt x="342" y="1303"/>
                  </a:lnTo>
                  <a:lnTo>
                    <a:pt x="344" y="1304"/>
                  </a:lnTo>
                  <a:lnTo>
                    <a:pt x="343" y="1306"/>
                  </a:lnTo>
                  <a:lnTo>
                    <a:pt x="338" y="1307"/>
                  </a:lnTo>
                  <a:lnTo>
                    <a:pt x="332" y="1309"/>
                  </a:lnTo>
                  <a:lnTo>
                    <a:pt x="323" y="1314"/>
                  </a:lnTo>
                  <a:lnTo>
                    <a:pt x="317" y="1316"/>
                  </a:lnTo>
                  <a:lnTo>
                    <a:pt x="317" y="1319"/>
                  </a:lnTo>
                  <a:lnTo>
                    <a:pt x="320" y="1322"/>
                  </a:lnTo>
                  <a:lnTo>
                    <a:pt x="317" y="1323"/>
                  </a:lnTo>
                  <a:lnTo>
                    <a:pt x="312" y="1321"/>
                  </a:lnTo>
                  <a:lnTo>
                    <a:pt x="299" y="1323"/>
                  </a:lnTo>
                  <a:lnTo>
                    <a:pt x="297" y="1328"/>
                  </a:lnTo>
                  <a:lnTo>
                    <a:pt x="302" y="1333"/>
                  </a:lnTo>
                  <a:lnTo>
                    <a:pt x="309" y="1335"/>
                  </a:lnTo>
                  <a:lnTo>
                    <a:pt x="313" y="1342"/>
                  </a:lnTo>
                  <a:lnTo>
                    <a:pt x="319" y="1347"/>
                  </a:lnTo>
                  <a:lnTo>
                    <a:pt x="317" y="1348"/>
                  </a:lnTo>
                  <a:lnTo>
                    <a:pt x="310" y="1346"/>
                  </a:lnTo>
                  <a:lnTo>
                    <a:pt x="307" y="1351"/>
                  </a:lnTo>
                  <a:lnTo>
                    <a:pt x="304" y="1351"/>
                  </a:lnTo>
                  <a:lnTo>
                    <a:pt x="297" y="1360"/>
                  </a:lnTo>
                  <a:lnTo>
                    <a:pt x="293" y="1367"/>
                  </a:lnTo>
                  <a:lnTo>
                    <a:pt x="287" y="1376"/>
                  </a:lnTo>
                  <a:lnTo>
                    <a:pt x="281" y="1377"/>
                  </a:lnTo>
                  <a:lnTo>
                    <a:pt x="272" y="1376"/>
                  </a:lnTo>
                  <a:lnTo>
                    <a:pt x="271" y="1378"/>
                  </a:lnTo>
                  <a:lnTo>
                    <a:pt x="271" y="1381"/>
                  </a:lnTo>
                  <a:lnTo>
                    <a:pt x="266" y="1383"/>
                  </a:lnTo>
                  <a:lnTo>
                    <a:pt x="272" y="1386"/>
                  </a:lnTo>
                  <a:lnTo>
                    <a:pt x="278" y="1392"/>
                  </a:lnTo>
                  <a:lnTo>
                    <a:pt x="281" y="1399"/>
                  </a:lnTo>
                  <a:lnTo>
                    <a:pt x="286" y="1405"/>
                  </a:lnTo>
                  <a:lnTo>
                    <a:pt x="292" y="1405"/>
                  </a:lnTo>
                  <a:lnTo>
                    <a:pt x="294" y="1403"/>
                  </a:lnTo>
                  <a:lnTo>
                    <a:pt x="297" y="1407"/>
                  </a:lnTo>
                  <a:lnTo>
                    <a:pt x="305" y="1413"/>
                  </a:lnTo>
                  <a:lnTo>
                    <a:pt x="327" y="1423"/>
                  </a:lnTo>
                  <a:lnTo>
                    <a:pt x="340" y="1434"/>
                  </a:lnTo>
                  <a:lnTo>
                    <a:pt x="344" y="1440"/>
                  </a:lnTo>
                  <a:lnTo>
                    <a:pt x="348" y="1444"/>
                  </a:lnTo>
                  <a:lnTo>
                    <a:pt x="352" y="1446"/>
                  </a:lnTo>
                  <a:lnTo>
                    <a:pt x="358" y="1452"/>
                  </a:lnTo>
                  <a:lnTo>
                    <a:pt x="366" y="1449"/>
                  </a:lnTo>
                  <a:lnTo>
                    <a:pt x="371" y="1448"/>
                  </a:lnTo>
                  <a:lnTo>
                    <a:pt x="375" y="1450"/>
                  </a:lnTo>
                  <a:lnTo>
                    <a:pt x="379" y="1449"/>
                  </a:lnTo>
                  <a:lnTo>
                    <a:pt x="387" y="1452"/>
                  </a:lnTo>
                  <a:lnTo>
                    <a:pt x="390" y="1455"/>
                  </a:lnTo>
                  <a:lnTo>
                    <a:pt x="399" y="1457"/>
                  </a:lnTo>
                  <a:lnTo>
                    <a:pt x="410" y="1462"/>
                  </a:lnTo>
                  <a:lnTo>
                    <a:pt x="415" y="1462"/>
                  </a:lnTo>
                  <a:lnTo>
                    <a:pt x="428" y="1461"/>
                  </a:lnTo>
                  <a:lnTo>
                    <a:pt x="436" y="1463"/>
                  </a:lnTo>
                  <a:lnTo>
                    <a:pt x="444" y="1463"/>
                  </a:lnTo>
                  <a:lnTo>
                    <a:pt x="448" y="1466"/>
                  </a:lnTo>
                  <a:lnTo>
                    <a:pt x="450" y="1468"/>
                  </a:lnTo>
                  <a:lnTo>
                    <a:pt x="470" y="1480"/>
                  </a:lnTo>
                  <a:lnTo>
                    <a:pt x="472" y="1484"/>
                  </a:lnTo>
                  <a:lnTo>
                    <a:pt x="475" y="1486"/>
                  </a:lnTo>
                  <a:lnTo>
                    <a:pt x="480" y="1485"/>
                  </a:lnTo>
                  <a:lnTo>
                    <a:pt x="483" y="1483"/>
                  </a:lnTo>
                  <a:lnTo>
                    <a:pt x="491" y="1480"/>
                  </a:lnTo>
                  <a:lnTo>
                    <a:pt x="495" y="1479"/>
                  </a:lnTo>
                  <a:lnTo>
                    <a:pt x="498" y="1482"/>
                  </a:lnTo>
                  <a:lnTo>
                    <a:pt x="503" y="1481"/>
                  </a:lnTo>
                  <a:lnTo>
                    <a:pt x="511" y="1482"/>
                  </a:lnTo>
                  <a:lnTo>
                    <a:pt x="513" y="1486"/>
                  </a:lnTo>
                  <a:lnTo>
                    <a:pt x="517" y="1488"/>
                  </a:lnTo>
                  <a:lnTo>
                    <a:pt x="521" y="1488"/>
                  </a:lnTo>
                  <a:lnTo>
                    <a:pt x="525" y="1489"/>
                  </a:lnTo>
                  <a:lnTo>
                    <a:pt x="527" y="1493"/>
                  </a:lnTo>
                  <a:lnTo>
                    <a:pt x="525" y="1502"/>
                  </a:lnTo>
                  <a:lnTo>
                    <a:pt x="531" y="1506"/>
                  </a:lnTo>
                  <a:lnTo>
                    <a:pt x="539" y="1509"/>
                  </a:lnTo>
                  <a:lnTo>
                    <a:pt x="543" y="1512"/>
                  </a:lnTo>
                  <a:lnTo>
                    <a:pt x="545" y="1514"/>
                  </a:lnTo>
                  <a:lnTo>
                    <a:pt x="550" y="1516"/>
                  </a:lnTo>
                  <a:lnTo>
                    <a:pt x="554" y="1516"/>
                  </a:lnTo>
                  <a:lnTo>
                    <a:pt x="560" y="1522"/>
                  </a:lnTo>
                  <a:lnTo>
                    <a:pt x="562" y="1526"/>
                  </a:lnTo>
                  <a:lnTo>
                    <a:pt x="566" y="1526"/>
                  </a:lnTo>
                  <a:lnTo>
                    <a:pt x="568" y="1534"/>
                  </a:lnTo>
                  <a:lnTo>
                    <a:pt x="570" y="1538"/>
                  </a:lnTo>
                  <a:lnTo>
                    <a:pt x="575" y="1538"/>
                  </a:lnTo>
                  <a:lnTo>
                    <a:pt x="583" y="1539"/>
                  </a:lnTo>
                  <a:lnTo>
                    <a:pt x="587" y="1539"/>
                  </a:lnTo>
                  <a:lnTo>
                    <a:pt x="590" y="1536"/>
                  </a:lnTo>
                  <a:lnTo>
                    <a:pt x="593" y="1528"/>
                  </a:lnTo>
                  <a:lnTo>
                    <a:pt x="597" y="1525"/>
                  </a:lnTo>
                  <a:lnTo>
                    <a:pt x="601" y="1524"/>
                  </a:lnTo>
                  <a:lnTo>
                    <a:pt x="603" y="1520"/>
                  </a:lnTo>
                  <a:lnTo>
                    <a:pt x="605" y="1515"/>
                  </a:lnTo>
                  <a:lnTo>
                    <a:pt x="600" y="1512"/>
                  </a:lnTo>
                  <a:lnTo>
                    <a:pt x="594" y="1498"/>
                  </a:lnTo>
                  <a:lnTo>
                    <a:pt x="584" y="1481"/>
                  </a:lnTo>
                  <a:lnTo>
                    <a:pt x="579" y="1475"/>
                  </a:lnTo>
                  <a:lnTo>
                    <a:pt x="578" y="1468"/>
                  </a:lnTo>
                  <a:lnTo>
                    <a:pt x="578" y="1456"/>
                  </a:lnTo>
                  <a:lnTo>
                    <a:pt x="582" y="1442"/>
                  </a:lnTo>
                  <a:lnTo>
                    <a:pt x="580" y="1435"/>
                  </a:lnTo>
                  <a:lnTo>
                    <a:pt x="575" y="1447"/>
                  </a:lnTo>
                  <a:lnTo>
                    <a:pt x="574" y="1443"/>
                  </a:lnTo>
                  <a:lnTo>
                    <a:pt x="572" y="1434"/>
                  </a:lnTo>
                  <a:lnTo>
                    <a:pt x="567" y="1425"/>
                  </a:lnTo>
                  <a:lnTo>
                    <a:pt x="561" y="1416"/>
                  </a:lnTo>
                  <a:lnTo>
                    <a:pt x="555" y="1417"/>
                  </a:lnTo>
                  <a:lnTo>
                    <a:pt x="553" y="1409"/>
                  </a:lnTo>
                  <a:lnTo>
                    <a:pt x="558" y="1402"/>
                  </a:lnTo>
                  <a:lnTo>
                    <a:pt x="558" y="1396"/>
                  </a:lnTo>
                  <a:lnTo>
                    <a:pt x="562" y="1390"/>
                  </a:lnTo>
                  <a:lnTo>
                    <a:pt x="564" y="1390"/>
                  </a:lnTo>
                  <a:lnTo>
                    <a:pt x="565" y="1389"/>
                  </a:lnTo>
                  <a:lnTo>
                    <a:pt x="566" y="1384"/>
                  </a:lnTo>
                  <a:lnTo>
                    <a:pt x="571" y="1380"/>
                  </a:lnTo>
                  <a:lnTo>
                    <a:pt x="574" y="1361"/>
                  </a:lnTo>
                  <a:lnTo>
                    <a:pt x="578" y="1362"/>
                  </a:lnTo>
                  <a:lnTo>
                    <a:pt x="580" y="1352"/>
                  </a:lnTo>
                  <a:lnTo>
                    <a:pt x="581" y="1346"/>
                  </a:lnTo>
                  <a:lnTo>
                    <a:pt x="576" y="1337"/>
                  </a:lnTo>
                  <a:lnTo>
                    <a:pt x="582" y="1339"/>
                  </a:lnTo>
                  <a:lnTo>
                    <a:pt x="588" y="1340"/>
                  </a:lnTo>
                  <a:lnTo>
                    <a:pt x="587" y="1343"/>
                  </a:lnTo>
                  <a:lnTo>
                    <a:pt x="590" y="1349"/>
                  </a:lnTo>
                  <a:lnTo>
                    <a:pt x="593" y="1357"/>
                  </a:lnTo>
                  <a:lnTo>
                    <a:pt x="597" y="1357"/>
                  </a:lnTo>
                  <a:lnTo>
                    <a:pt x="600" y="1355"/>
                  </a:lnTo>
                  <a:lnTo>
                    <a:pt x="602" y="1355"/>
                  </a:lnTo>
                  <a:lnTo>
                    <a:pt x="609" y="1340"/>
                  </a:lnTo>
                  <a:lnTo>
                    <a:pt x="612" y="1339"/>
                  </a:lnTo>
                  <a:lnTo>
                    <a:pt x="608" y="1337"/>
                  </a:lnTo>
                  <a:lnTo>
                    <a:pt x="606" y="1334"/>
                  </a:lnTo>
                  <a:lnTo>
                    <a:pt x="603" y="1333"/>
                  </a:lnTo>
                  <a:lnTo>
                    <a:pt x="598" y="1333"/>
                  </a:lnTo>
                  <a:lnTo>
                    <a:pt x="595" y="1331"/>
                  </a:lnTo>
                  <a:lnTo>
                    <a:pt x="593" y="1328"/>
                  </a:lnTo>
                  <a:lnTo>
                    <a:pt x="596" y="1324"/>
                  </a:lnTo>
                  <a:lnTo>
                    <a:pt x="597" y="1320"/>
                  </a:lnTo>
                  <a:lnTo>
                    <a:pt x="601" y="1319"/>
                  </a:lnTo>
                  <a:lnTo>
                    <a:pt x="605" y="1322"/>
                  </a:lnTo>
                  <a:lnTo>
                    <a:pt x="612" y="1320"/>
                  </a:lnTo>
                  <a:lnTo>
                    <a:pt x="607" y="1291"/>
                  </a:lnTo>
                  <a:lnTo>
                    <a:pt x="603" y="1289"/>
                  </a:lnTo>
                  <a:lnTo>
                    <a:pt x="601" y="1286"/>
                  </a:lnTo>
                  <a:lnTo>
                    <a:pt x="600" y="1282"/>
                  </a:lnTo>
                  <a:lnTo>
                    <a:pt x="598" y="1278"/>
                  </a:lnTo>
                  <a:lnTo>
                    <a:pt x="595" y="1275"/>
                  </a:lnTo>
                  <a:lnTo>
                    <a:pt x="590" y="1275"/>
                  </a:lnTo>
                  <a:lnTo>
                    <a:pt x="582" y="1276"/>
                  </a:lnTo>
                  <a:lnTo>
                    <a:pt x="575" y="1274"/>
                  </a:lnTo>
                  <a:lnTo>
                    <a:pt x="574" y="1279"/>
                  </a:lnTo>
                  <a:lnTo>
                    <a:pt x="568" y="1273"/>
                  </a:lnTo>
                  <a:lnTo>
                    <a:pt x="567" y="1269"/>
                  </a:lnTo>
                  <a:lnTo>
                    <a:pt x="565" y="1265"/>
                  </a:lnTo>
                  <a:lnTo>
                    <a:pt x="567" y="1261"/>
                  </a:lnTo>
                  <a:lnTo>
                    <a:pt x="565" y="1258"/>
                  </a:lnTo>
                  <a:lnTo>
                    <a:pt x="565" y="1254"/>
                  </a:lnTo>
                  <a:lnTo>
                    <a:pt x="549" y="1249"/>
                  </a:lnTo>
                  <a:lnTo>
                    <a:pt x="555" y="1226"/>
                  </a:lnTo>
                  <a:lnTo>
                    <a:pt x="563" y="1222"/>
                  </a:lnTo>
                  <a:lnTo>
                    <a:pt x="565" y="1218"/>
                  </a:lnTo>
                  <a:lnTo>
                    <a:pt x="563" y="1214"/>
                  </a:lnTo>
                  <a:lnTo>
                    <a:pt x="557" y="1208"/>
                  </a:lnTo>
                  <a:lnTo>
                    <a:pt x="563" y="1185"/>
                  </a:lnTo>
                  <a:lnTo>
                    <a:pt x="570" y="1180"/>
                  </a:lnTo>
                  <a:lnTo>
                    <a:pt x="572" y="1177"/>
                  </a:lnTo>
                  <a:lnTo>
                    <a:pt x="572" y="1172"/>
                  </a:lnTo>
                  <a:lnTo>
                    <a:pt x="573" y="1169"/>
                  </a:lnTo>
                  <a:lnTo>
                    <a:pt x="573" y="1164"/>
                  </a:lnTo>
                  <a:lnTo>
                    <a:pt x="575" y="1160"/>
                  </a:lnTo>
                  <a:lnTo>
                    <a:pt x="578" y="1157"/>
                  </a:lnTo>
                  <a:lnTo>
                    <a:pt x="581" y="1159"/>
                  </a:lnTo>
                  <a:lnTo>
                    <a:pt x="583" y="1164"/>
                  </a:lnTo>
                  <a:lnTo>
                    <a:pt x="589" y="1169"/>
                  </a:lnTo>
                  <a:lnTo>
                    <a:pt x="599" y="1188"/>
                  </a:lnTo>
                  <a:lnTo>
                    <a:pt x="603" y="1189"/>
                  </a:lnTo>
                  <a:lnTo>
                    <a:pt x="616" y="1180"/>
                  </a:lnTo>
                  <a:lnTo>
                    <a:pt x="615" y="1176"/>
                  </a:lnTo>
                  <a:lnTo>
                    <a:pt x="613" y="1172"/>
                  </a:lnTo>
                  <a:lnTo>
                    <a:pt x="611" y="1159"/>
                  </a:lnTo>
                  <a:lnTo>
                    <a:pt x="607" y="1152"/>
                  </a:lnTo>
                  <a:lnTo>
                    <a:pt x="612" y="1152"/>
                  </a:lnTo>
                  <a:lnTo>
                    <a:pt x="615" y="1151"/>
                  </a:lnTo>
                  <a:lnTo>
                    <a:pt x="626" y="1143"/>
                  </a:lnTo>
                  <a:lnTo>
                    <a:pt x="630" y="1141"/>
                  </a:lnTo>
                  <a:lnTo>
                    <a:pt x="632" y="1138"/>
                  </a:lnTo>
                  <a:lnTo>
                    <a:pt x="633" y="1134"/>
                  </a:lnTo>
                  <a:lnTo>
                    <a:pt x="632" y="1130"/>
                  </a:lnTo>
                  <a:lnTo>
                    <a:pt x="636" y="1129"/>
                  </a:lnTo>
                  <a:lnTo>
                    <a:pt x="641" y="1129"/>
                  </a:lnTo>
                  <a:lnTo>
                    <a:pt x="644" y="1128"/>
                  </a:lnTo>
                  <a:lnTo>
                    <a:pt x="647" y="1124"/>
                  </a:lnTo>
                  <a:lnTo>
                    <a:pt x="651" y="1122"/>
                  </a:lnTo>
                  <a:lnTo>
                    <a:pt x="655" y="1121"/>
                  </a:lnTo>
                  <a:lnTo>
                    <a:pt x="658" y="1118"/>
                  </a:lnTo>
                  <a:lnTo>
                    <a:pt x="661" y="1115"/>
                  </a:lnTo>
                  <a:lnTo>
                    <a:pt x="664" y="1112"/>
                  </a:lnTo>
                  <a:lnTo>
                    <a:pt x="665" y="1108"/>
                  </a:lnTo>
                  <a:lnTo>
                    <a:pt x="668" y="1105"/>
                  </a:lnTo>
                  <a:lnTo>
                    <a:pt x="676" y="1103"/>
                  </a:lnTo>
                  <a:lnTo>
                    <a:pt x="685" y="1103"/>
                  </a:lnTo>
                  <a:lnTo>
                    <a:pt x="686" y="1107"/>
                  </a:lnTo>
                  <a:lnTo>
                    <a:pt x="687" y="1111"/>
                  </a:lnTo>
                  <a:lnTo>
                    <a:pt x="696" y="1109"/>
                  </a:lnTo>
                  <a:lnTo>
                    <a:pt x="698" y="1112"/>
                  </a:lnTo>
                  <a:lnTo>
                    <a:pt x="700" y="1109"/>
                  </a:lnTo>
                  <a:lnTo>
                    <a:pt x="702" y="1105"/>
                  </a:lnTo>
                  <a:lnTo>
                    <a:pt x="704" y="1101"/>
                  </a:lnTo>
                  <a:lnTo>
                    <a:pt x="709" y="1102"/>
                  </a:lnTo>
                  <a:lnTo>
                    <a:pt x="713" y="1100"/>
                  </a:lnTo>
                  <a:lnTo>
                    <a:pt x="717" y="1100"/>
                  </a:lnTo>
                  <a:lnTo>
                    <a:pt x="720" y="1108"/>
                  </a:lnTo>
                  <a:lnTo>
                    <a:pt x="722" y="1111"/>
                  </a:lnTo>
                  <a:lnTo>
                    <a:pt x="726" y="1110"/>
                  </a:lnTo>
                  <a:lnTo>
                    <a:pt x="730" y="1109"/>
                  </a:lnTo>
                  <a:lnTo>
                    <a:pt x="734" y="1111"/>
                  </a:lnTo>
                  <a:lnTo>
                    <a:pt x="743" y="1109"/>
                  </a:lnTo>
                  <a:lnTo>
                    <a:pt x="747" y="1109"/>
                  </a:lnTo>
                  <a:lnTo>
                    <a:pt x="751" y="1112"/>
                  </a:lnTo>
                  <a:lnTo>
                    <a:pt x="753" y="1115"/>
                  </a:lnTo>
                  <a:lnTo>
                    <a:pt x="757" y="1122"/>
                  </a:lnTo>
                  <a:lnTo>
                    <a:pt x="768" y="1129"/>
                  </a:lnTo>
                  <a:lnTo>
                    <a:pt x="770" y="1132"/>
                  </a:lnTo>
                  <a:lnTo>
                    <a:pt x="772" y="1136"/>
                  </a:lnTo>
                  <a:lnTo>
                    <a:pt x="777" y="1143"/>
                  </a:lnTo>
                  <a:lnTo>
                    <a:pt x="777" y="1147"/>
                  </a:lnTo>
                  <a:lnTo>
                    <a:pt x="777" y="1151"/>
                  </a:lnTo>
                  <a:lnTo>
                    <a:pt x="780" y="1155"/>
                  </a:lnTo>
                  <a:lnTo>
                    <a:pt x="784" y="1153"/>
                  </a:lnTo>
                  <a:lnTo>
                    <a:pt x="784" y="1149"/>
                  </a:lnTo>
                  <a:lnTo>
                    <a:pt x="783" y="1145"/>
                  </a:lnTo>
                  <a:lnTo>
                    <a:pt x="784" y="1141"/>
                  </a:lnTo>
                  <a:lnTo>
                    <a:pt x="781" y="1137"/>
                  </a:lnTo>
                  <a:lnTo>
                    <a:pt x="784" y="1134"/>
                  </a:lnTo>
                  <a:lnTo>
                    <a:pt x="788" y="1133"/>
                  </a:lnTo>
                  <a:lnTo>
                    <a:pt x="790" y="1137"/>
                  </a:lnTo>
                  <a:lnTo>
                    <a:pt x="793" y="1140"/>
                  </a:lnTo>
                  <a:lnTo>
                    <a:pt x="794" y="1144"/>
                  </a:lnTo>
                  <a:lnTo>
                    <a:pt x="797" y="1147"/>
                  </a:lnTo>
                  <a:lnTo>
                    <a:pt x="806" y="1150"/>
                  </a:lnTo>
                  <a:lnTo>
                    <a:pt x="813" y="1154"/>
                  </a:lnTo>
                  <a:lnTo>
                    <a:pt x="817" y="1153"/>
                  </a:lnTo>
                  <a:lnTo>
                    <a:pt x="828" y="1145"/>
                  </a:lnTo>
                  <a:lnTo>
                    <a:pt x="827" y="1141"/>
                  </a:lnTo>
                  <a:lnTo>
                    <a:pt x="831" y="1139"/>
                  </a:lnTo>
                  <a:lnTo>
                    <a:pt x="834" y="1137"/>
                  </a:lnTo>
                  <a:lnTo>
                    <a:pt x="838" y="1136"/>
                  </a:lnTo>
                  <a:lnTo>
                    <a:pt x="842" y="1137"/>
                  </a:lnTo>
                  <a:lnTo>
                    <a:pt x="843" y="1133"/>
                  </a:lnTo>
                  <a:lnTo>
                    <a:pt x="847" y="1133"/>
                  </a:lnTo>
                  <a:lnTo>
                    <a:pt x="851" y="1134"/>
                  </a:lnTo>
                  <a:lnTo>
                    <a:pt x="855" y="1131"/>
                  </a:lnTo>
                  <a:lnTo>
                    <a:pt x="858" y="1134"/>
                  </a:lnTo>
                  <a:lnTo>
                    <a:pt x="860" y="1136"/>
                  </a:lnTo>
                  <a:lnTo>
                    <a:pt x="860" y="112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21" name="Freeform 236"/>
            <p:cNvSpPr>
              <a:spLocks/>
            </p:cNvSpPr>
            <p:nvPr/>
          </p:nvSpPr>
          <p:spPr bwMode="auto">
            <a:xfrm>
              <a:off x="2584" y="1532"/>
              <a:ext cx="860" cy="1539"/>
            </a:xfrm>
            <a:custGeom>
              <a:avLst/>
              <a:gdLst>
                <a:gd name="T0" fmla="*/ 776 w 860"/>
                <a:gd name="T1" fmla="*/ 133 h 1539"/>
                <a:gd name="T2" fmla="*/ 774 w 860"/>
                <a:gd name="T3" fmla="*/ 81 h 1539"/>
                <a:gd name="T4" fmla="*/ 731 w 860"/>
                <a:gd name="T5" fmla="*/ 100 h 1539"/>
                <a:gd name="T6" fmla="*/ 676 w 860"/>
                <a:gd name="T7" fmla="*/ 128 h 1539"/>
                <a:gd name="T8" fmla="*/ 580 w 860"/>
                <a:gd name="T9" fmla="*/ 234 h 1539"/>
                <a:gd name="T10" fmla="*/ 505 w 860"/>
                <a:gd name="T11" fmla="*/ 189 h 1539"/>
                <a:gd name="T12" fmla="*/ 501 w 860"/>
                <a:gd name="T13" fmla="*/ 114 h 1539"/>
                <a:gd name="T14" fmla="*/ 482 w 860"/>
                <a:gd name="T15" fmla="*/ 217 h 1539"/>
                <a:gd name="T16" fmla="*/ 460 w 860"/>
                <a:gd name="T17" fmla="*/ 296 h 1539"/>
                <a:gd name="T18" fmla="*/ 376 w 860"/>
                <a:gd name="T19" fmla="*/ 314 h 1539"/>
                <a:gd name="T20" fmla="*/ 360 w 860"/>
                <a:gd name="T21" fmla="*/ 396 h 1539"/>
                <a:gd name="T22" fmla="*/ 289 w 860"/>
                <a:gd name="T23" fmla="*/ 364 h 1539"/>
                <a:gd name="T24" fmla="*/ 302 w 860"/>
                <a:gd name="T25" fmla="*/ 439 h 1539"/>
                <a:gd name="T26" fmla="*/ 218 w 860"/>
                <a:gd name="T27" fmla="*/ 409 h 1539"/>
                <a:gd name="T28" fmla="*/ 207 w 860"/>
                <a:gd name="T29" fmla="*/ 305 h 1539"/>
                <a:gd name="T30" fmla="*/ 139 w 860"/>
                <a:gd name="T31" fmla="*/ 227 h 1539"/>
                <a:gd name="T32" fmla="*/ 200 w 860"/>
                <a:gd name="T33" fmla="*/ 248 h 1539"/>
                <a:gd name="T34" fmla="*/ 334 w 860"/>
                <a:gd name="T35" fmla="*/ 292 h 1539"/>
                <a:gd name="T36" fmla="*/ 380 w 860"/>
                <a:gd name="T37" fmla="*/ 171 h 1539"/>
                <a:gd name="T38" fmla="*/ 332 w 860"/>
                <a:gd name="T39" fmla="*/ 134 h 1539"/>
                <a:gd name="T40" fmla="*/ 226 w 860"/>
                <a:gd name="T41" fmla="*/ 60 h 1539"/>
                <a:gd name="T42" fmla="*/ 154 w 860"/>
                <a:gd name="T43" fmla="*/ 44 h 1539"/>
                <a:gd name="T44" fmla="*/ 157 w 860"/>
                <a:gd name="T45" fmla="*/ 30 h 1539"/>
                <a:gd name="T46" fmla="*/ 121 w 860"/>
                <a:gd name="T47" fmla="*/ 23 h 1539"/>
                <a:gd name="T48" fmla="*/ 54 w 860"/>
                <a:gd name="T49" fmla="*/ 63 h 1539"/>
                <a:gd name="T50" fmla="*/ 67 w 860"/>
                <a:gd name="T51" fmla="*/ 166 h 1539"/>
                <a:gd name="T52" fmla="*/ 69 w 860"/>
                <a:gd name="T53" fmla="*/ 340 h 1539"/>
                <a:gd name="T54" fmla="*/ 84 w 860"/>
                <a:gd name="T55" fmla="*/ 464 h 1539"/>
                <a:gd name="T56" fmla="*/ 33 w 860"/>
                <a:gd name="T57" fmla="*/ 636 h 1539"/>
                <a:gd name="T58" fmla="*/ 72 w 860"/>
                <a:gd name="T59" fmla="*/ 677 h 1539"/>
                <a:gd name="T60" fmla="*/ 20 w 860"/>
                <a:gd name="T61" fmla="*/ 694 h 1539"/>
                <a:gd name="T62" fmla="*/ 11 w 860"/>
                <a:gd name="T63" fmla="*/ 763 h 1539"/>
                <a:gd name="T64" fmla="*/ 0 w 860"/>
                <a:gd name="T65" fmla="*/ 808 h 1539"/>
                <a:gd name="T66" fmla="*/ 25 w 860"/>
                <a:gd name="T67" fmla="*/ 881 h 1539"/>
                <a:gd name="T68" fmla="*/ 89 w 860"/>
                <a:gd name="T69" fmla="*/ 903 h 1539"/>
                <a:gd name="T70" fmla="*/ 108 w 860"/>
                <a:gd name="T71" fmla="*/ 968 h 1539"/>
                <a:gd name="T72" fmla="*/ 151 w 860"/>
                <a:gd name="T73" fmla="*/ 1023 h 1539"/>
                <a:gd name="T74" fmla="*/ 119 w 860"/>
                <a:gd name="T75" fmla="*/ 1060 h 1539"/>
                <a:gd name="T76" fmla="*/ 175 w 860"/>
                <a:gd name="T77" fmla="*/ 1074 h 1539"/>
                <a:gd name="T78" fmla="*/ 213 w 860"/>
                <a:gd name="T79" fmla="*/ 1125 h 1539"/>
                <a:gd name="T80" fmla="*/ 266 w 860"/>
                <a:gd name="T81" fmla="*/ 1165 h 1539"/>
                <a:gd name="T82" fmla="*/ 344 w 860"/>
                <a:gd name="T83" fmla="*/ 1189 h 1539"/>
                <a:gd name="T84" fmla="*/ 353 w 860"/>
                <a:gd name="T85" fmla="*/ 1240 h 1539"/>
                <a:gd name="T86" fmla="*/ 311 w 860"/>
                <a:gd name="T87" fmla="*/ 1295 h 1539"/>
                <a:gd name="T88" fmla="*/ 317 w 860"/>
                <a:gd name="T89" fmla="*/ 1319 h 1539"/>
                <a:gd name="T90" fmla="*/ 293 w 860"/>
                <a:gd name="T91" fmla="*/ 1367 h 1539"/>
                <a:gd name="T92" fmla="*/ 327 w 860"/>
                <a:gd name="T93" fmla="*/ 1423 h 1539"/>
                <a:gd name="T94" fmla="*/ 428 w 860"/>
                <a:gd name="T95" fmla="*/ 1461 h 1539"/>
                <a:gd name="T96" fmla="*/ 513 w 860"/>
                <a:gd name="T97" fmla="*/ 1486 h 1539"/>
                <a:gd name="T98" fmla="*/ 568 w 860"/>
                <a:gd name="T99" fmla="*/ 1534 h 1539"/>
                <a:gd name="T100" fmla="*/ 578 w 860"/>
                <a:gd name="T101" fmla="*/ 1468 h 1539"/>
                <a:gd name="T102" fmla="*/ 565 w 860"/>
                <a:gd name="T103" fmla="*/ 1389 h 1539"/>
                <a:gd name="T104" fmla="*/ 602 w 860"/>
                <a:gd name="T105" fmla="*/ 1355 h 1539"/>
                <a:gd name="T106" fmla="*/ 603 w 860"/>
                <a:gd name="T107" fmla="*/ 1289 h 1539"/>
                <a:gd name="T108" fmla="*/ 549 w 860"/>
                <a:gd name="T109" fmla="*/ 1249 h 1539"/>
                <a:gd name="T110" fmla="*/ 583 w 860"/>
                <a:gd name="T111" fmla="*/ 1164 h 1539"/>
                <a:gd name="T112" fmla="*/ 632 w 860"/>
                <a:gd name="T113" fmla="*/ 1130 h 1539"/>
                <a:gd name="T114" fmla="*/ 687 w 860"/>
                <a:gd name="T115" fmla="*/ 1111 h 1539"/>
                <a:gd name="T116" fmla="*/ 747 w 860"/>
                <a:gd name="T117" fmla="*/ 1109 h 1539"/>
                <a:gd name="T118" fmla="*/ 781 w 860"/>
                <a:gd name="T119" fmla="*/ 1137 h 1539"/>
                <a:gd name="T120" fmla="*/ 842 w 860"/>
                <a:gd name="T121" fmla="*/ 1137 h 153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60"/>
                <a:gd name="T184" fmla="*/ 0 h 1539"/>
                <a:gd name="T185" fmla="*/ 860 w 860"/>
                <a:gd name="T186" fmla="*/ 1539 h 153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60" h="1539">
                  <a:moveTo>
                    <a:pt x="860" y="112"/>
                  </a:moveTo>
                  <a:lnTo>
                    <a:pt x="854" y="113"/>
                  </a:lnTo>
                  <a:lnTo>
                    <a:pt x="851" y="108"/>
                  </a:lnTo>
                  <a:lnTo>
                    <a:pt x="843" y="106"/>
                  </a:lnTo>
                  <a:lnTo>
                    <a:pt x="833" y="109"/>
                  </a:lnTo>
                  <a:lnTo>
                    <a:pt x="824" y="104"/>
                  </a:lnTo>
                  <a:lnTo>
                    <a:pt x="812" y="112"/>
                  </a:lnTo>
                  <a:lnTo>
                    <a:pt x="806" y="111"/>
                  </a:lnTo>
                  <a:lnTo>
                    <a:pt x="793" y="122"/>
                  </a:lnTo>
                  <a:lnTo>
                    <a:pt x="791" y="126"/>
                  </a:lnTo>
                  <a:lnTo>
                    <a:pt x="791" y="137"/>
                  </a:lnTo>
                  <a:lnTo>
                    <a:pt x="789" y="142"/>
                  </a:lnTo>
                  <a:lnTo>
                    <a:pt x="785" y="142"/>
                  </a:lnTo>
                  <a:lnTo>
                    <a:pt x="780" y="139"/>
                  </a:lnTo>
                  <a:lnTo>
                    <a:pt x="776" y="133"/>
                  </a:lnTo>
                  <a:lnTo>
                    <a:pt x="773" y="134"/>
                  </a:lnTo>
                  <a:lnTo>
                    <a:pt x="770" y="137"/>
                  </a:lnTo>
                  <a:lnTo>
                    <a:pt x="764" y="129"/>
                  </a:lnTo>
                  <a:lnTo>
                    <a:pt x="764" y="115"/>
                  </a:lnTo>
                  <a:lnTo>
                    <a:pt x="761" y="112"/>
                  </a:lnTo>
                  <a:lnTo>
                    <a:pt x="761" y="108"/>
                  </a:lnTo>
                  <a:lnTo>
                    <a:pt x="764" y="100"/>
                  </a:lnTo>
                  <a:lnTo>
                    <a:pt x="765" y="93"/>
                  </a:lnTo>
                  <a:lnTo>
                    <a:pt x="762" y="87"/>
                  </a:lnTo>
                  <a:lnTo>
                    <a:pt x="759" y="85"/>
                  </a:lnTo>
                  <a:lnTo>
                    <a:pt x="759" y="89"/>
                  </a:lnTo>
                  <a:lnTo>
                    <a:pt x="757" y="90"/>
                  </a:lnTo>
                  <a:lnTo>
                    <a:pt x="757" y="84"/>
                  </a:lnTo>
                  <a:lnTo>
                    <a:pt x="761" y="82"/>
                  </a:lnTo>
                  <a:lnTo>
                    <a:pt x="774" y="81"/>
                  </a:lnTo>
                  <a:lnTo>
                    <a:pt x="781" y="77"/>
                  </a:lnTo>
                  <a:lnTo>
                    <a:pt x="782" y="76"/>
                  </a:lnTo>
                  <a:lnTo>
                    <a:pt x="779" y="77"/>
                  </a:lnTo>
                  <a:lnTo>
                    <a:pt x="769" y="80"/>
                  </a:lnTo>
                  <a:lnTo>
                    <a:pt x="766" y="79"/>
                  </a:lnTo>
                  <a:lnTo>
                    <a:pt x="758" y="80"/>
                  </a:lnTo>
                  <a:lnTo>
                    <a:pt x="747" y="85"/>
                  </a:lnTo>
                  <a:lnTo>
                    <a:pt x="747" y="90"/>
                  </a:lnTo>
                  <a:lnTo>
                    <a:pt x="743" y="91"/>
                  </a:lnTo>
                  <a:lnTo>
                    <a:pt x="741" y="94"/>
                  </a:lnTo>
                  <a:lnTo>
                    <a:pt x="743" y="100"/>
                  </a:lnTo>
                  <a:lnTo>
                    <a:pt x="743" y="105"/>
                  </a:lnTo>
                  <a:lnTo>
                    <a:pt x="737" y="107"/>
                  </a:lnTo>
                  <a:lnTo>
                    <a:pt x="733" y="105"/>
                  </a:lnTo>
                  <a:lnTo>
                    <a:pt x="731" y="100"/>
                  </a:lnTo>
                  <a:lnTo>
                    <a:pt x="734" y="96"/>
                  </a:lnTo>
                  <a:lnTo>
                    <a:pt x="730" y="96"/>
                  </a:lnTo>
                  <a:lnTo>
                    <a:pt x="718" y="109"/>
                  </a:lnTo>
                  <a:lnTo>
                    <a:pt x="723" y="108"/>
                  </a:lnTo>
                  <a:lnTo>
                    <a:pt x="725" y="113"/>
                  </a:lnTo>
                  <a:lnTo>
                    <a:pt x="725" y="117"/>
                  </a:lnTo>
                  <a:lnTo>
                    <a:pt x="724" y="122"/>
                  </a:lnTo>
                  <a:lnTo>
                    <a:pt x="719" y="126"/>
                  </a:lnTo>
                  <a:lnTo>
                    <a:pt x="717" y="127"/>
                  </a:lnTo>
                  <a:lnTo>
                    <a:pt x="714" y="120"/>
                  </a:lnTo>
                  <a:lnTo>
                    <a:pt x="710" y="114"/>
                  </a:lnTo>
                  <a:lnTo>
                    <a:pt x="696" y="118"/>
                  </a:lnTo>
                  <a:lnTo>
                    <a:pt x="697" y="121"/>
                  </a:lnTo>
                  <a:lnTo>
                    <a:pt x="678" y="129"/>
                  </a:lnTo>
                  <a:lnTo>
                    <a:pt x="676" y="128"/>
                  </a:lnTo>
                  <a:lnTo>
                    <a:pt x="672" y="129"/>
                  </a:lnTo>
                  <a:lnTo>
                    <a:pt x="658" y="143"/>
                  </a:lnTo>
                  <a:lnTo>
                    <a:pt x="619" y="168"/>
                  </a:lnTo>
                  <a:lnTo>
                    <a:pt x="615" y="168"/>
                  </a:lnTo>
                  <a:lnTo>
                    <a:pt x="614" y="176"/>
                  </a:lnTo>
                  <a:lnTo>
                    <a:pt x="617" y="177"/>
                  </a:lnTo>
                  <a:lnTo>
                    <a:pt x="612" y="181"/>
                  </a:lnTo>
                  <a:lnTo>
                    <a:pt x="600" y="183"/>
                  </a:lnTo>
                  <a:lnTo>
                    <a:pt x="595" y="187"/>
                  </a:lnTo>
                  <a:lnTo>
                    <a:pt x="592" y="185"/>
                  </a:lnTo>
                  <a:lnTo>
                    <a:pt x="589" y="192"/>
                  </a:lnTo>
                  <a:lnTo>
                    <a:pt x="585" y="209"/>
                  </a:lnTo>
                  <a:lnTo>
                    <a:pt x="583" y="215"/>
                  </a:lnTo>
                  <a:lnTo>
                    <a:pt x="584" y="228"/>
                  </a:lnTo>
                  <a:lnTo>
                    <a:pt x="580" y="234"/>
                  </a:lnTo>
                  <a:lnTo>
                    <a:pt x="572" y="239"/>
                  </a:lnTo>
                  <a:lnTo>
                    <a:pt x="566" y="238"/>
                  </a:lnTo>
                  <a:lnTo>
                    <a:pt x="555" y="243"/>
                  </a:lnTo>
                  <a:lnTo>
                    <a:pt x="553" y="254"/>
                  </a:lnTo>
                  <a:lnTo>
                    <a:pt x="550" y="246"/>
                  </a:lnTo>
                  <a:lnTo>
                    <a:pt x="549" y="238"/>
                  </a:lnTo>
                  <a:lnTo>
                    <a:pt x="543" y="243"/>
                  </a:lnTo>
                  <a:lnTo>
                    <a:pt x="537" y="243"/>
                  </a:lnTo>
                  <a:lnTo>
                    <a:pt x="533" y="239"/>
                  </a:lnTo>
                  <a:lnTo>
                    <a:pt x="527" y="229"/>
                  </a:lnTo>
                  <a:lnTo>
                    <a:pt x="525" y="223"/>
                  </a:lnTo>
                  <a:lnTo>
                    <a:pt x="513" y="210"/>
                  </a:lnTo>
                  <a:lnTo>
                    <a:pt x="508" y="205"/>
                  </a:lnTo>
                  <a:lnTo>
                    <a:pt x="505" y="197"/>
                  </a:lnTo>
                  <a:lnTo>
                    <a:pt x="505" y="189"/>
                  </a:lnTo>
                  <a:lnTo>
                    <a:pt x="511" y="189"/>
                  </a:lnTo>
                  <a:lnTo>
                    <a:pt x="515" y="184"/>
                  </a:lnTo>
                  <a:lnTo>
                    <a:pt x="517" y="177"/>
                  </a:lnTo>
                  <a:lnTo>
                    <a:pt x="524" y="174"/>
                  </a:lnTo>
                  <a:lnTo>
                    <a:pt x="553" y="168"/>
                  </a:lnTo>
                  <a:lnTo>
                    <a:pt x="549" y="159"/>
                  </a:lnTo>
                  <a:lnTo>
                    <a:pt x="548" y="149"/>
                  </a:lnTo>
                  <a:lnTo>
                    <a:pt x="546" y="140"/>
                  </a:lnTo>
                  <a:lnTo>
                    <a:pt x="541" y="143"/>
                  </a:lnTo>
                  <a:lnTo>
                    <a:pt x="536" y="133"/>
                  </a:lnTo>
                  <a:lnTo>
                    <a:pt x="533" y="131"/>
                  </a:lnTo>
                  <a:lnTo>
                    <a:pt x="532" y="122"/>
                  </a:lnTo>
                  <a:lnTo>
                    <a:pt x="527" y="117"/>
                  </a:lnTo>
                  <a:lnTo>
                    <a:pt x="513" y="113"/>
                  </a:lnTo>
                  <a:lnTo>
                    <a:pt x="501" y="114"/>
                  </a:lnTo>
                  <a:lnTo>
                    <a:pt x="488" y="112"/>
                  </a:lnTo>
                  <a:lnTo>
                    <a:pt x="482" y="114"/>
                  </a:lnTo>
                  <a:lnTo>
                    <a:pt x="477" y="113"/>
                  </a:lnTo>
                  <a:lnTo>
                    <a:pt x="456" y="102"/>
                  </a:lnTo>
                  <a:lnTo>
                    <a:pt x="456" y="107"/>
                  </a:lnTo>
                  <a:lnTo>
                    <a:pt x="481" y="129"/>
                  </a:lnTo>
                  <a:lnTo>
                    <a:pt x="481" y="146"/>
                  </a:lnTo>
                  <a:lnTo>
                    <a:pt x="482" y="154"/>
                  </a:lnTo>
                  <a:lnTo>
                    <a:pt x="480" y="164"/>
                  </a:lnTo>
                  <a:lnTo>
                    <a:pt x="480" y="173"/>
                  </a:lnTo>
                  <a:lnTo>
                    <a:pt x="473" y="199"/>
                  </a:lnTo>
                  <a:lnTo>
                    <a:pt x="472" y="206"/>
                  </a:lnTo>
                  <a:lnTo>
                    <a:pt x="473" y="215"/>
                  </a:lnTo>
                  <a:lnTo>
                    <a:pt x="476" y="217"/>
                  </a:lnTo>
                  <a:lnTo>
                    <a:pt x="482" y="217"/>
                  </a:lnTo>
                  <a:lnTo>
                    <a:pt x="487" y="221"/>
                  </a:lnTo>
                  <a:lnTo>
                    <a:pt x="492" y="231"/>
                  </a:lnTo>
                  <a:lnTo>
                    <a:pt x="492" y="238"/>
                  </a:lnTo>
                  <a:lnTo>
                    <a:pt x="490" y="244"/>
                  </a:lnTo>
                  <a:lnTo>
                    <a:pt x="491" y="250"/>
                  </a:lnTo>
                  <a:lnTo>
                    <a:pt x="489" y="260"/>
                  </a:lnTo>
                  <a:lnTo>
                    <a:pt x="484" y="268"/>
                  </a:lnTo>
                  <a:lnTo>
                    <a:pt x="480" y="281"/>
                  </a:lnTo>
                  <a:lnTo>
                    <a:pt x="484" y="290"/>
                  </a:lnTo>
                  <a:lnTo>
                    <a:pt x="482" y="309"/>
                  </a:lnTo>
                  <a:lnTo>
                    <a:pt x="476" y="301"/>
                  </a:lnTo>
                  <a:lnTo>
                    <a:pt x="475" y="295"/>
                  </a:lnTo>
                  <a:lnTo>
                    <a:pt x="471" y="290"/>
                  </a:lnTo>
                  <a:lnTo>
                    <a:pt x="467" y="291"/>
                  </a:lnTo>
                  <a:lnTo>
                    <a:pt x="460" y="296"/>
                  </a:lnTo>
                  <a:lnTo>
                    <a:pt x="464" y="288"/>
                  </a:lnTo>
                  <a:lnTo>
                    <a:pt x="465" y="283"/>
                  </a:lnTo>
                  <a:lnTo>
                    <a:pt x="456" y="275"/>
                  </a:lnTo>
                  <a:lnTo>
                    <a:pt x="452" y="273"/>
                  </a:lnTo>
                  <a:lnTo>
                    <a:pt x="439" y="273"/>
                  </a:lnTo>
                  <a:lnTo>
                    <a:pt x="428" y="263"/>
                  </a:lnTo>
                  <a:lnTo>
                    <a:pt x="424" y="268"/>
                  </a:lnTo>
                  <a:lnTo>
                    <a:pt x="422" y="274"/>
                  </a:lnTo>
                  <a:lnTo>
                    <a:pt x="414" y="283"/>
                  </a:lnTo>
                  <a:lnTo>
                    <a:pt x="408" y="290"/>
                  </a:lnTo>
                  <a:lnTo>
                    <a:pt x="403" y="296"/>
                  </a:lnTo>
                  <a:lnTo>
                    <a:pt x="390" y="302"/>
                  </a:lnTo>
                  <a:lnTo>
                    <a:pt x="386" y="302"/>
                  </a:lnTo>
                  <a:lnTo>
                    <a:pt x="379" y="306"/>
                  </a:lnTo>
                  <a:lnTo>
                    <a:pt x="376" y="314"/>
                  </a:lnTo>
                  <a:lnTo>
                    <a:pt x="370" y="320"/>
                  </a:lnTo>
                  <a:lnTo>
                    <a:pt x="363" y="325"/>
                  </a:lnTo>
                  <a:lnTo>
                    <a:pt x="357" y="327"/>
                  </a:lnTo>
                  <a:lnTo>
                    <a:pt x="357" y="333"/>
                  </a:lnTo>
                  <a:lnTo>
                    <a:pt x="359" y="347"/>
                  </a:lnTo>
                  <a:lnTo>
                    <a:pt x="365" y="359"/>
                  </a:lnTo>
                  <a:lnTo>
                    <a:pt x="371" y="367"/>
                  </a:lnTo>
                  <a:lnTo>
                    <a:pt x="375" y="375"/>
                  </a:lnTo>
                  <a:lnTo>
                    <a:pt x="382" y="391"/>
                  </a:lnTo>
                  <a:lnTo>
                    <a:pt x="383" y="396"/>
                  </a:lnTo>
                  <a:lnTo>
                    <a:pt x="387" y="403"/>
                  </a:lnTo>
                  <a:lnTo>
                    <a:pt x="387" y="406"/>
                  </a:lnTo>
                  <a:lnTo>
                    <a:pt x="378" y="400"/>
                  </a:lnTo>
                  <a:lnTo>
                    <a:pt x="375" y="401"/>
                  </a:lnTo>
                  <a:lnTo>
                    <a:pt x="360" y="396"/>
                  </a:lnTo>
                  <a:lnTo>
                    <a:pt x="360" y="398"/>
                  </a:lnTo>
                  <a:lnTo>
                    <a:pt x="359" y="400"/>
                  </a:lnTo>
                  <a:lnTo>
                    <a:pt x="353" y="399"/>
                  </a:lnTo>
                  <a:lnTo>
                    <a:pt x="342" y="395"/>
                  </a:lnTo>
                  <a:lnTo>
                    <a:pt x="333" y="387"/>
                  </a:lnTo>
                  <a:lnTo>
                    <a:pt x="325" y="386"/>
                  </a:lnTo>
                  <a:lnTo>
                    <a:pt x="320" y="383"/>
                  </a:lnTo>
                  <a:lnTo>
                    <a:pt x="312" y="390"/>
                  </a:lnTo>
                  <a:lnTo>
                    <a:pt x="308" y="397"/>
                  </a:lnTo>
                  <a:lnTo>
                    <a:pt x="306" y="386"/>
                  </a:lnTo>
                  <a:lnTo>
                    <a:pt x="314" y="381"/>
                  </a:lnTo>
                  <a:lnTo>
                    <a:pt x="308" y="378"/>
                  </a:lnTo>
                  <a:lnTo>
                    <a:pt x="299" y="377"/>
                  </a:lnTo>
                  <a:lnTo>
                    <a:pt x="297" y="370"/>
                  </a:lnTo>
                  <a:lnTo>
                    <a:pt x="289" y="364"/>
                  </a:lnTo>
                  <a:lnTo>
                    <a:pt x="279" y="359"/>
                  </a:lnTo>
                  <a:lnTo>
                    <a:pt x="273" y="358"/>
                  </a:lnTo>
                  <a:lnTo>
                    <a:pt x="272" y="369"/>
                  </a:lnTo>
                  <a:lnTo>
                    <a:pt x="267" y="375"/>
                  </a:lnTo>
                  <a:lnTo>
                    <a:pt x="262" y="377"/>
                  </a:lnTo>
                  <a:lnTo>
                    <a:pt x="263" y="382"/>
                  </a:lnTo>
                  <a:lnTo>
                    <a:pt x="266" y="390"/>
                  </a:lnTo>
                  <a:lnTo>
                    <a:pt x="271" y="392"/>
                  </a:lnTo>
                  <a:lnTo>
                    <a:pt x="277" y="404"/>
                  </a:lnTo>
                  <a:lnTo>
                    <a:pt x="285" y="413"/>
                  </a:lnTo>
                  <a:lnTo>
                    <a:pt x="301" y="406"/>
                  </a:lnTo>
                  <a:lnTo>
                    <a:pt x="304" y="415"/>
                  </a:lnTo>
                  <a:lnTo>
                    <a:pt x="308" y="439"/>
                  </a:lnTo>
                  <a:lnTo>
                    <a:pt x="311" y="443"/>
                  </a:lnTo>
                  <a:lnTo>
                    <a:pt x="302" y="439"/>
                  </a:lnTo>
                  <a:lnTo>
                    <a:pt x="294" y="445"/>
                  </a:lnTo>
                  <a:lnTo>
                    <a:pt x="292" y="449"/>
                  </a:lnTo>
                  <a:lnTo>
                    <a:pt x="292" y="451"/>
                  </a:lnTo>
                  <a:lnTo>
                    <a:pt x="285" y="446"/>
                  </a:lnTo>
                  <a:lnTo>
                    <a:pt x="280" y="446"/>
                  </a:lnTo>
                  <a:lnTo>
                    <a:pt x="263" y="437"/>
                  </a:lnTo>
                  <a:lnTo>
                    <a:pt x="254" y="434"/>
                  </a:lnTo>
                  <a:lnTo>
                    <a:pt x="253" y="431"/>
                  </a:lnTo>
                  <a:lnTo>
                    <a:pt x="249" y="425"/>
                  </a:lnTo>
                  <a:lnTo>
                    <a:pt x="245" y="421"/>
                  </a:lnTo>
                  <a:lnTo>
                    <a:pt x="241" y="416"/>
                  </a:lnTo>
                  <a:lnTo>
                    <a:pt x="236" y="413"/>
                  </a:lnTo>
                  <a:lnTo>
                    <a:pt x="233" y="416"/>
                  </a:lnTo>
                  <a:lnTo>
                    <a:pt x="227" y="417"/>
                  </a:lnTo>
                  <a:lnTo>
                    <a:pt x="218" y="409"/>
                  </a:lnTo>
                  <a:lnTo>
                    <a:pt x="215" y="403"/>
                  </a:lnTo>
                  <a:lnTo>
                    <a:pt x="208" y="407"/>
                  </a:lnTo>
                  <a:lnTo>
                    <a:pt x="209" y="402"/>
                  </a:lnTo>
                  <a:lnTo>
                    <a:pt x="214" y="397"/>
                  </a:lnTo>
                  <a:lnTo>
                    <a:pt x="213" y="387"/>
                  </a:lnTo>
                  <a:lnTo>
                    <a:pt x="214" y="378"/>
                  </a:lnTo>
                  <a:lnTo>
                    <a:pt x="209" y="373"/>
                  </a:lnTo>
                  <a:lnTo>
                    <a:pt x="209" y="365"/>
                  </a:lnTo>
                  <a:lnTo>
                    <a:pt x="199" y="346"/>
                  </a:lnTo>
                  <a:lnTo>
                    <a:pt x="202" y="342"/>
                  </a:lnTo>
                  <a:lnTo>
                    <a:pt x="209" y="340"/>
                  </a:lnTo>
                  <a:lnTo>
                    <a:pt x="211" y="329"/>
                  </a:lnTo>
                  <a:lnTo>
                    <a:pt x="212" y="315"/>
                  </a:lnTo>
                  <a:lnTo>
                    <a:pt x="211" y="309"/>
                  </a:lnTo>
                  <a:lnTo>
                    <a:pt x="207" y="305"/>
                  </a:lnTo>
                  <a:lnTo>
                    <a:pt x="204" y="294"/>
                  </a:lnTo>
                  <a:lnTo>
                    <a:pt x="201" y="291"/>
                  </a:lnTo>
                  <a:lnTo>
                    <a:pt x="193" y="290"/>
                  </a:lnTo>
                  <a:lnTo>
                    <a:pt x="191" y="283"/>
                  </a:lnTo>
                  <a:lnTo>
                    <a:pt x="185" y="283"/>
                  </a:lnTo>
                  <a:lnTo>
                    <a:pt x="176" y="280"/>
                  </a:lnTo>
                  <a:lnTo>
                    <a:pt x="176" y="276"/>
                  </a:lnTo>
                  <a:lnTo>
                    <a:pt x="177" y="271"/>
                  </a:lnTo>
                  <a:lnTo>
                    <a:pt x="176" y="269"/>
                  </a:lnTo>
                  <a:lnTo>
                    <a:pt x="167" y="268"/>
                  </a:lnTo>
                  <a:lnTo>
                    <a:pt x="150" y="252"/>
                  </a:lnTo>
                  <a:lnTo>
                    <a:pt x="153" y="249"/>
                  </a:lnTo>
                  <a:lnTo>
                    <a:pt x="145" y="241"/>
                  </a:lnTo>
                  <a:lnTo>
                    <a:pt x="143" y="233"/>
                  </a:lnTo>
                  <a:lnTo>
                    <a:pt x="139" y="227"/>
                  </a:lnTo>
                  <a:lnTo>
                    <a:pt x="131" y="224"/>
                  </a:lnTo>
                  <a:lnTo>
                    <a:pt x="134" y="220"/>
                  </a:lnTo>
                  <a:lnTo>
                    <a:pt x="145" y="218"/>
                  </a:lnTo>
                  <a:lnTo>
                    <a:pt x="155" y="224"/>
                  </a:lnTo>
                  <a:lnTo>
                    <a:pt x="156" y="230"/>
                  </a:lnTo>
                  <a:lnTo>
                    <a:pt x="161" y="238"/>
                  </a:lnTo>
                  <a:lnTo>
                    <a:pt x="176" y="247"/>
                  </a:lnTo>
                  <a:lnTo>
                    <a:pt x="178" y="246"/>
                  </a:lnTo>
                  <a:lnTo>
                    <a:pt x="180" y="242"/>
                  </a:lnTo>
                  <a:lnTo>
                    <a:pt x="184" y="249"/>
                  </a:lnTo>
                  <a:lnTo>
                    <a:pt x="188" y="253"/>
                  </a:lnTo>
                  <a:lnTo>
                    <a:pt x="191" y="249"/>
                  </a:lnTo>
                  <a:lnTo>
                    <a:pt x="194" y="251"/>
                  </a:lnTo>
                  <a:lnTo>
                    <a:pt x="197" y="247"/>
                  </a:lnTo>
                  <a:lnTo>
                    <a:pt x="200" y="248"/>
                  </a:lnTo>
                  <a:lnTo>
                    <a:pt x="201" y="255"/>
                  </a:lnTo>
                  <a:lnTo>
                    <a:pt x="203" y="261"/>
                  </a:lnTo>
                  <a:lnTo>
                    <a:pt x="211" y="258"/>
                  </a:lnTo>
                  <a:lnTo>
                    <a:pt x="221" y="261"/>
                  </a:lnTo>
                  <a:lnTo>
                    <a:pt x="224" y="266"/>
                  </a:lnTo>
                  <a:lnTo>
                    <a:pt x="230" y="266"/>
                  </a:lnTo>
                  <a:lnTo>
                    <a:pt x="235" y="271"/>
                  </a:lnTo>
                  <a:lnTo>
                    <a:pt x="252" y="276"/>
                  </a:lnTo>
                  <a:lnTo>
                    <a:pt x="259" y="280"/>
                  </a:lnTo>
                  <a:lnTo>
                    <a:pt x="274" y="281"/>
                  </a:lnTo>
                  <a:lnTo>
                    <a:pt x="288" y="286"/>
                  </a:lnTo>
                  <a:lnTo>
                    <a:pt x="292" y="291"/>
                  </a:lnTo>
                  <a:lnTo>
                    <a:pt x="302" y="293"/>
                  </a:lnTo>
                  <a:lnTo>
                    <a:pt x="328" y="295"/>
                  </a:lnTo>
                  <a:lnTo>
                    <a:pt x="334" y="292"/>
                  </a:lnTo>
                  <a:lnTo>
                    <a:pt x="341" y="291"/>
                  </a:lnTo>
                  <a:lnTo>
                    <a:pt x="364" y="280"/>
                  </a:lnTo>
                  <a:lnTo>
                    <a:pt x="369" y="275"/>
                  </a:lnTo>
                  <a:lnTo>
                    <a:pt x="374" y="272"/>
                  </a:lnTo>
                  <a:lnTo>
                    <a:pt x="384" y="261"/>
                  </a:lnTo>
                  <a:lnTo>
                    <a:pt x="395" y="243"/>
                  </a:lnTo>
                  <a:lnTo>
                    <a:pt x="399" y="230"/>
                  </a:lnTo>
                  <a:lnTo>
                    <a:pt x="401" y="218"/>
                  </a:lnTo>
                  <a:lnTo>
                    <a:pt x="396" y="215"/>
                  </a:lnTo>
                  <a:lnTo>
                    <a:pt x="394" y="213"/>
                  </a:lnTo>
                  <a:lnTo>
                    <a:pt x="394" y="201"/>
                  </a:lnTo>
                  <a:lnTo>
                    <a:pt x="392" y="193"/>
                  </a:lnTo>
                  <a:lnTo>
                    <a:pt x="391" y="182"/>
                  </a:lnTo>
                  <a:lnTo>
                    <a:pt x="386" y="175"/>
                  </a:lnTo>
                  <a:lnTo>
                    <a:pt x="380" y="171"/>
                  </a:lnTo>
                  <a:lnTo>
                    <a:pt x="377" y="173"/>
                  </a:lnTo>
                  <a:lnTo>
                    <a:pt x="372" y="169"/>
                  </a:lnTo>
                  <a:lnTo>
                    <a:pt x="373" y="164"/>
                  </a:lnTo>
                  <a:lnTo>
                    <a:pt x="370" y="162"/>
                  </a:lnTo>
                  <a:lnTo>
                    <a:pt x="363" y="154"/>
                  </a:lnTo>
                  <a:lnTo>
                    <a:pt x="362" y="150"/>
                  </a:lnTo>
                  <a:lnTo>
                    <a:pt x="359" y="147"/>
                  </a:lnTo>
                  <a:lnTo>
                    <a:pt x="355" y="144"/>
                  </a:lnTo>
                  <a:lnTo>
                    <a:pt x="357" y="151"/>
                  </a:lnTo>
                  <a:lnTo>
                    <a:pt x="353" y="153"/>
                  </a:lnTo>
                  <a:lnTo>
                    <a:pt x="341" y="144"/>
                  </a:lnTo>
                  <a:lnTo>
                    <a:pt x="336" y="139"/>
                  </a:lnTo>
                  <a:lnTo>
                    <a:pt x="335" y="144"/>
                  </a:lnTo>
                  <a:lnTo>
                    <a:pt x="334" y="141"/>
                  </a:lnTo>
                  <a:lnTo>
                    <a:pt x="332" y="134"/>
                  </a:lnTo>
                  <a:lnTo>
                    <a:pt x="325" y="126"/>
                  </a:lnTo>
                  <a:lnTo>
                    <a:pt x="329" y="135"/>
                  </a:lnTo>
                  <a:lnTo>
                    <a:pt x="318" y="132"/>
                  </a:lnTo>
                  <a:lnTo>
                    <a:pt x="314" y="126"/>
                  </a:lnTo>
                  <a:lnTo>
                    <a:pt x="313" y="122"/>
                  </a:lnTo>
                  <a:lnTo>
                    <a:pt x="309" y="117"/>
                  </a:lnTo>
                  <a:lnTo>
                    <a:pt x="293" y="101"/>
                  </a:lnTo>
                  <a:lnTo>
                    <a:pt x="284" y="94"/>
                  </a:lnTo>
                  <a:lnTo>
                    <a:pt x="280" y="89"/>
                  </a:lnTo>
                  <a:lnTo>
                    <a:pt x="267" y="80"/>
                  </a:lnTo>
                  <a:lnTo>
                    <a:pt x="263" y="74"/>
                  </a:lnTo>
                  <a:lnTo>
                    <a:pt x="245" y="65"/>
                  </a:lnTo>
                  <a:lnTo>
                    <a:pt x="242" y="62"/>
                  </a:lnTo>
                  <a:lnTo>
                    <a:pt x="224" y="57"/>
                  </a:lnTo>
                  <a:lnTo>
                    <a:pt x="226" y="60"/>
                  </a:lnTo>
                  <a:lnTo>
                    <a:pt x="224" y="63"/>
                  </a:lnTo>
                  <a:lnTo>
                    <a:pt x="221" y="63"/>
                  </a:lnTo>
                  <a:lnTo>
                    <a:pt x="212" y="58"/>
                  </a:lnTo>
                  <a:lnTo>
                    <a:pt x="193" y="54"/>
                  </a:lnTo>
                  <a:lnTo>
                    <a:pt x="186" y="50"/>
                  </a:lnTo>
                  <a:lnTo>
                    <a:pt x="184" y="54"/>
                  </a:lnTo>
                  <a:lnTo>
                    <a:pt x="174" y="55"/>
                  </a:lnTo>
                  <a:lnTo>
                    <a:pt x="171" y="58"/>
                  </a:lnTo>
                  <a:lnTo>
                    <a:pt x="169" y="53"/>
                  </a:lnTo>
                  <a:lnTo>
                    <a:pt x="167" y="51"/>
                  </a:lnTo>
                  <a:lnTo>
                    <a:pt x="168" y="44"/>
                  </a:lnTo>
                  <a:lnTo>
                    <a:pt x="167" y="43"/>
                  </a:lnTo>
                  <a:lnTo>
                    <a:pt x="157" y="51"/>
                  </a:lnTo>
                  <a:lnTo>
                    <a:pt x="159" y="41"/>
                  </a:lnTo>
                  <a:lnTo>
                    <a:pt x="154" y="44"/>
                  </a:lnTo>
                  <a:lnTo>
                    <a:pt x="155" y="39"/>
                  </a:lnTo>
                  <a:lnTo>
                    <a:pt x="153" y="38"/>
                  </a:lnTo>
                  <a:lnTo>
                    <a:pt x="149" y="38"/>
                  </a:lnTo>
                  <a:lnTo>
                    <a:pt x="141" y="41"/>
                  </a:lnTo>
                  <a:lnTo>
                    <a:pt x="142" y="38"/>
                  </a:lnTo>
                  <a:lnTo>
                    <a:pt x="142" y="34"/>
                  </a:lnTo>
                  <a:lnTo>
                    <a:pt x="140" y="31"/>
                  </a:lnTo>
                  <a:lnTo>
                    <a:pt x="131" y="31"/>
                  </a:lnTo>
                  <a:lnTo>
                    <a:pt x="135" y="16"/>
                  </a:lnTo>
                  <a:lnTo>
                    <a:pt x="137" y="23"/>
                  </a:lnTo>
                  <a:lnTo>
                    <a:pt x="140" y="25"/>
                  </a:lnTo>
                  <a:lnTo>
                    <a:pt x="143" y="25"/>
                  </a:lnTo>
                  <a:lnTo>
                    <a:pt x="147" y="28"/>
                  </a:lnTo>
                  <a:lnTo>
                    <a:pt x="152" y="28"/>
                  </a:lnTo>
                  <a:lnTo>
                    <a:pt x="157" y="30"/>
                  </a:lnTo>
                  <a:lnTo>
                    <a:pt x="161" y="22"/>
                  </a:lnTo>
                  <a:lnTo>
                    <a:pt x="162" y="16"/>
                  </a:lnTo>
                  <a:lnTo>
                    <a:pt x="152" y="12"/>
                  </a:lnTo>
                  <a:lnTo>
                    <a:pt x="149" y="14"/>
                  </a:lnTo>
                  <a:lnTo>
                    <a:pt x="144" y="10"/>
                  </a:lnTo>
                  <a:lnTo>
                    <a:pt x="144" y="8"/>
                  </a:lnTo>
                  <a:lnTo>
                    <a:pt x="136" y="3"/>
                  </a:lnTo>
                  <a:lnTo>
                    <a:pt x="127" y="0"/>
                  </a:lnTo>
                  <a:lnTo>
                    <a:pt x="130" y="4"/>
                  </a:lnTo>
                  <a:lnTo>
                    <a:pt x="130" y="12"/>
                  </a:lnTo>
                  <a:lnTo>
                    <a:pt x="126" y="13"/>
                  </a:lnTo>
                  <a:lnTo>
                    <a:pt x="123" y="10"/>
                  </a:lnTo>
                  <a:lnTo>
                    <a:pt x="122" y="14"/>
                  </a:lnTo>
                  <a:lnTo>
                    <a:pt x="123" y="20"/>
                  </a:lnTo>
                  <a:lnTo>
                    <a:pt x="121" y="23"/>
                  </a:lnTo>
                  <a:lnTo>
                    <a:pt x="116" y="24"/>
                  </a:lnTo>
                  <a:lnTo>
                    <a:pt x="111" y="17"/>
                  </a:lnTo>
                  <a:lnTo>
                    <a:pt x="100" y="13"/>
                  </a:lnTo>
                  <a:lnTo>
                    <a:pt x="99" y="13"/>
                  </a:lnTo>
                  <a:lnTo>
                    <a:pt x="100" y="16"/>
                  </a:lnTo>
                  <a:lnTo>
                    <a:pt x="100" y="21"/>
                  </a:lnTo>
                  <a:lnTo>
                    <a:pt x="98" y="28"/>
                  </a:lnTo>
                  <a:lnTo>
                    <a:pt x="97" y="31"/>
                  </a:lnTo>
                  <a:lnTo>
                    <a:pt x="91" y="32"/>
                  </a:lnTo>
                  <a:lnTo>
                    <a:pt x="79" y="25"/>
                  </a:lnTo>
                  <a:lnTo>
                    <a:pt x="75" y="41"/>
                  </a:lnTo>
                  <a:lnTo>
                    <a:pt x="72" y="45"/>
                  </a:lnTo>
                  <a:lnTo>
                    <a:pt x="55" y="55"/>
                  </a:lnTo>
                  <a:lnTo>
                    <a:pt x="54" y="57"/>
                  </a:lnTo>
                  <a:lnTo>
                    <a:pt x="54" y="63"/>
                  </a:lnTo>
                  <a:lnTo>
                    <a:pt x="53" y="65"/>
                  </a:lnTo>
                  <a:lnTo>
                    <a:pt x="49" y="70"/>
                  </a:lnTo>
                  <a:lnTo>
                    <a:pt x="47" y="70"/>
                  </a:lnTo>
                  <a:lnTo>
                    <a:pt x="31" y="84"/>
                  </a:lnTo>
                  <a:lnTo>
                    <a:pt x="36" y="87"/>
                  </a:lnTo>
                  <a:lnTo>
                    <a:pt x="36" y="89"/>
                  </a:lnTo>
                  <a:lnTo>
                    <a:pt x="31" y="105"/>
                  </a:lnTo>
                  <a:lnTo>
                    <a:pt x="30" y="110"/>
                  </a:lnTo>
                  <a:lnTo>
                    <a:pt x="31" y="123"/>
                  </a:lnTo>
                  <a:lnTo>
                    <a:pt x="34" y="133"/>
                  </a:lnTo>
                  <a:lnTo>
                    <a:pt x="36" y="137"/>
                  </a:lnTo>
                  <a:lnTo>
                    <a:pt x="41" y="141"/>
                  </a:lnTo>
                  <a:lnTo>
                    <a:pt x="49" y="141"/>
                  </a:lnTo>
                  <a:lnTo>
                    <a:pt x="56" y="146"/>
                  </a:lnTo>
                  <a:lnTo>
                    <a:pt x="67" y="166"/>
                  </a:lnTo>
                  <a:lnTo>
                    <a:pt x="72" y="173"/>
                  </a:lnTo>
                  <a:lnTo>
                    <a:pt x="73" y="185"/>
                  </a:lnTo>
                  <a:lnTo>
                    <a:pt x="64" y="204"/>
                  </a:lnTo>
                  <a:lnTo>
                    <a:pt x="55" y="227"/>
                  </a:lnTo>
                  <a:lnTo>
                    <a:pt x="51" y="233"/>
                  </a:lnTo>
                  <a:lnTo>
                    <a:pt x="52" y="244"/>
                  </a:lnTo>
                  <a:lnTo>
                    <a:pt x="57" y="255"/>
                  </a:lnTo>
                  <a:lnTo>
                    <a:pt x="61" y="264"/>
                  </a:lnTo>
                  <a:lnTo>
                    <a:pt x="62" y="274"/>
                  </a:lnTo>
                  <a:lnTo>
                    <a:pt x="70" y="287"/>
                  </a:lnTo>
                  <a:lnTo>
                    <a:pt x="75" y="306"/>
                  </a:lnTo>
                  <a:lnTo>
                    <a:pt x="77" y="314"/>
                  </a:lnTo>
                  <a:lnTo>
                    <a:pt x="78" y="322"/>
                  </a:lnTo>
                  <a:lnTo>
                    <a:pt x="70" y="329"/>
                  </a:lnTo>
                  <a:lnTo>
                    <a:pt x="69" y="340"/>
                  </a:lnTo>
                  <a:lnTo>
                    <a:pt x="67" y="349"/>
                  </a:lnTo>
                  <a:lnTo>
                    <a:pt x="69" y="354"/>
                  </a:lnTo>
                  <a:lnTo>
                    <a:pt x="69" y="363"/>
                  </a:lnTo>
                  <a:lnTo>
                    <a:pt x="67" y="369"/>
                  </a:lnTo>
                  <a:lnTo>
                    <a:pt x="67" y="380"/>
                  </a:lnTo>
                  <a:lnTo>
                    <a:pt x="75" y="382"/>
                  </a:lnTo>
                  <a:lnTo>
                    <a:pt x="79" y="391"/>
                  </a:lnTo>
                  <a:lnTo>
                    <a:pt x="78" y="402"/>
                  </a:lnTo>
                  <a:lnTo>
                    <a:pt x="82" y="410"/>
                  </a:lnTo>
                  <a:lnTo>
                    <a:pt x="91" y="418"/>
                  </a:lnTo>
                  <a:lnTo>
                    <a:pt x="91" y="428"/>
                  </a:lnTo>
                  <a:lnTo>
                    <a:pt x="88" y="438"/>
                  </a:lnTo>
                  <a:lnTo>
                    <a:pt x="83" y="446"/>
                  </a:lnTo>
                  <a:lnTo>
                    <a:pt x="80" y="454"/>
                  </a:lnTo>
                  <a:lnTo>
                    <a:pt x="84" y="464"/>
                  </a:lnTo>
                  <a:lnTo>
                    <a:pt x="88" y="470"/>
                  </a:lnTo>
                  <a:lnTo>
                    <a:pt x="103" y="482"/>
                  </a:lnTo>
                  <a:lnTo>
                    <a:pt x="106" y="491"/>
                  </a:lnTo>
                  <a:lnTo>
                    <a:pt x="111" y="500"/>
                  </a:lnTo>
                  <a:lnTo>
                    <a:pt x="114" y="497"/>
                  </a:lnTo>
                  <a:lnTo>
                    <a:pt x="113" y="517"/>
                  </a:lnTo>
                  <a:lnTo>
                    <a:pt x="104" y="537"/>
                  </a:lnTo>
                  <a:lnTo>
                    <a:pt x="98" y="547"/>
                  </a:lnTo>
                  <a:lnTo>
                    <a:pt x="70" y="583"/>
                  </a:lnTo>
                  <a:lnTo>
                    <a:pt x="50" y="606"/>
                  </a:lnTo>
                  <a:lnTo>
                    <a:pt x="24" y="632"/>
                  </a:lnTo>
                  <a:lnTo>
                    <a:pt x="5" y="646"/>
                  </a:lnTo>
                  <a:lnTo>
                    <a:pt x="18" y="648"/>
                  </a:lnTo>
                  <a:lnTo>
                    <a:pt x="24" y="642"/>
                  </a:lnTo>
                  <a:lnTo>
                    <a:pt x="33" y="636"/>
                  </a:lnTo>
                  <a:lnTo>
                    <a:pt x="34" y="640"/>
                  </a:lnTo>
                  <a:lnTo>
                    <a:pt x="33" y="642"/>
                  </a:lnTo>
                  <a:lnTo>
                    <a:pt x="33" y="652"/>
                  </a:lnTo>
                  <a:lnTo>
                    <a:pt x="31" y="648"/>
                  </a:lnTo>
                  <a:lnTo>
                    <a:pt x="28" y="647"/>
                  </a:lnTo>
                  <a:lnTo>
                    <a:pt x="28" y="655"/>
                  </a:lnTo>
                  <a:lnTo>
                    <a:pt x="31" y="659"/>
                  </a:lnTo>
                  <a:lnTo>
                    <a:pt x="34" y="660"/>
                  </a:lnTo>
                  <a:lnTo>
                    <a:pt x="37" y="661"/>
                  </a:lnTo>
                  <a:lnTo>
                    <a:pt x="46" y="669"/>
                  </a:lnTo>
                  <a:lnTo>
                    <a:pt x="52" y="669"/>
                  </a:lnTo>
                  <a:lnTo>
                    <a:pt x="62" y="667"/>
                  </a:lnTo>
                  <a:lnTo>
                    <a:pt x="67" y="668"/>
                  </a:lnTo>
                  <a:lnTo>
                    <a:pt x="72" y="672"/>
                  </a:lnTo>
                  <a:lnTo>
                    <a:pt x="72" y="677"/>
                  </a:lnTo>
                  <a:lnTo>
                    <a:pt x="75" y="679"/>
                  </a:lnTo>
                  <a:lnTo>
                    <a:pt x="79" y="680"/>
                  </a:lnTo>
                  <a:lnTo>
                    <a:pt x="80" y="682"/>
                  </a:lnTo>
                  <a:lnTo>
                    <a:pt x="76" y="684"/>
                  </a:lnTo>
                  <a:lnTo>
                    <a:pt x="72" y="684"/>
                  </a:lnTo>
                  <a:lnTo>
                    <a:pt x="58" y="680"/>
                  </a:lnTo>
                  <a:lnTo>
                    <a:pt x="48" y="680"/>
                  </a:lnTo>
                  <a:lnTo>
                    <a:pt x="45" y="683"/>
                  </a:lnTo>
                  <a:lnTo>
                    <a:pt x="43" y="687"/>
                  </a:lnTo>
                  <a:lnTo>
                    <a:pt x="36" y="691"/>
                  </a:lnTo>
                  <a:lnTo>
                    <a:pt x="32" y="689"/>
                  </a:lnTo>
                  <a:lnTo>
                    <a:pt x="29" y="690"/>
                  </a:lnTo>
                  <a:lnTo>
                    <a:pt x="27" y="695"/>
                  </a:lnTo>
                  <a:lnTo>
                    <a:pt x="23" y="697"/>
                  </a:lnTo>
                  <a:lnTo>
                    <a:pt x="20" y="694"/>
                  </a:lnTo>
                  <a:lnTo>
                    <a:pt x="16" y="692"/>
                  </a:lnTo>
                  <a:lnTo>
                    <a:pt x="15" y="696"/>
                  </a:lnTo>
                  <a:lnTo>
                    <a:pt x="16" y="705"/>
                  </a:lnTo>
                  <a:lnTo>
                    <a:pt x="20" y="705"/>
                  </a:lnTo>
                  <a:lnTo>
                    <a:pt x="22" y="709"/>
                  </a:lnTo>
                  <a:lnTo>
                    <a:pt x="24" y="713"/>
                  </a:lnTo>
                  <a:lnTo>
                    <a:pt x="22" y="717"/>
                  </a:lnTo>
                  <a:lnTo>
                    <a:pt x="16" y="723"/>
                  </a:lnTo>
                  <a:lnTo>
                    <a:pt x="12" y="730"/>
                  </a:lnTo>
                  <a:lnTo>
                    <a:pt x="8" y="738"/>
                  </a:lnTo>
                  <a:lnTo>
                    <a:pt x="10" y="745"/>
                  </a:lnTo>
                  <a:lnTo>
                    <a:pt x="8" y="754"/>
                  </a:lnTo>
                  <a:lnTo>
                    <a:pt x="9" y="758"/>
                  </a:lnTo>
                  <a:lnTo>
                    <a:pt x="11" y="760"/>
                  </a:lnTo>
                  <a:lnTo>
                    <a:pt x="11" y="763"/>
                  </a:lnTo>
                  <a:lnTo>
                    <a:pt x="9" y="767"/>
                  </a:lnTo>
                  <a:lnTo>
                    <a:pt x="5" y="772"/>
                  </a:lnTo>
                  <a:lnTo>
                    <a:pt x="2" y="774"/>
                  </a:lnTo>
                  <a:lnTo>
                    <a:pt x="1" y="777"/>
                  </a:lnTo>
                  <a:lnTo>
                    <a:pt x="3" y="782"/>
                  </a:lnTo>
                  <a:lnTo>
                    <a:pt x="7" y="782"/>
                  </a:lnTo>
                  <a:lnTo>
                    <a:pt x="15" y="781"/>
                  </a:lnTo>
                  <a:lnTo>
                    <a:pt x="20" y="790"/>
                  </a:lnTo>
                  <a:lnTo>
                    <a:pt x="20" y="798"/>
                  </a:lnTo>
                  <a:lnTo>
                    <a:pt x="14" y="798"/>
                  </a:lnTo>
                  <a:lnTo>
                    <a:pt x="10" y="793"/>
                  </a:lnTo>
                  <a:lnTo>
                    <a:pt x="5" y="789"/>
                  </a:lnTo>
                  <a:lnTo>
                    <a:pt x="6" y="797"/>
                  </a:lnTo>
                  <a:lnTo>
                    <a:pt x="3" y="800"/>
                  </a:lnTo>
                  <a:lnTo>
                    <a:pt x="0" y="808"/>
                  </a:lnTo>
                  <a:lnTo>
                    <a:pt x="1" y="812"/>
                  </a:lnTo>
                  <a:lnTo>
                    <a:pt x="4" y="815"/>
                  </a:lnTo>
                  <a:lnTo>
                    <a:pt x="6" y="819"/>
                  </a:lnTo>
                  <a:lnTo>
                    <a:pt x="9" y="822"/>
                  </a:lnTo>
                  <a:lnTo>
                    <a:pt x="11" y="825"/>
                  </a:lnTo>
                  <a:lnTo>
                    <a:pt x="12" y="829"/>
                  </a:lnTo>
                  <a:lnTo>
                    <a:pt x="9" y="842"/>
                  </a:lnTo>
                  <a:lnTo>
                    <a:pt x="8" y="846"/>
                  </a:lnTo>
                  <a:lnTo>
                    <a:pt x="12" y="847"/>
                  </a:lnTo>
                  <a:lnTo>
                    <a:pt x="15" y="850"/>
                  </a:lnTo>
                  <a:lnTo>
                    <a:pt x="15" y="853"/>
                  </a:lnTo>
                  <a:lnTo>
                    <a:pt x="22" y="865"/>
                  </a:lnTo>
                  <a:lnTo>
                    <a:pt x="23" y="869"/>
                  </a:lnTo>
                  <a:lnTo>
                    <a:pt x="25" y="873"/>
                  </a:lnTo>
                  <a:lnTo>
                    <a:pt x="25" y="881"/>
                  </a:lnTo>
                  <a:lnTo>
                    <a:pt x="25" y="886"/>
                  </a:lnTo>
                  <a:lnTo>
                    <a:pt x="26" y="890"/>
                  </a:lnTo>
                  <a:lnTo>
                    <a:pt x="34" y="888"/>
                  </a:lnTo>
                  <a:lnTo>
                    <a:pt x="38" y="890"/>
                  </a:lnTo>
                  <a:lnTo>
                    <a:pt x="40" y="893"/>
                  </a:lnTo>
                  <a:lnTo>
                    <a:pt x="49" y="892"/>
                  </a:lnTo>
                  <a:lnTo>
                    <a:pt x="53" y="893"/>
                  </a:lnTo>
                  <a:lnTo>
                    <a:pt x="59" y="898"/>
                  </a:lnTo>
                  <a:lnTo>
                    <a:pt x="59" y="908"/>
                  </a:lnTo>
                  <a:lnTo>
                    <a:pt x="66" y="904"/>
                  </a:lnTo>
                  <a:lnTo>
                    <a:pt x="70" y="903"/>
                  </a:lnTo>
                  <a:lnTo>
                    <a:pt x="73" y="901"/>
                  </a:lnTo>
                  <a:lnTo>
                    <a:pt x="81" y="900"/>
                  </a:lnTo>
                  <a:lnTo>
                    <a:pt x="86" y="901"/>
                  </a:lnTo>
                  <a:lnTo>
                    <a:pt x="89" y="903"/>
                  </a:lnTo>
                  <a:lnTo>
                    <a:pt x="92" y="906"/>
                  </a:lnTo>
                  <a:lnTo>
                    <a:pt x="97" y="913"/>
                  </a:lnTo>
                  <a:lnTo>
                    <a:pt x="101" y="914"/>
                  </a:lnTo>
                  <a:lnTo>
                    <a:pt x="102" y="919"/>
                  </a:lnTo>
                  <a:lnTo>
                    <a:pt x="100" y="924"/>
                  </a:lnTo>
                  <a:lnTo>
                    <a:pt x="101" y="928"/>
                  </a:lnTo>
                  <a:lnTo>
                    <a:pt x="103" y="931"/>
                  </a:lnTo>
                  <a:lnTo>
                    <a:pt x="105" y="935"/>
                  </a:lnTo>
                  <a:lnTo>
                    <a:pt x="104" y="939"/>
                  </a:lnTo>
                  <a:lnTo>
                    <a:pt x="103" y="944"/>
                  </a:lnTo>
                  <a:lnTo>
                    <a:pt x="99" y="946"/>
                  </a:lnTo>
                  <a:lnTo>
                    <a:pt x="99" y="950"/>
                  </a:lnTo>
                  <a:lnTo>
                    <a:pt x="100" y="954"/>
                  </a:lnTo>
                  <a:lnTo>
                    <a:pt x="106" y="960"/>
                  </a:lnTo>
                  <a:lnTo>
                    <a:pt x="108" y="968"/>
                  </a:lnTo>
                  <a:lnTo>
                    <a:pt x="114" y="980"/>
                  </a:lnTo>
                  <a:lnTo>
                    <a:pt x="116" y="983"/>
                  </a:lnTo>
                  <a:lnTo>
                    <a:pt x="124" y="988"/>
                  </a:lnTo>
                  <a:lnTo>
                    <a:pt x="126" y="991"/>
                  </a:lnTo>
                  <a:lnTo>
                    <a:pt x="127" y="995"/>
                  </a:lnTo>
                  <a:lnTo>
                    <a:pt x="127" y="999"/>
                  </a:lnTo>
                  <a:lnTo>
                    <a:pt x="128" y="1003"/>
                  </a:lnTo>
                  <a:lnTo>
                    <a:pt x="141" y="1001"/>
                  </a:lnTo>
                  <a:lnTo>
                    <a:pt x="144" y="1004"/>
                  </a:lnTo>
                  <a:lnTo>
                    <a:pt x="148" y="1005"/>
                  </a:lnTo>
                  <a:lnTo>
                    <a:pt x="147" y="1009"/>
                  </a:lnTo>
                  <a:lnTo>
                    <a:pt x="149" y="1012"/>
                  </a:lnTo>
                  <a:lnTo>
                    <a:pt x="154" y="1013"/>
                  </a:lnTo>
                  <a:lnTo>
                    <a:pt x="155" y="1020"/>
                  </a:lnTo>
                  <a:lnTo>
                    <a:pt x="151" y="1023"/>
                  </a:lnTo>
                  <a:lnTo>
                    <a:pt x="149" y="1026"/>
                  </a:lnTo>
                  <a:lnTo>
                    <a:pt x="143" y="1032"/>
                  </a:lnTo>
                  <a:lnTo>
                    <a:pt x="139" y="1034"/>
                  </a:lnTo>
                  <a:lnTo>
                    <a:pt x="130" y="1033"/>
                  </a:lnTo>
                  <a:lnTo>
                    <a:pt x="124" y="1028"/>
                  </a:lnTo>
                  <a:lnTo>
                    <a:pt x="119" y="1027"/>
                  </a:lnTo>
                  <a:lnTo>
                    <a:pt x="116" y="1029"/>
                  </a:lnTo>
                  <a:lnTo>
                    <a:pt x="115" y="1033"/>
                  </a:lnTo>
                  <a:lnTo>
                    <a:pt x="111" y="1035"/>
                  </a:lnTo>
                  <a:lnTo>
                    <a:pt x="112" y="1039"/>
                  </a:lnTo>
                  <a:lnTo>
                    <a:pt x="118" y="1045"/>
                  </a:lnTo>
                  <a:lnTo>
                    <a:pt x="119" y="1049"/>
                  </a:lnTo>
                  <a:lnTo>
                    <a:pt x="118" y="1053"/>
                  </a:lnTo>
                  <a:lnTo>
                    <a:pt x="120" y="1056"/>
                  </a:lnTo>
                  <a:lnTo>
                    <a:pt x="119" y="1060"/>
                  </a:lnTo>
                  <a:lnTo>
                    <a:pt x="123" y="1062"/>
                  </a:lnTo>
                  <a:lnTo>
                    <a:pt x="125" y="1066"/>
                  </a:lnTo>
                  <a:lnTo>
                    <a:pt x="124" y="1070"/>
                  </a:lnTo>
                  <a:lnTo>
                    <a:pt x="127" y="1082"/>
                  </a:lnTo>
                  <a:lnTo>
                    <a:pt x="130" y="1084"/>
                  </a:lnTo>
                  <a:lnTo>
                    <a:pt x="134" y="1086"/>
                  </a:lnTo>
                  <a:lnTo>
                    <a:pt x="138" y="1084"/>
                  </a:lnTo>
                  <a:lnTo>
                    <a:pt x="140" y="1080"/>
                  </a:lnTo>
                  <a:lnTo>
                    <a:pt x="141" y="1076"/>
                  </a:lnTo>
                  <a:lnTo>
                    <a:pt x="145" y="1074"/>
                  </a:lnTo>
                  <a:lnTo>
                    <a:pt x="154" y="1075"/>
                  </a:lnTo>
                  <a:lnTo>
                    <a:pt x="158" y="1075"/>
                  </a:lnTo>
                  <a:lnTo>
                    <a:pt x="167" y="1073"/>
                  </a:lnTo>
                  <a:lnTo>
                    <a:pt x="175" y="1074"/>
                  </a:lnTo>
                  <a:lnTo>
                    <a:pt x="183" y="1072"/>
                  </a:lnTo>
                  <a:lnTo>
                    <a:pt x="190" y="1078"/>
                  </a:lnTo>
                  <a:lnTo>
                    <a:pt x="192" y="1081"/>
                  </a:lnTo>
                  <a:lnTo>
                    <a:pt x="192" y="1086"/>
                  </a:lnTo>
                  <a:lnTo>
                    <a:pt x="199" y="1091"/>
                  </a:lnTo>
                  <a:lnTo>
                    <a:pt x="201" y="1095"/>
                  </a:lnTo>
                  <a:lnTo>
                    <a:pt x="201" y="1099"/>
                  </a:lnTo>
                  <a:lnTo>
                    <a:pt x="197" y="1102"/>
                  </a:lnTo>
                  <a:lnTo>
                    <a:pt x="193" y="1102"/>
                  </a:lnTo>
                  <a:lnTo>
                    <a:pt x="194" y="1106"/>
                  </a:lnTo>
                  <a:lnTo>
                    <a:pt x="195" y="1110"/>
                  </a:lnTo>
                  <a:lnTo>
                    <a:pt x="197" y="1118"/>
                  </a:lnTo>
                  <a:lnTo>
                    <a:pt x="200" y="1121"/>
                  </a:lnTo>
                  <a:lnTo>
                    <a:pt x="205" y="1122"/>
                  </a:lnTo>
                  <a:lnTo>
                    <a:pt x="213" y="1125"/>
                  </a:lnTo>
                  <a:lnTo>
                    <a:pt x="217" y="1123"/>
                  </a:lnTo>
                  <a:lnTo>
                    <a:pt x="221" y="1123"/>
                  </a:lnTo>
                  <a:lnTo>
                    <a:pt x="223" y="1127"/>
                  </a:lnTo>
                  <a:lnTo>
                    <a:pt x="228" y="1134"/>
                  </a:lnTo>
                  <a:lnTo>
                    <a:pt x="232" y="1148"/>
                  </a:lnTo>
                  <a:lnTo>
                    <a:pt x="231" y="1152"/>
                  </a:lnTo>
                  <a:lnTo>
                    <a:pt x="232" y="1156"/>
                  </a:lnTo>
                  <a:lnTo>
                    <a:pt x="236" y="1159"/>
                  </a:lnTo>
                  <a:lnTo>
                    <a:pt x="239" y="1161"/>
                  </a:lnTo>
                  <a:lnTo>
                    <a:pt x="243" y="1159"/>
                  </a:lnTo>
                  <a:lnTo>
                    <a:pt x="247" y="1158"/>
                  </a:lnTo>
                  <a:lnTo>
                    <a:pt x="251" y="1159"/>
                  </a:lnTo>
                  <a:lnTo>
                    <a:pt x="257" y="1165"/>
                  </a:lnTo>
                  <a:lnTo>
                    <a:pt x="262" y="1163"/>
                  </a:lnTo>
                  <a:lnTo>
                    <a:pt x="266" y="1165"/>
                  </a:lnTo>
                  <a:lnTo>
                    <a:pt x="278" y="1162"/>
                  </a:lnTo>
                  <a:lnTo>
                    <a:pt x="286" y="1158"/>
                  </a:lnTo>
                  <a:lnTo>
                    <a:pt x="290" y="1159"/>
                  </a:lnTo>
                  <a:lnTo>
                    <a:pt x="293" y="1163"/>
                  </a:lnTo>
                  <a:lnTo>
                    <a:pt x="299" y="1174"/>
                  </a:lnTo>
                  <a:lnTo>
                    <a:pt x="304" y="1180"/>
                  </a:lnTo>
                  <a:lnTo>
                    <a:pt x="309" y="1180"/>
                  </a:lnTo>
                  <a:lnTo>
                    <a:pt x="310" y="1176"/>
                  </a:lnTo>
                  <a:lnTo>
                    <a:pt x="314" y="1176"/>
                  </a:lnTo>
                  <a:lnTo>
                    <a:pt x="317" y="1180"/>
                  </a:lnTo>
                  <a:lnTo>
                    <a:pt x="321" y="1180"/>
                  </a:lnTo>
                  <a:lnTo>
                    <a:pt x="325" y="1182"/>
                  </a:lnTo>
                  <a:lnTo>
                    <a:pt x="328" y="1185"/>
                  </a:lnTo>
                  <a:lnTo>
                    <a:pt x="337" y="1185"/>
                  </a:lnTo>
                  <a:lnTo>
                    <a:pt x="344" y="1189"/>
                  </a:lnTo>
                  <a:lnTo>
                    <a:pt x="348" y="1189"/>
                  </a:lnTo>
                  <a:lnTo>
                    <a:pt x="354" y="1195"/>
                  </a:lnTo>
                  <a:lnTo>
                    <a:pt x="359" y="1196"/>
                  </a:lnTo>
                  <a:lnTo>
                    <a:pt x="363" y="1196"/>
                  </a:lnTo>
                  <a:lnTo>
                    <a:pt x="366" y="1198"/>
                  </a:lnTo>
                  <a:lnTo>
                    <a:pt x="363" y="1200"/>
                  </a:lnTo>
                  <a:lnTo>
                    <a:pt x="367" y="1212"/>
                  </a:lnTo>
                  <a:lnTo>
                    <a:pt x="362" y="1220"/>
                  </a:lnTo>
                  <a:lnTo>
                    <a:pt x="354" y="1222"/>
                  </a:lnTo>
                  <a:lnTo>
                    <a:pt x="357" y="1225"/>
                  </a:lnTo>
                  <a:lnTo>
                    <a:pt x="361" y="1226"/>
                  </a:lnTo>
                  <a:lnTo>
                    <a:pt x="363" y="1230"/>
                  </a:lnTo>
                  <a:lnTo>
                    <a:pt x="355" y="1232"/>
                  </a:lnTo>
                  <a:lnTo>
                    <a:pt x="353" y="1236"/>
                  </a:lnTo>
                  <a:lnTo>
                    <a:pt x="353" y="1240"/>
                  </a:lnTo>
                  <a:lnTo>
                    <a:pt x="355" y="1243"/>
                  </a:lnTo>
                  <a:lnTo>
                    <a:pt x="357" y="1247"/>
                  </a:lnTo>
                  <a:lnTo>
                    <a:pt x="356" y="1251"/>
                  </a:lnTo>
                  <a:lnTo>
                    <a:pt x="360" y="1254"/>
                  </a:lnTo>
                  <a:lnTo>
                    <a:pt x="358" y="1262"/>
                  </a:lnTo>
                  <a:lnTo>
                    <a:pt x="354" y="1274"/>
                  </a:lnTo>
                  <a:lnTo>
                    <a:pt x="350" y="1276"/>
                  </a:lnTo>
                  <a:lnTo>
                    <a:pt x="342" y="1274"/>
                  </a:lnTo>
                  <a:lnTo>
                    <a:pt x="338" y="1275"/>
                  </a:lnTo>
                  <a:lnTo>
                    <a:pt x="330" y="1270"/>
                  </a:lnTo>
                  <a:lnTo>
                    <a:pt x="327" y="1273"/>
                  </a:lnTo>
                  <a:lnTo>
                    <a:pt x="322" y="1280"/>
                  </a:lnTo>
                  <a:lnTo>
                    <a:pt x="314" y="1284"/>
                  </a:lnTo>
                  <a:lnTo>
                    <a:pt x="311" y="1291"/>
                  </a:lnTo>
                  <a:lnTo>
                    <a:pt x="311" y="1295"/>
                  </a:lnTo>
                  <a:lnTo>
                    <a:pt x="312" y="1303"/>
                  </a:lnTo>
                  <a:lnTo>
                    <a:pt x="319" y="1301"/>
                  </a:lnTo>
                  <a:lnTo>
                    <a:pt x="323" y="1302"/>
                  </a:lnTo>
                  <a:lnTo>
                    <a:pt x="327" y="1299"/>
                  </a:lnTo>
                  <a:lnTo>
                    <a:pt x="335" y="1297"/>
                  </a:lnTo>
                  <a:lnTo>
                    <a:pt x="338" y="1299"/>
                  </a:lnTo>
                  <a:lnTo>
                    <a:pt x="338" y="1302"/>
                  </a:lnTo>
                  <a:lnTo>
                    <a:pt x="342" y="1303"/>
                  </a:lnTo>
                  <a:lnTo>
                    <a:pt x="344" y="1304"/>
                  </a:lnTo>
                  <a:lnTo>
                    <a:pt x="343" y="1306"/>
                  </a:lnTo>
                  <a:lnTo>
                    <a:pt x="338" y="1307"/>
                  </a:lnTo>
                  <a:lnTo>
                    <a:pt x="332" y="1309"/>
                  </a:lnTo>
                  <a:lnTo>
                    <a:pt x="323" y="1314"/>
                  </a:lnTo>
                  <a:lnTo>
                    <a:pt x="317" y="1316"/>
                  </a:lnTo>
                  <a:lnTo>
                    <a:pt x="317" y="1319"/>
                  </a:lnTo>
                  <a:lnTo>
                    <a:pt x="320" y="1322"/>
                  </a:lnTo>
                  <a:lnTo>
                    <a:pt x="317" y="1323"/>
                  </a:lnTo>
                  <a:lnTo>
                    <a:pt x="312" y="1321"/>
                  </a:lnTo>
                  <a:lnTo>
                    <a:pt x="299" y="1323"/>
                  </a:lnTo>
                  <a:lnTo>
                    <a:pt x="297" y="1328"/>
                  </a:lnTo>
                  <a:lnTo>
                    <a:pt x="302" y="1333"/>
                  </a:lnTo>
                  <a:lnTo>
                    <a:pt x="309" y="1335"/>
                  </a:lnTo>
                  <a:lnTo>
                    <a:pt x="313" y="1342"/>
                  </a:lnTo>
                  <a:lnTo>
                    <a:pt x="319" y="1347"/>
                  </a:lnTo>
                  <a:lnTo>
                    <a:pt x="317" y="1348"/>
                  </a:lnTo>
                  <a:lnTo>
                    <a:pt x="310" y="1346"/>
                  </a:lnTo>
                  <a:lnTo>
                    <a:pt x="307" y="1351"/>
                  </a:lnTo>
                  <a:lnTo>
                    <a:pt x="304" y="1351"/>
                  </a:lnTo>
                  <a:lnTo>
                    <a:pt x="297" y="1360"/>
                  </a:lnTo>
                  <a:lnTo>
                    <a:pt x="293" y="1367"/>
                  </a:lnTo>
                  <a:lnTo>
                    <a:pt x="287" y="1376"/>
                  </a:lnTo>
                  <a:lnTo>
                    <a:pt x="281" y="1377"/>
                  </a:lnTo>
                  <a:lnTo>
                    <a:pt x="272" y="1376"/>
                  </a:lnTo>
                  <a:lnTo>
                    <a:pt x="271" y="1378"/>
                  </a:lnTo>
                  <a:lnTo>
                    <a:pt x="271" y="1381"/>
                  </a:lnTo>
                  <a:lnTo>
                    <a:pt x="266" y="1383"/>
                  </a:lnTo>
                  <a:lnTo>
                    <a:pt x="272" y="1386"/>
                  </a:lnTo>
                  <a:lnTo>
                    <a:pt x="278" y="1392"/>
                  </a:lnTo>
                  <a:lnTo>
                    <a:pt x="281" y="1399"/>
                  </a:lnTo>
                  <a:lnTo>
                    <a:pt x="286" y="1405"/>
                  </a:lnTo>
                  <a:lnTo>
                    <a:pt x="292" y="1405"/>
                  </a:lnTo>
                  <a:lnTo>
                    <a:pt x="294" y="1403"/>
                  </a:lnTo>
                  <a:lnTo>
                    <a:pt x="297" y="1407"/>
                  </a:lnTo>
                  <a:lnTo>
                    <a:pt x="305" y="1413"/>
                  </a:lnTo>
                  <a:lnTo>
                    <a:pt x="327" y="1423"/>
                  </a:lnTo>
                  <a:lnTo>
                    <a:pt x="340" y="1434"/>
                  </a:lnTo>
                  <a:lnTo>
                    <a:pt x="344" y="1440"/>
                  </a:lnTo>
                  <a:lnTo>
                    <a:pt x="348" y="1444"/>
                  </a:lnTo>
                  <a:lnTo>
                    <a:pt x="352" y="1446"/>
                  </a:lnTo>
                  <a:lnTo>
                    <a:pt x="358" y="1452"/>
                  </a:lnTo>
                  <a:lnTo>
                    <a:pt x="366" y="1449"/>
                  </a:lnTo>
                  <a:lnTo>
                    <a:pt x="371" y="1448"/>
                  </a:lnTo>
                  <a:lnTo>
                    <a:pt x="375" y="1450"/>
                  </a:lnTo>
                  <a:lnTo>
                    <a:pt x="379" y="1449"/>
                  </a:lnTo>
                  <a:lnTo>
                    <a:pt x="387" y="1452"/>
                  </a:lnTo>
                  <a:lnTo>
                    <a:pt x="390" y="1455"/>
                  </a:lnTo>
                  <a:lnTo>
                    <a:pt x="399" y="1457"/>
                  </a:lnTo>
                  <a:lnTo>
                    <a:pt x="410" y="1462"/>
                  </a:lnTo>
                  <a:lnTo>
                    <a:pt x="415" y="1462"/>
                  </a:lnTo>
                  <a:lnTo>
                    <a:pt x="428" y="1461"/>
                  </a:lnTo>
                  <a:lnTo>
                    <a:pt x="436" y="1463"/>
                  </a:lnTo>
                  <a:lnTo>
                    <a:pt x="444" y="1463"/>
                  </a:lnTo>
                  <a:lnTo>
                    <a:pt x="448" y="1466"/>
                  </a:lnTo>
                  <a:lnTo>
                    <a:pt x="450" y="1468"/>
                  </a:lnTo>
                  <a:lnTo>
                    <a:pt x="470" y="1480"/>
                  </a:lnTo>
                  <a:lnTo>
                    <a:pt x="472" y="1484"/>
                  </a:lnTo>
                  <a:lnTo>
                    <a:pt x="475" y="1486"/>
                  </a:lnTo>
                  <a:lnTo>
                    <a:pt x="480" y="1485"/>
                  </a:lnTo>
                  <a:lnTo>
                    <a:pt x="483" y="1483"/>
                  </a:lnTo>
                  <a:lnTo>
                    <a:pt x="491" y="1480"/>
                  </a:lnTo>
                  <a:lnTo>
                    <a:pt x="495" y="1479"/>
                  </a:lnTo>
                  <a:lnTo>
                    <a:pt x="498" y="1482"/>
                  </a:lnTo>
                  <a:lnTo>
                    <a:pt x="503" y="1481"/>
                  </a:lnTo>
                  <a:lnTo>
                    <a:pt x="511" y="1482"/>
                  </a:lnTo>
                  <a:lnTo>
                    <a:pt x="513" y="1486"/>
                  </a:lnTo>
                  <a:lnTo>
                    <a:pt x="517" y="1488"/>
                  </a:lnTo>
                  <a:lnTo>
                    <a:pt x="521" y="1488"/>
                  </a:lnTo>
                  <a:lnTo>
                    <a:pt x="525" y="1489"/>
                  </a:lnTo>
                  <a:lnTo>
                    <a:pt x="527" y="1493"/>
                  </a:lnTo>
                  <a:lnTo>
                    <a:pt x="525" y="1502"/>
                  </a:lnTo>
                  <a:lnTo>
                    <a:pt x="531" y="1506"/>
                  </a:lnTo>
                  <a:lnTo>
                    <a:pt x="539" y="1509"/>
                  </a:lnTo>
                  <a:lnTo>
                    <a:pt x="543" y="1512"/>
                  </a:lnTo>
                  <a:lnTo>
                    <a:pt x="545" y="1514"/>
                  </a:lnTo>
                  <a:lnTo>
                    <a:pt x="550" y="1516"/>
                  </a:lnTo>
                  <a:lnTo>
                    <a:pt x="554" y="1516"/>
                  </a:lnTo>
                  <a:lnTo>
                    <a:pt x="560" y="1522"/>
                  </a:lnTo>
                  <a:lnTo>
                    <a:pt x="562" y="1526"/>
                  </a:lnTo>
                  <a:lnTo>
                    <a:pt x="566" y="1526"/>
                  </a:lnTo>
                  <a:lnTo>
                    <a:pt x="568" y="1534"/>
                  </a:lnTo>
                  <a:lnTo>
                    <a:pt x="570" y="1538"/>
                  </a:lnTo>
                  <a:lnTo>
                    <a:pt x="575" y="1538"/>
                  </a:lnTo>
                  <a:lnTo>
                    <a:pt x="583" y="1539"/>
                  </a:lnTo>
                  <a:lnTo>
                    <a:pt x="587" y="1539"/>
                  </a:lnTo>
                  <a:lnTo>
                    <a:pt x="590" y="1536"/>
                  </a:lnTo>
                  <a:lnTo>
                    <a:pt x="593" y="1528"/>
                  </a:lnTo>
                  <a:lnTo>
                    <a:pt x="597" y="1525"/>
                  </a:lnTo>
                  <a:lnTo>
                    <a:pt x="601" y="1524"/>
                  </a:lnTo>
                  <a:lnTo>
                    <a:pt x="603" y="1520"/>
                  </a:lnTo>
                  <a:lnTo>
                    <a:pt x="605" y="1515"/>
                  </a:lnTo>
                  <a:lnTo>
                    <a:pt x="600" y="1512"/>
                  </a:lnTo>
                  <a:lnTo>
                    <a:pt x="594" y="1498"/>
                  </a:lnTo>
                  <a:lnTo>
                    <a:pt x="584" y="1481"/>
                  </a:lnTo>
                  <a:lnTo>
                    <a:pt x="579" y="1475"/>
                  </a:lnTo>
                  <a:lnTo>
                    <a:pt x="578" y="1468"/>
                  </a:lnTo>
                  <a:lnTo>
                    <a:pt x="578" y="1456"/>
                  </a:lnTo>
                  <a:lnTo>
                    <a:pt x="582" y="1442"/>
                  </a:lnTo>
                  <a:lnTo>
                    <a:pt x="580" y="1435"/>
                  </a:lnTo>
                  <a:lnTo>
                    <a:pt x="575" y="1447"/>
                  </a:lnTo>
                  <a:lnTo>
                    <a:pt x="574" y="1443"/>
                  </a:lnTo>
                  <a:lnTo>
                    <a:pt x="572" y="1434"/>
                  </a:lnTo>
                  <a:lnTo>
                    <a:pt x="567" y="1425"/>
                  </a:lnTo>
                  <a:lnTo>
                    <a:pt x="561" y="1416"/>
                  </a:lnTo>
                  <a:lnTo>
                    <a:pt x="555" y="1417"/>
                  </a:lnTo>
                  <a:lnTo>
                    <a:pt x="553" y="1409"/>
                  </a:lnTo>
                  <a:lnTo>
                    <a:pt x="558" y="1402"/>
                  </a:lnTo>
                  <a:lnTo>
                    <a:pt x="558" y="1396"/>
                  </a:lnTo>
                  <a:lnTo>
                    <a:pt x="562" y="1390"/>
                  </a:lnTo>
                  <a:lnTo>
                    <a:pt x="564" y="1390"/>
                  </a:lnTo>
                  <a:lnTo>
                    <a:pt x="565" y="1389"/>
                  </a:lnTo>
                  <a:lnTo>
                    <a:pt x="566" y="1384"/>
                  </a:lnTo>
                  <a:lnTo>
                    <a:pt x="571" y="1380"/>
                  </a:lnTo>
                  <a:lnTo>
                    <a:pt x="574" y="1361"/>
                  </a:lnTo>
                  <a:lnTo>
                    <a:pt x="578" y="1362"/>
                  </a:lnTo>
                  <a:lnTo>
                    <a:pt x="580" y="1352"/>
                  </a:lnTo>
                  <a:lnTo>
                    <a:pt x="581" y="1346"/>
                  </a:lnTo>
                  <a:lnTo>
                    <a:pt x="576" y="1337"/>
                  </a:lnTo>
                  <a:lnTo>
                    <a:pt x="582" y="1339"/>
                  </a:lnTo>
                  <a:lnTo>
                    <a:pt x="588" y="1340"/>
                  </a:lnTo>
                  <a:lnTo>
                    <a:pt x="587" y="1343"/>
                  </a:lnTo>
                  <a:lnTo>
                    <a:pt x="590" y="1349"/>
                  </a:lnTo>
                  <a:lnTo>
                    <a:pt x="593" y="1357"/>
                  </a:lnTo>
                  <a:lnTo>
                    <a:pt x="597" y="1357"/>
                  </a:lnTo>
                  <a:lnTo>
                    <a:pt x="600" y="1355"/>
                  </a:lnTo>
                  <a:lnTo>
                    <a:pt x="602" y="1355"/>
                  </a:lnTo>
                  <a:lnTo>
                    <a:pt x="609" y="1340"/>
                  </a:lnTo>
                  <a:lnTo>
                    <a:pt x="612" y="1339"/>
                  </a:lnTo>
                  <a:lnTo>
                    <a:pt x="608" y="1337"/>
                  </a:lnTo>
                  <a:lnTo>
                    <a:pt x="606" y="1334"/>
                  </a:lnTo>
                  <a:lnTo>
                    <a:pt x="603" y="1333"/>
                  </a:lnTo>
                  <a:lnTo>
                    <a:pt x="598" y="1333"/>
                  </a:lnTo>
                  <a:lnTo>
                    <a:pt x="595" y="1331"/>
                  </a:lnTo>
                  <a:lnTo>
                    <a:pt x="593" y="1328"/>
                  </a:lnTo>
                  <a:lnTo>
                    <a:pt x="596" y="1324"/>
                  </a:lnTo>
                  <a:lnTo>
                    <a:pt x="597" y="1320"/>
                  </a:lnTo>
                  <a:lnTo>
                    <a:pt x="601" y="1319"/>
                  </a:lnTo>
                  <a:lnTo>
                    <a:pt x="605" y="1322"/>
                  </a:lnTo>
                  <a:lnTo>
                    <a:pt x="612" y="1320"/>
                  </a:lnTo>
                  <a:lnTo>
                    <a:pt x="607" y="1291"/>
                  </a:lnTo>
                  <a:lnTo>
                    <a:pt x="603" y="1289"/>
                  </a:lnTo>
                  <a:lnTo>
                    <a:pt x="601" y="1286"/>
                  </a:lnTo>
                  <a:lnTo>
                    <a:pt x="600" y="1282"/>
                  </a:lnTo>
                  <a:lnTo>
                    <a:pt x="598" y="1278"/>
                  </a:lnTo>
                  <a:lnTo>
                    <a:pt x="595" y="1275"/>
                  </a:lnTo>
                  <a:lnTo>
                    <a:pt x="590" y="1275"/>
                  </a:lnTo>
                  <a:lnTo>
                    <a:pt x="582" y="1276"/>
                  </a:lnTo>
                  <a:lnTo>
                    <a:pt x="575" y="1274"/>
                  </a:lnTo>
                  <a:lnTo>
                    <a:pt x="574" y="1279"/>
                  </a:lnTo>
                  <a:lnTo>
                    <a:pt x="568" y="1273"/>
                  </a:lnTo>
                  <a:lnTo>
                    <a:pt x="567" y="1269"/>
                  </a:lnTo>
                  <a:lnTo>
                    <a:pt x="565" y="1265"/>
                  </a:lnTo>
                  <a:lnTo>
                    <a:pt x="567" y="1261"/>
                  </a:lnTo>
                  <a:lnTo>
                    <a:pt x="565" y="1258"/>
                  </a:lnTo>
                  <a:lnTo>
                    <a:pt x="565" y="1254"/>
                  </a:lnTo>
                  <a:lnTo>
                    <a:pt x="549" y="1249"/>
                  </a:lnTo>
                  <a:lnTo>
                    <a:pt x="555" y="1226"/>
                  </a:lnTo>
                  <a:lnTo>
                    <a:pt x="563" y="1222"/>
                  </a:lnTo>
                  <a:lnTo>
                    <a:pt x="565" y="1218"/>
                  </a:lnTo>
                  <a:lnTo>
                    <a:pt x="563" y="1214"/>
                  </a:lnTo>
                  <a:lnTo>
                    <a:pt x="557" y="1208"/>
                  </a:lnTo>
                  <a:lnTo>
                    <a:pt x="563" y="1185"/>
                  </a:lnTo>
                  <a:lnTo>
                    <a:pt x="570" y="1180"/>
                  </a:lnTo>
                  <a:lnTo>
                    <a:pt x="572" y="1177"/>
                  </a:lnTo>
                  <a:lnTo>
                    <a:pt x="572" y="1172"/>
                  </a:lnTo>
                  <a:lnTo>
                    <a:pt x="573" y="1169"/>
                  </a:lnTo>
                  <a:lnTo>
                    <a:pt x="573" y="1164"/>
                  </a:lnTo>
                  <a:lnTo>
                    <a:pt x="575" y="1160"/>
                  </a:lnTo>
                  <a:lnTo>
                    <a:pt x="578" y="1157"/>
                  </a:lnTo>
                  <a:lnTo>
                    <a:pt x="581" y="1159"/>
                  </a:lnTo>
                  <a:lnTo>
                    <a:pt x="583" y="1164"/>
                  </a:lnTo>
                  <a:lnTo>
                    <a:pt x="589" y="1169"/>
                  </a:lnTo>
                  <a:lnTo>
                    <a:pt x="599" y="1188"/>
                  </a:lnTo>
                  <a:lnTo>
                    <a:pt x="603" y="1189"/>
                  </a:lnTo>
                  <a:lnTo>
                    <a:pt x="616" y="1180"/>
                  </a:lnTo>
                  <a:lnTo>
                    <a:pt x="615" y="1176"/>
                  </a:lnTo>
                  <a:lnTo>
                    <a:pt x="613" y="1172"/>
                  </a:lnTo>
                  <a:lnTo>
                    <a:pt x="611" y="1159"/>
                  </a:lnTo>
                  <a:lnTo>
                    <a:pt x="607" y="1152"/>
                  </a:lnTo>
                  <a:lnTo>
                    <a:pt x="612" y="1152"/>
                  </a:lnTo>
                  <a:lnTo>
                    <a:pt x="615" y="1151"/>
                  </a:lnTo>
                  <a:lnTo>
                    <a:pt x="626" y="1143"/>
                  </a:lnTo>
                  <a:lnTo>
                    <a:pt x="630" y="1141"/>
                  </a:lnTo>
                  <a:lnTo>
                    <a:pt x="632" y="1138"/>
                  </a:lnTo>
                  <a:lnTo>
                    <a:pt x="633" y="1134"/>
                  </a:lnTo>
                  <a:lnTo>
                    <a:pt x="632" y="1130"/>
                  </a:lnTo>
                  <a:lnTo>
                    <a:pt x="636" y="1129"/>
                  </a:lnTo>
                  <a:lnTo>
                    <a:pt x="641" y="1129"/>
                  </a:lnTo>
                  <a:lnTo>
                    <a:pt x="644" y="1128"/>
                  </a:lnTo>
                  <a:lnTo>
                    <a:pt x="647" y="1124"/>
                  </a:lnTo>
                  <a:lnTo>
                    <a:pt x="651" y="1122"/>
                  </a:lnTo>
                  <a:lnTo>
                    <a:pt x="655" y="1121"/>
                  </a:lnTo>
                  <a:lnTo>
                    <a:pt x="658" y="1118"/>
                  </a:lnTo>
                  <a:lnTo>
                    <a:pt x="661" y="1115"/>
                  </a:lnTo>
                  <a:lnTo>
                    <a:pt x="664" y="1112"/>
                  </a:lnTo>
                  <a:lnTo>
                    <a:pt x="665" y="1108"/>
                  </a:lnTo>
                  <a:lnTo>
                    <a:pt x="668" y="1105"/>
                  </a:lnTo>
                  <a:lnTo>
                    <a:pt x="676" y="1103"/>
                  </a:lnTo>
                  <a:lnTo>
                    <a:pt x="685" y="1103"/>
                  </a:lnTo>
                  <a:lnTo>
                    <a:pt x="686" y="1107"/>
                  </a:lnTo>
                  <a:lnTo>
                    <a:pt x="687" y="1111"/>
                  </a:lnTo>
                  <a:lnTo>
                    <a:pt x="696" y="1109"/>
                  </a:lnTo>
                  <a:lnTo>
                    <a:pt x="698" y="1112"/>
                  </a:lnTo>
                  <a:lnTo>
                    <a:pt x="700" y="1109"/>
                  </a:lnTo>
                  <a:lnTo>
                    <a:pt x="702" y="1105"/>
                  </a:lnTo>
                  <a:lnTo>
                    <a:pt x="704" y="1101"/>
                  </a:lnTo>
                  <a:lnTo>
                    <a:pt x="709" y="1102"/>
                  </a:lnTo>
                  <a:lnTo>
                    <a:pt x="713" y="1100"/>
                  </a:lnTo>
                  <a:lnTo>
                    <a:pt x="717" y="1100"/>
                  </a:lnTo>
                  <a:lnTo>
                    <a:pt x="720" y="1108"/>
                  </a:lnTo>
                  <a:lnTo>
                    <a:pt x="722" y="1111"/>
                  </a:lnTo>
                  <a:lnTo>
                    <a:pt x="726" y="1110"/>
                  </a:lnTo>
                  <a:lnTo>
                    <a:pt x="730" y="1109"/>
                  </a:lnTo>
                  <a:lnTo>
                    <a:pt x="734" y="1111"/>
                  </a:lnTo>
                  <a:lnTo>
                    <a:pt x="743" y="1109"/>
                  </a:lnTo>
                  <a:lnTo>
                    <a:pt x="747" y="1109"/>
                  </a:lnTo>
                  <a:lnTo>
                    <a:pt x="751" y="1112"/>
                  </a:lnTo>
                  <a:lnTo>
                    <a:pt x="753" y="1115"/>
                  </a:lnTo>
                  <a:lnTo>
                    <a:pt x="757" y="1122"/>
                  </a:lnTo>
                  <a:lnTo>
                    <a:pt x="768" y="1129"/>
                  </a:lnTo>
                  <a:lnTo>
                    <a:pt x="770" y="1132"/>
                  </a:lnTo>
                  <a:lnTo>
                    <a:pt x="772" y="1136"/>
                  </a:lnTo>
                  <a:lnTo>
                    <a:pt x="777" y="1143"/>
                  </a:lnTo>
                  <a:lnTo>
                    <a:pt x="777" y="1147"/>
                  </a:lnTo>
                  <a:lnTo>
                    <a:pt x="777" y="1151"/>
                  </a:lnTo>
                  <a:lnTo>
                    <a:pt x="780" y="1155"/>
                  </a:lnTo>
                  <a:lnTo>
                    <a:pt x="784" y="1153"/>
                  </a:lnTo>
                  <a:lnTo>
                    <a:pt x="784" y="1149"/>
                  </a:lnTo>
                  <a:lnTo>
                    <a:pt x="783" y="1145"/>
                  </a:lnTo>
                  <a:lnTo>
                    <a:pt x="784" y="1141"/>
                  </a:lnTo>
                  <a:lnTo>
                    <a:pt x="781" y="1137"/>
                  </a:lnTo>
                  <a:lnTo>
                    <a:pt x="784" y="1134"/>
                  </a:lnTo>
                  <a:lnTo>
                    <a:pt x="788" y="1133"/>
                  </a:lnTo>
                  <a:lnTo>
                    <a:pt x="790" y="1137"/>
                  </a:lnTo>
                  <a:lnTo>
                    <a:pt x="793" y="1140"/>
                  </a:lnTo>
                  <a:lnTo>
                    <a:pt x="794" y="1144"/>
                  </a:lnTo>
                  <a:lnTo>
                    <a:pt x="797" y="1147"/>
                  </a:lnTo>
                  <a:lnTo>
                    <a:pt x="806" y="1150"/>
                  </a:lnTo>
                  <a:lnTo>
                    <a:pt x="813" y="1154"/>
                  </a:lnTo>
                  <a:lnTo>
                    <a:pt x="817" y="1153"/>
                  </a:lnTo>
                  <a:lnTo>
                    <a:pt x="828" y="1145"/>
                  </a:lnTo>
                  <a:lnTo>
                    <a:pt x="827" y="1141"/>
                  </a:lnTo>
                  <a:lnTo>
                    <a:pt x="831" y="1139"/>
                  </a:lnTo>
                  <a:lnTo>
                    <a:pt x="834" y="1137"/>
                  </a:lnTo>
                  <a:lnTo>
                    <a:pt x="838" y="1136"/>
                  </a:lnTo>
                  <a:lnTo>
                    <a:pt x="842" y="1137"/>
                  </a:lnTo>
                  <a:lnTo>
                    <a:pt x="843" y="1133"/>
                  </a:lnTo>
                  <a:lnTo>
                    <a:pt x="847" y="1133"/>
                  </a:lnTo>
                  <a:lnTo>
                    <a:pt x="851" y="1134"/>
                  </a:lnTo>
                  <a:lnTo>
                    <a:pt x="855" y="1131"/>
                  </a:lnTo>
                  <a:lnTo>
                    <a:pt x="858" y="1134"/>
                  </a:lnTo>
                  <a:lnTo>
                    <a:pt x="860" y="1136"/>
                  </a:lnTo>
                  <a:lnTo>
                    <a:pt x="860" y="112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73" name="Group 240"/>
          <p:cNvGrpSpPr>
            <a:grpSpLocks/>
          </p:cNvGrpSpPr>
          <p:nvPr/>
        </p:nvGrpSpPr>
        <p:grpSpPr bwMode="auto">
          <a:xfrm>
            <a:off x="4946650" y="3470275"/>
            <a:ext cx="20638" cy="39688"/>
            <a:chOff x="2358" y="2186"/>
            <a:chExt cx="13" cy="25"/>
          </a:xfrm>
        </p:grpSpPr>
        <p:sp>
          <p:nvSpPr>
            <p:cNvPr id="34318" name="Freeform 238"/>
            <p:cNvSpPr>
              <a:spLocks/>
            </p:cNvSpPr>
            <p:nvPr/>
          </p:nvSpPr>
          <p:spPr bwMode="auto">
            <a:xfrm>
              <a:off x="2358" y="2186"/>
              <a:ext cx="13" cy="25"/>
            </a:xfrm>
            <a:custGeom>
              <a:avLst/>
              <a:gdLst>
                <a:gd name="T0" fmla="*/ 11 w 13"/>
                <a:gd name="T1" fmla="*/ 3 h 25"/>
                <a:gd name="T2" fmla="*/ 7 w 13"/>
                <a:gd name="T3" fmla="*/ 2 h 25"/>
                <a:gd name="T4" fmla="*/ 5 w 13"/>
                <a:gd name="T5" fmla="*/ 0 h 25"/>
                <a:gd name="T6" fmla="*/ 2 w 13"/>
                <a:gd name="T7" fmla="*/ 3 h 25"/>
                <a:gd name="T8" fmla="*/ 4 w 13"/>
                <a:gd name="T9" fmla="*/ 5 h 25"/>
                <a:gd name="T10" fmla="*/ 3 w 13"/>
                <a:gd name="T11" fmla="*/ 9 h 25"/>
                <a:gd name="T12" fmla="*/ 0 w 13"/>
                <a:gd name="T13" fmla="*/ 8 h 25"/>
                <a:gd name="T14" fmla="*/ 0 w 13"/>
                <a:gd name="T15" fmla="*/ 13 h 25"/>
                <a:gd name="T16" fmla="*/ 0 w 13"/>
                <a:gd name="T17" fmla="*/ 18 h 25"/>
                <a:gd name="T18" fmla="*/ 7 w 13"/>
                <a:gd name="T19" fmla="*/ 20 h 25"/>
                <a:gd name="T20" fmla="*/ 11 w 13"/>
                <a:gd name="T21" fmla="*/ 25 h 25"/>
                <a:gd name="T22" fmla="*/ 13 w 13"/>
                <a:gd name="T23" fmla="*/ 21 h 25"/>
                <a:gd name="T24" fmla="*/ 10 w 13"/>
                <a:gd name="T25" fmla="*/ 19 h 25"/>
                <a:gd name="T26" fmla="*/ 8 w 13"/>
                <a:gd name="T27" fmla="*/ 14 h 25"/>
                <a:gd name="T28" fmla="*/ 11 w 13"/>
                <a:gd name="T29" fmla="*/ 13 h 25"/>
                <a:gd name="T30" fmla="*/ 13 w 13"/>
                <a:gd name="T31" fmla="*/ 9 h 25"/>
                <a:gd name="T32" fmla="*/ 13 w 13"/>
                <a:gd name="T33" fmla="*/ 7 h 25"/>
                <a:gd name="T34" fmla="*/ 11 w 13"/>
                <a:gd name="T35" fmla="*/ 3 h 2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"/>
                <a:gd name="T55" fmla="*/ 0 h 25"/>
                <a:gd name="T56" fmla="*/ 13 w 13"/>
                <a:gd name="T57" fmla="*/ 25 h 2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" h="25">
                  <a:moveTo>
                    <a:pt x="11" y="3"/>
                  </a:moveTo>
                  <a:lnTo>
                    <a:pt x="7" y="2"/>
                  </a:lnTo>
                  <a:lnTo>
                    <a:pt x="5" y="0"/>
                  </a:lnTo>
                  <a:lnTo>
                    <a:pt x="2" y="3"/>
                  </a:lnTo>
                  <a:lnTo>
                    <a:pt x="4" y="5"/>
                  </a:lnTo>
                  <a:lnTo>
                    <a:pt x="3" y="9"/>
                  </a:lnTo>
                  <a:lnTo>
                    <a:pt x="0" y="8"/>
                  </a:lnTo>
                  <a:lnTo>
                    <a:pt x="0" y="13"/>
                  </a:lnTo>
                  <a:lnTo>
                    <a:pt x="0" y="18"/>
                  </a:lnTo>
                  <a:lnTo>
                    <a:pt x="7" y="20"/>
                  </a:lnTo>
                  <a:lnTo>
                    <a:pt x="11" y="25"/>
                  </a:lnTo>
                  <a:lnTo>
                    <a:pt x="13" y="21"/>
                  </a:lnTo>
                  <a:lnTo>
                    <a:pt x="10" y="19"/>
                  </a:lnTo>
                  <a:lnTo>
                    <a:pt x="8" y="14"/>
                  </a:lnTo>
                  <a:lnTo>
                    <a:pt x="11" y="13"/>
                  </a:lnTo>
                  <a:lnTo>
                    <a:pt x="13" y="9"/>
                  </a:lnTo>
                  <a:lnTo>
                    <a:pt x="13" y="7"/>
                  </a:lnTo>
                  <a:lnTo>
                    <a:pt x="11" y="3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19" name="Freeform 239"/>
            <p:cNvSpPr>
              <a:spLocks/>
            </p:cNvSpPr>
            <p:nvPr/>
          </p:nvSpPr>
          <p:spPr bwMode="auto">
            <a:xfrm>
              <a:off x="2358" y="2186"/>
              <a:ext cx="13" cy="25"/>
            </a:xfrm>
            <a:custGeom>
              <a:avLst/>
              <a:gdLst>
                <a:gd name="T0" fmla="*/ 11 w 13"/>
                <a:gd name="T1" fmla="*/ 3 h 25"/>
                <a:gd name="T2" fmla="*/ 7 w 13"/>
                <a:gd name="T3" fmla="*/ 2 h 25"/>
                <a:gd name="T4" fmla="*/ 5 w 13"/>
                <a:gd name="T5" fmla="*/ 0 h 25"/>
                <a:gd name="T6" fmla="*/ 2 w 13"/>
                <a:gd name="T7" fmla="*/ 3 h 25"/>
                <a:gd name="T8" fmla="*/ 4 w 13"/>
                <a:gd name="T9" fmla="*/ 5 h 25"/>
                <a:gd name="T10" fmla="*/ 3 w 13"/>
                <a:gd name="T11" fmla="*/ 9 h 25"/>
                <a:gd name="T12" fmla="*/ 0 w 13"/>
                <a:gd name="T13" fmla="*/ 8 h 25"/>
                <a:gd name="T14" fmla="*/ 0 w 13"/>
                <a:gd name="T15" fmla="*/ 13 h 25"/>
                <a:gd name="T16" fmla="*/ 0 w 13"/>
                <a:gd name="T17" fmla="*/ 18 h 25"/>
                <a:gd name="T18" fmla="*/ 7 w 13"/>
                <a:gd name="T19" fmla="*/ 20 h 25"/>
                <a:gd name="T20" fmla="*/ 11 w 13"/>
                <a:gd name="T21" fmla="*/ 25 h 25"/>
                <a:gd name="T22" fmla="*/ 13 w 13"/>
                <a:gd name="T23" fmla="*/ 21 h 25"/>
                <a:gd name="T24" fmla="*/ 10 w 13"/>
                <a:gd name="T25" fmla="*/ 19 h 25"/>
                <a:gd name="T26" fmla="*/ 8 w 13"/>
                <a:gd name="T27" fmla="*/ 14 h 25"/>
                <a:gd name="T28" fmla="*/ 11 w 13"/>
                <a:gd name="T29" fmla="*/ 13 h 25"/>
                <a:gd name="T30" fmla="*/ 13 w 13"/>
                <a:gd name="T31" fmla="*/ 9 h 25"/>
                <a:gd name="T32" fmla="*/ 13 w 13"/>
                <a:gd name="T33" fmla="*/ 7 h 25"/>
                <a:gd name="T34" fmla="*/ 11 w 13"/>
                <a:gd name="T35" fmla="*/ 3 h 2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"/>
                <a:gd name="T55" fmla="*/ 0 h 25"/>
                <a:gd name="T56" fmla="*/ 13 w 13"/>
                <a:gd name="T57" fmla="*/ 25 h 25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" h="25">
                  <a:moveTo>
                    <a:pt x="11" y="3"/>
                  </a:moveTo>
                  <a:lnTo>
                    <a:pt x="7" y="2"/>
                  </a:lnTo>
                  <a:lnTo>
                    <a:pt x="5" y="0"/>
                  </a:lnTo>
                  <a:lnTo>
                    <a:pt x="2" y="3"/>
                  </a:lnTo>
                  <a:lnTo>
                    <a:pt x="4" y="5"/>
                  </a:lnTo>
                  <a:lnTo>
                    <a:pt x="3" y="9"/>
                  </a:lnTo>
                  <a:lnTo>
                    <a:pt x="0" y="8"/>
                  </a:lnTo>
                  <a:lnTo>
                    <a:pt x="0" y="13"/>
                  </a:lnTo>
                  <a:lnTo>
                    <a:pt x="0" y="18"/>
                  </a:lnTo>
                  <a:lnTo>
                    <a:pt x="7" y="20"/>
                  </a:lnTo>
                  <a:lnTo>
                    <a:pt x="11" y="25"/>
                  </a:lnTo>
                  <a:lnTo>
                    <a:pt x="13" y="21"/>
                  </a:lnTo>
                  <a:lnTo>
                    <a:pt x="10" y="19"/>
                  </a:lnTo>
                  <a:lnTo>
                    <a:pt x="8" y="14"/>
                  </a:lnTo>
                  <a:lnTo>
                    <a:pt x="11" y="13"/>
                  </a:lnTo>
                  <a:lnTo>
                    <a:pt x="13" y="9"/>
                  </a:lnTo>
                  <a:lnTo>
                    <a:pt x="13" y="7"/>
                  </a:lnTo>
                  <a:lnTo>
                    <a:pt x="11" y="3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74" name="Group 243"/>
          <p:cNvGrpSpPr>
            <a:grpSpLocks/>
          </p:cNvGrpSpPr>
          <p:nvPr/>
        </p:nvGrpSpPr>
        <p:grpSpPr bwMode="auto">
          <a:xfrm>
            <a:off x="5037138" y="3487738"/>
            <a:ext cx="9525" cy="11112"/>
            <a:chOff x="2415" y="2197"/>
            <a:chExt cx="6" cy="7"/>
          </a:xfrm>
        </p:grpSpPr>
        <p:sp>
          <p:nvSpPr>
            <p:cNvPr id="34316" name="Freeform 241"/>
            <p:cNvSpPr>
              <a:spLocks/>
            </p:cNvSpPr>
            <p:nvPr/>
          </p:nvSpPr>
          <p:spPr bwMode="auto">
            <a:xfrm>
              <a:off x="2415" y="2197"/>
              <a:ext cx="6" cy="7"/>
            </a:xfrm>
            <a:custGeom>
              <a:avLst/>
              <a:gdLst>
                <a:gd name="T0" fmla="*/ 6 w 6"/>
                <a:gd name="T1" fmla="*/ 2 h 7"/>
                <a:gd name="T2" fmla="*/ 5 w 6"/>
                <a:gd name="T3" fmla="*/ 0 h 7"/>
                <a:gd name="T4" fmla="*/ 1 w 6"/>
                <a:gd name="T5" fmla="*/ 0 h 7"/>
                <a:gd name="T6" fmla="*/ 0 w 6"/>
                <a:gd name="T7" fmla="*/ 4 h 7"/>
                <a:gd name="T8" fmla="*/ 3 w 6"/>
                <a:gd name="T9" fmla="*/ 7 h 7"/>
                <a:gd name="T10" fmla="*/ 6 w 6"/>
                <a:gd name="T11" fmla="*/ 7 h 7"/>
                <a:gd name="T12" fmla="*/ 6 w 6"/>
                <a:gd name="T13" fmla="*/ 2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6" y="2"/>
                  </a:moveTo>
                  <a:lnTo>
                    <a:pt x="5" y="0"/>
                  </a:lnTo>
                  <a:lnTo>
                    <a:pt x="1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6" y="7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17" name="Freeform 242"/>
            <p:cNvSpPr>
              <a:spLocks/>
            </p:cNvSpPr>
            <p:nvPr/>
          </p:nvSpPr>
          <p:spPr bwMode="auto">
            <a:xfrm>
              <a:off x="2415" y="2197"/>
              <a:ext cx="6" cy="7"/>
            </a:xfrm>
            <a:custGeom>
              <a:avLst/>
              <a:gdLst>
                <a:gd name="T0" fmla="*/ 6 w 6"/>
                <a:gd name="T1" fmla="*/ 2 h 7"/>
                <a:gd name="T2" fmla="*/ 5 w 6"/>
                <a:gd name="T3" fmla="*/ 0 h 7"/>
                <a:gd name="T4" fmla="*/ 1 w 6"/>
                <a:gd name="T5" fmla="*/ 0 h 7"/>
                <a:gd name="T6" fmla="*/ 0 w 6"/>
                <a:gd name="T7" fmla="*/ 4 h 7"/>
                <a:gd name="T8" fmla="*/ 3 w 6"/>
                <a:gd name="T9" fmla="*/ 7 h 7"/>
                <a:gd name="T10" fmla="*/ 6 w 6"/>
                <a:gd name="T11" fmla="*/ 7 h 7"/>
                <a:gd name="T12" fmla="*/ 6 w 6"/>
                <a:gd name="T13" fmla="*/ 2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7"/>
                <a:gd name="T23" fmla="*/ 6 w 6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7">
                  <a:moveTo>
                    <a:pt x="6" y="2"/>
                  </a:moveTo>
                  <a:lnTo>
                    <a:pt x="5" y="0"/>
                  </a:lnTo>
                  <a:lnTo>
                    <a:pt x="1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6" y="7"/>
                  </a:lnTo>
                  <a:lnTo>
                    <a:pt x="6" y="2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75" name="Group 246"/>
          <p:cNvGrpSpPr>
            <a:grpSpLocks/>
          </p:cNvGrpSpPr>
          <p:nvPr/>
        </p:nvGrpSpPr>
        <p:grpSpPr bwMode="auto">
          <a:xfrm>
            <a:off x="5068888" y="3482975"/>
            <a:ext cx="20637" cy="23813"/>
            <a:chOff x="2435" y="2194"/>
            <a:chExt cx="13" cy="15"/>
          </a:xfrm>
        </p:grpSpPr>
        <p:sp>
          <p:nvSpPr>
            <p:cNvPr id="34314" name="Freeform 244"/>
            <p:cNvSpPr>
              <a:spLocks/>
            </p:cNvSpPr>
            <p:nvPr/>
          </p:nvSpPr>
          <p:spPr bwMode="auto">
            <a:xfrm>
              <a:off x="2435" y="2194"/>
              <a:ext cx="13" cy="15"/>
            </a:xfrm>
            <a:custGeom>
              <a:avLst/>
              <a:gdLst>
                <a:gd name="T0" fmla="*/ 8 w 13"/>
                <a:gd name="T1" fmla="*/ 15 h 15"/>
                <a:gd name="T2" fmla="*/ 10 w 13"/>
                <a:gd name="T3" fmla="*/ 13 h 15"/>
                <a:gd name="T4" fmla="*/ 12 w 13"/>
                <a:gd name="T5" fmla="*/ 8 h 15"/>
                <a:gd name="T6" fmla="*/ 13 w 13"/>
                <a:gd name="T7" fmla="*/ 0 h 15"/>
                <a:gd name="T8" fmla="*/ 11 w 13"/>
                <a:gd name="T9" fmla="*/ 2 h 15"/>
                <a:gd name="T10" fmla="*/ 4 w 13"/>
                <a:gd name="T11" fmla="*/ 5 h 15"/>
                <a:gd name="T12" fmla="*/ 3 w 13"/>
                <a:gd name="T13" fmla="*/ 9 h 15"/>
                <a:gd name="T14" fmla="*/ 1 w 13"/>
                <a:gd name="T15" fmla="*/ 11 h 15"/>
                <a:gd name="T16" fmla="*/ 0 w 13"/>
                <a:gd name="T17" fmla="*/ 14 h 15"/>
                <a:gd name="T18" fmla="*/ 4 w 13"/>
                <a:gd name="T19" fmla="*/ 13 h 15"/>
                <a:gd name="T20" fmla="*/ 8 w 13"/>
                <a:gd name="T21" fmla="*/ 15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"/>
                <a:gd name="T34" fmla="*/ 0 h 15"/>
                <a:gd name="T35" fmla="*/ 13 w 13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" h="15">
                  <a:moveTo>
                    <a:pt x="8" y="15"/>
                  </a:moveTo>
                  <a:lnTo>
                    <a:pt x="10" y="13"/>
                  </a:lnTo>
                  <a:lnTo>
                    <a:pt x="12" y="8"/>
                  </a:lnTo>
                  <a:lnTo>
                    <a:pt x="13" y="0"/>
                  </a:lnTo>
                  <a:lnTo>
                    <a:pt x="11" y="2"/>
                  </a:lnTo>
                  <a:lnTo>
                    <a:pt x="4" y="5"/>
                  </a:lnTo>
                  <a:lnTo>
                    <a:pt x="3" y="9"/>
                  </a:lnTo>
                  <a:lnTo>
                    <a:pt x="1" y="11"/>
                  </a:lnTo>
                  <a:lnTo>
                    <a:pt x="0" y="14"/>
                  </a:lnTo>
                  <a:lnTo>
                    <a:pt x="4" y="13"/>
                  </a:lnTo>
                  <a:lnTo>
                    <a:pt x="8" y="15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15" name="Freeform 245"/>
            <p:cNvSpPr>
              <a:spLocks/>
            </p:cNvSpPr>
            <p:nvPr/>
          </p:nvSpPr>
          <p:spPr bwMode="auto">
            <a:xfrm>
              <a:off x="2435" y="2194"/>
              <a:ext cx="13" cy="15"/>
            </a:xfrm>
            <a:custGeom>
              <a:avLst/>
              <a:gdLst>
                <a:gd name="T0" fmla="*/ 8 w 13"/>
                <a:gd name="T1" fmla="*/ 15 h 15"/>
                <a:gd name="T2" fmla="*/ 10 w 13"/>
                <a:gd name="T3" fmla="*/ 13 h 15"/>
                <a:gd name="T4" fmla="*/ 12 w 13"/>
                <a:gd name="T5" fmla="*/ 8 h 15"/>
                <a:gd name="T6" fmla="*/ 13 w 13"/>
                <a:gd name="T7" fmla="*/ 0 h 15"/>
                <a:gd name="T8" fmla="*/ 11 w 13"/>
                <a:gd name="T9" fmla="*/ 2 h 15"/>
                <a:gd name="T10" fmla="*/ 4 w 13"/>
                <a:gd name="T11" fmla="*/ 5 h 15"/>
                <a:gd name="T12" fmla="*/ 3 w 13"/>
                <a:gd name="T13" fmla="*/ 9 h 15"/>
                <a:gd name="T14" fmla="*/ 1 w 13"/>
                <a:gd name="T15" fmla="*/ 11 h 15"/>
                <a:gd name="T16" fmla="*/ 0 w 13"/>
                <a:gd name="T17" fmla="*/ 14 h 15"/>
                <a:gd name="T18" fmla="*/ 4 w 13"/>
                <a:gd name="T19" fmla="*/ 13 h 15"/>
                <a:gd name="T20" fmla="*/ 8 w 13"/>
                <a:gd name="T21" fmla="*/ 15 h 1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3"/>
                <a:gd name="T34" fmla="*/ 0 h 15"/>
                <a:gd name="T35" fmla="*/ 13 w 13"/>
                <a:gd name="T36" fmla="*/ 15 h 1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3" h="15">
                  <a:moveTo>
                    <a:pt x="8" y="15"/>
                  </a:moveTo>
                  <a:lnTo>
                    <a:pt x="10" y="13"/>
                  </a:lnTo>
                  <a:lnTo>
                    <a:pt x="12" y="8"/>
                  </a:lnTo>
                  <a:lnTo>
                    <a:pt x="13" y="0"/>
                  </a:lnTo>
                  <a:lnTo>
                    <a:pt x="11" y="2"/>
                  </a:lnTo>
                  <a:lnTo>
                    <a:pt x="4" y="5"/>
                  </a:lnTo>
                  <a:lnTo>
                    <a:pt x="3" y="9"/>
                  </a:lnTo>
                  <a:lnTo>
                    <a:pt x="1" y="11"/>
                  </a:lnTo>
                  <a:lnTo>
                    <a:pt x="0" y="14"/>
                  </a:lnTo>
                  <a:lnTo>
                    <a:pt x="4" y="13"/>
                  </a:lnTo>
                  <a:lnTo>
                    <a:pt x="8" y="15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76" name="Group 249"/>
          <p:cNvGrpSpPr>
            <a:grpSpLocks/>
          </p:cNvGrpSpPr>
          <p:nvPr/>
        </p:nvGrpSpPr>
        <p:grpSpPr bwMode="auto">
          <a:xfrm>
            <a:off x="4991100" y="2414588"/>
            <a:ext cx="496888" cy="1108075"/>
            <a:chOff x="2386" y="1521"/>
            <a:chExt cx="313" cy="698"/>
          </a:xfrm>
        </p:grpSpPr>
        <p:sp>
          <p:nvSpPr>
            <p:cNvPr id="34312" name="Freeform 247"/>
            <p:cNvSpPr>
              <a:spLocks/>
            </p:cNvSpPr>
            <p:nvPr/>
          </p:nvSpPr>
          <p:spPr bwMode="auto">
            <a:xfrm>
              <a:off x="2386" y="1521"/>
              <a:ext cx="313" cy="698"/>
            </a:xfrm>
            <a:custGeom>
              <a:avLst/>
              <a:gdLst>
                <a:gd name="T0" fmla="*/ 24 w 313"/>
                <a:gd name="T1" fmla="*/ 108 h 698"/>
                <a:gd name="T2" fmla="*/ 86 w 313"/>
                <a:gd name="T3" fmla="*/ 168 h 698"/>
                <a:gd name="T4" fmla="*/ 83 w 313"/>
                <a:gd name="T5" fmla="*/ 197 h 698"/>
                <a:gd name="T6" fmla="*/ 85 w 313"/>
                <a:gd name="T7" fmla="*/ 227 h 698"/>
                <a:gd name="T8" fmla="*/ 97 w 313"/>
                <a:gd name="T9" fmla="*/ 271 h 698"/>
                <a:gd name="T10" fmla="*/ 100 w 313"/>
                <a:gd name="T11" fmla="*/ 316 h 698"/>
                <a:gd name="T12" fmla="*/ 112 w 313"/>
                <a:gd name="T13" fmla="*/ 326 h 698"/>
                <a:gd name="T14" fmla="*/ 126 w 313"/>
                <a:gd name="T15" fmla="*/ 338 h 698"/>
                <a:gd name="T16" fmla="*/ 142 w 313"/>
                <a:gd name="T17" fmla="*/ 382 h 698"/>
                <a:gd name="T18" fmla="*/ 132 w 313"/>
                <a:gd name="T19" fmla="*/ 388 h 698"/>
                <a:gd name="T20" fmla="*/ 106 w 313"/>
                <a:gd name="T21" fmla="*/ 418 h 698"/>
                <a:gd name="T22" fmla="*/ 62 w 313"/>
                <a:gd name="T23" fmla="*/ 479 h 698"/>
                <a:gd name="T24" fmla="*/ 47 w 313"/>
                <a:gd name="T25" fmla="*/ 495 h 698"/>
                <a:gd name="T26" fmla="*/ 33 w 313"/>
                <a:gd name="T27" fmla="*/ 507 h 698"/>
                <a:gd name="T28" fmla="*/ 21 w 313"/>
                <a:gd name="T29" fmla="*/ 516 h 698"/>
                <a:gd name="T30" fmla="*/ 11 w 313"/>
                <a:gd name="T31" fmla="*/ 531 h 698"/>
                <a:gd name="T32" fmla="*/ 18 w 313"/>
                <a:gd name="T33" fmla="*/ 555 h 698"/>
                <a:gd name="T34" fmla="*/ 23 w 313"/>
                <a:gd name="T35" fmla="*/ 585 h 698"/>
                <a:gd name="T36" fmla="*/ 30 w 313"/>
                <a:gd name="T37" fmla="*/ 601 h 698"/>
                <a:gd name="T38" fmla="*/ 23 w 313"/>
                <a:gd name="T39" fmla="*/ 604 h 698"/>
                <a:gd name="T40" fmla="*/ 21 w 313"/>
                <a:gd name="T41" fmla="*/ 627 h 698"/>
                <a:gd name="T42" fmla="*/ 20 w 313"/>
                <a:gd name="T43" fmla="*/ 638 h 698"/>
                <a:gd name="T44" fmla="*/ 23 w 313"/>
                <a:gd name="T45" fmla="*/ 647 h 698"/>
                <a:gd name="T46" fmla="*/ 34 w 313"/>
                <a:gd name="T47" fmla="*/ 656 h 698"/>
                <a:gd name="T48" fmla="*/ 53 w 313"/>
                <a:gd name="T49" fmla="*/ 667 h 698"/>
                <a:gd name="T50" fmla="*/ 64 w 313"/>
                <a:gd name="T51" fmla="*/ 671 h 698"/>
                <a:gd name="T52" fmla="*/ 72 w 313"/>
                <a:gd name="T53" fmla="*/ 691 h 698"/>
                <a:gd name="T54" fmla="*/ 74 w 313"/>
                <a:gd name="T55" fmla="*/ 695 h 698"/>
                <a:gd name="T56" fmla="*/ 83 w 313"/>
                <a:gd name="T57" fmla="*/ 692 h 698"/>
                <a:gd name="T58" fmla="*/ 106 w 313"/>
                <a:gd name="T59" fmla="*/ 686 h 698"/>
                <a:gd name="T60" fmla="*/ 121 w 313"/>
                <a:gd name="T61" fmla="*/ 677 h 698"/>
                <a:gd name="T62" fmla="*/ 141 w 313"/>
                <a:gd name="T63" fmla="*/ 666 h 698"/>
                <a:gd name="T64" fmla="*/ 153 w 313"/>
                <a:gd name="T65" fmla="*/ 664 h 698"/>
                <a:gd name="T66" fmla="*/ 173 w 313"/>
                <a:gd name="T67" fmla="*/ 661 h 698"/>
                <a:gd name="T68" fmla="*/ 199 w 313"/>
                <a:gd name="T69" fmla="*/ 660 h 698"/>
                <a:gd name="T70" fmla="*/ 223 w 313"/>
                <a:gd name="T71" fmla="*/ 642 h 698"/>
                <a:gd name="T72" fmla="*/ 303 w 313"/>
                <a:gd name="T73" fmla="*/ 548 h 698"/>
                <a:gd name="T74" fmla="*/ 305 w 313"/>
                <a:gd name="T75" fmla="*/ 501 h 698"/>
                <a:gd name="T76" fmla="*/ 279 w 313"/>
                <a:gd name="T77" fmla="*/ 465 h 698"/>
                <a:gd name="T78" fmla="*/ 289 w 313"/>
                <a:gd name="T79" fmla="*/ 429 h 698"/>
                <a:gd name="T80" fmla="*/ 274 w 313"/>
                <a:gd name="T81" fmla="*/ 393 h 698"/>
                <a:gd name="T82" fmla="*/ 267 w 313"/>
                <a:gd name="T83" fmla="*/ 364 h 698"/>
                <a:gd name="T84" fmla="*/ 277 w 313"/>
                <a:gd name="T85" fmla="*/ 333 h 698"/>
                <a:gd name="T86" fmla="*/ 261 w 313"/>
                <a:gd name="T87" fmla="*/ 285 h 698"/>
                <a:gd name="T88" fmla="*/ 250 w 313"/>
                <a:gd name="T89" fmla="*/ 245 h 698"/>
                <a:gd name="T90" fmla="*/ 271 w 313"/>
                <a:gd name="T91" fmla="*/ 184 h 698"/>
                <a:gd name="T92" fmla="*/ 240 w 313"/>
                <a:gd name="T93" fmla="*/ 152 h 698"/>
                <a:gd name="T94" fmla="*/ 228 w 313"/>
                <a:gd name="T95" fmla="*/ 121 h 698"/>
                <a:gd name="T96" fmla="*/ 230 w 313"/>
                <a:gd name="T97" fmla="*/ 96 h 698"/>
                <a:gd name="T98" fmla="*/ 242 w 313"/>
                <a:gd name="T99" fmla="*/ 66 h 698"/>
                <a:gd name="T100" fmla="*/ 239 w 313"/>
                <a:gd name="T101" fmla="*/ 21 h 698"/>
                <a:gd name="T102" fmla="*/ 216 w 313"/>
                <a:gd name="T103" fmla="*/ 0 h 698"/>
                <a:gd name="T104" fmla="*/ 163 w 313"/>
                <a:gd name="T105" fmla="*/ 17 h 698"/>
                <a:gd name="T106" fmla="*/ 149 w 313"/>
                <a:gd name="T107" fmla="*/ 68 h 698"/>
                <a:gd name="T108" fmla="*/ 131 w 313"/>
                <a:gd name="T109" fmla="*/ 104 h 698"/>
                <a:gd name="T110" fmla="*/ 109 w 313"/>
                <a:gd name="T111" fmla="*/ 107 h 698"/>
                <a:gd name="T112" fmla="*/ 82 w 313"/>
                <a:gd name="T113" fmla="*/ 112 h 698"/>
                <a:gd name="T114" fmla="*/ 52 w 313"/>
                <a:gd name="T115" fmla="*/ 102 h 698"/>
                <a:gd name="T116" fmla="*/ 20 w 313"/>
                <a:gd name="T117" fmla="*/ 60 h 698"/>
                <a:gd name="T118" fmla="*/ 10 w 313"/>
                <a:gd name="T119" fmla="*/ 78 h 69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13"/>
                <a:gd name="T181" fmla="*/ 0 h 698"/>
                <a:gd name="T182" fmla="*/ 313 w 313"/>
                <a:gd name="T183" fmla="*/ 698 h 69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13" h="698">
                  <a:moveTo>
                    <a:pt x="0" y="81"/>
                  </a:moveTo>
                  <a:lnTo>
                    <a:pt x="1" y="81"/>
                  </a:lnTo>
                  <a:lnTo>
                    <a:pt x="3" y="84"/>
                  </a:lnTo>
                  <a:lnTo>
                    <a:pt x="24" y="108"/>
                  </a:lnTo>
                  <a:lnTo>
                    <a:pt x="40" y="124"/>
                  </a:lnTo>
                  <a:lnTo>
                    <a:pt x="59" y="130"/>
                  </a:lnTo>
                  <a:lnTo>
                    <a:pt x="69" y="138"/>
                  </a:lnTo>
                  <a:lnTo>
                    <a:pt x="86" y="168"/>
                  </a:lnTo>
                  <a:lnTo>
                    <a:pt x="87" y="171"/>
                  </a:lnTo>
                  <a:lnTo>
                    <a:pt x="85" y="178"/>
                  </a:lnTo>
                  <a:lnTo>
                    <a:pt x="83" y="186"/>
                  </a:lnTo>
                  <a:lnTo>
                    <a:pt x="83" y="197"/>
                  </a:lnTo>
                  <a:lnTo>
                    <a:pt x="85" y="205"/>
                  </a:lnTo>
                  <a:lnTo>
                    <a:pt x="87" y="209"/>
                  </a:lnTo>
                  <a:lnTo>
                    <a:pt x="88" y="216"/>
                  </a:lnTo>
                  <a:lnTo>
                    <a:pt x="85" y="227"/>
                  </a:lnTo>
                  <a:lnTo>
                    <a:pt x="86" y="236"/>
                  </a:lnTo>
                  <a:lnTo>
                    <a:pt x="97" y="259"/>
                  </a:lnTo>
                  <a:lnTo>
                    <a:pt x="97" y="266"/>
                  </a:lnTo>
                  <a:lnTo>
                    <a:pt x="97" y="271"/>
                  </a:lnTo>
                  <a:lnTo>
                    <a:pt x="92" y="278"/>
                  </a:lnTo>
                  <a:lnTo>
                    <a:pt x="90" y="287"/>
                  </a:lnTo>
                  <a:lnTo>
                    <a:pt x="92" y="298"/>
                  </a:lnTo>
                  <a:lnTo>
                    <a:pt x="100" y="316"/>
                  </a:lnTo>
                  <a:lnTo>
                    <a:pt x="104" y="320"/>
                  </a:lnTo>
                  <a:lnTo>
                    <a:pt x="106" y="321"/>
                  </a:lnTo>
                  <a:lnTo>
                    <a:pt x="108" y="324"/>
                  </a:lnTo>
                  <a:lnTo>
                    <a:pt x="112" y="326"/>
                  </a:lnTo>
                  <a:lnTo>
                    <a:pt x="114" y="323"/>
                  </a:lnTo>
                  <a:lnTo>
                    <a:pt x="116" y="325"/>
                  </a:lnTo>
                  <a:lnTo>
                    <a:pt x="118" y="332"/>
                  </a:lnTo>
                  <a:lnTo>
                    <a:pt x="126" y="338"/>
                  </a:lnTo>
                  <a:lnTo>
                    <a:pt x="135" y="350"/>
                  </a:lnTo>
                  <a:lnTo>
                    <a:pt x="138" y="357"/>
                  </a:lnTo>
                  <a:lnTo>
                    <a:pt x="137" y="372"/>
                  </a:lnTo>
                  <a:lnTo>
                    <a:pt x="142" y="382"/>
                  </a:lnTo>
                  <a:lnTo>
                    <a:pt x="138" y="382"/>
                  </a:lnTo>
                  <a:lnTo>
                    <a:pt x="136" y="386"/>
                  </a:lnTo>
                  <a:lnTo>
                    <a:pt x="138" y="391"/>
                  </a:lnTo>
                  <a:lnTo>
                    <a:pt x="132" y="388"/>
                  </a:lnTo>
                  <a:lnTo>
                    <a:pt x="127" y="388"/>
                  </a:lnTo>
                  <a:lnTo>
                    <a:pt x="118" y="392"/>
                  </a:lnTo>
                  <a:lnTo>
                    <a:pt x="112" y="411"/>
                  </a:lnTo>
                  <a:lnTo>
                    <a:pt x="106" y="418"/>
                  </a:lnTo>
                  <a:lnTo>
                    <a:pt x="95" y="432"/>
                  </a:lnTo>
                  <a:lnTo>
                    <a:pt x="83" y="446"/>
                  </a:lnTo>
                  <a:lnTo>
                    <a:pt x="74" y="459"/>
                  </a:lnTo>
                  <a:lnTo>
                    <a:pt x="62" y="479"/>
                  </a:lnTo>
                  <a:lnTo>
                    <a:pt x="57" y="482"/>
                  </a:lnTo>
                  <a:lnTo>
                    <a:pt x="54" y="488"/>
                  </a:lnTo>
                  <a:lnTo>
                    <a:pt x="51" y="490"/>
                  </a:lnTo>
                  <a:lnTo>
                    <a:pt x="47" y="495"/>
                  </a:lnTo>
                  <a:lnTo>
                    <a:pt x="37" y="496"/>
                  </a:lnTo>
                  <a:lnTo>
                    <a:pt x="33" y="494"/>
                  </a:lnTo>
                  <a:lnTo>
                    <a:pt x="29" y="502"/>
                  </a:lnTo>
                  <a:lnTo>
                    <a:pt x="33" y="507"/>
                  </a:lnTo>
                  <a:lnTo>
                    <a:pt x="31" y="508"/>
                  </a:lnTo>
                  <a:lnTo>
                    <a:pt x="22" y="509"/>
                  </a:lnTo>
                  <a:lnTo>
                    <a:pt x="23" y="512"/>
                  </a:lnTo>
                  <a:lnTo>
                    <a:pt x="21" y="516"/>
                  </a:lnTo>
                  <a:lnTo>
                    <a:pt x="18" y="517"/>
                  </a:lnTo>
                  <a:lnTo>
                    <a:pt x="16" y="518"/>
                  </a:lnTo>
                  <a:lnTo>
                    <a:pt x="14" y="522"/>
                  </a:lnTo>
                  <a:lnTo>
                    <a:pt x="11" y="531"/>
                  </a:lnTo>
                  <a:lnTo>
                    <a:pt x="12" y="542"/>
                  </a:lnTo>
                  <a:lnTo>
                    <a:pt x="14" y="546"/>
                  </a:lnTo>
                  <a:lnTo>
                    <a:pt x="16" y="549"/>
                  </a:lnTo>
                  <a:lnTo>
                    <a:pt x="18" y="555"/>
                  </a:lnTo>
                  <a:lnTo>
                    <a:pt x="16" y="569"/>
                  </a:lnTo>
                  <a:lnTo>
                    <a:pt x="18" y="574"/>
                  </a:lnTo>
                  <a:lnTo>
                    <a:pt x="22" y="579"/>
                  </a:lnTo>
                  <a:lnTo>
                    <a:pt x="23" y="585"/>
                  </a:lnTo>
                  <a:lnTo>
                    <a:pt x="25" y="592"/>
                  </a:lnTo>
                  <a:lnTo>
                    <a:pt x="27" y="597"/>
                  </a:lnTo>
                  <a:lnTo>
                    <a:pt x="30" y="600"/>
                  </a:lnTo>
                  <a:lnTo>
                    <a:pt x="30" y="601"/>
                  </a:lnTo>
                  <a:lnTo>
                    <a:pt x="27" y="599"/>
                  </a:lnTo>
                  <a:lnTo>
                    <a:pt x="25" y="599"/>
                  </a:lnTo>
                  <a:lnTo>
                    <a:pt x="23" y="601"/>
                  </a:lnTo>
                  <a:lnTo>
                    <a:pt x="23" y="604"/>
                  </a:lnTo>
                  <a:lnTo>
                    <a:pt x="23" y="608"/>
                  </a:lnTo>
                  <a:lnTo>
                    <a:pt x="24" y="612"/>
                  </a:lnTo>
                  <a:lnTo>
                    <a:pt x="23" y="619"/>
                  </a:lnTo>
                  <a:lnTo>
                    <a:pt x="21" y="627"/>
                  </a:lnTo>
                  <a:lnTo>
                    <a:pt x="19" y="627"/>
                  </a:lnTo>
                  <a:lnTo>
                    <a:pt x="18" y="632"/>
                  </a:lnTo>
                  <a:lnTo>
                    <a:pt x="19" y="635"/>
                  </a:lnTo>
                  <a:lnTo>
                    <a:pt x="20" y="638"/>
                  </a:lnTo>
                  <a:lnTo>
                    <a:pt x="19" y="641"/>
                  </a:lnTo>
                  <a:lnTo>
                    <a:pt x="20" y="643"/>
                  </a:lnTo>
                  <a:lnTo>
                    <a:pt x="24" y="645"/>
                  </a:lnTo>
                  <a:lnTo>
                    <a:pt x="23" y="647"/>
                  </a:lnTo>
                  <a:lnTo>
                    <a:pt x="20" y="648"/>
                  </a:lnTo>
                  <a:lnTo>
                    <a:pt x="21" y="652"/>
                  </a:lnTo>
                  <a:lnTo>
                    <a:pt x="28" y="652"/>
                  </a:lnTo>
                  <a:lnTo>
                    <a:pt x="34" y="656"/>
                  </a:lnTo>
                  <a:lnTo>
                    <a:pt x="37" y="659"/>
                  </a:lnTo>
                  <a:lnTo>
                    <a:pt x="42" y="662"/>
                  </a:lnTo>
                  <a:lnTo>
                    <a:pt x="51" y="664"/>
                  </a:lnTo>
                  <a:lnTo>
                    <a:pt x="53" y="667"/>
                  </a:lnTo>
                  <a:lnTo>
                    <a:pt x="51" y="671"/>
                  </a:lnTo>
                  <a:lnTo>
                    <a:pt x="56" y="674"/>
                  </a:lnTo>
                  <a:lnTo>
                    <a:pt x="64" y="669"/>
                  </a:lnTo>
                  <a:lnTo>
                    <a:pt x="64" y="671"/>
                  </a:lnTo>
                  <a:lnTo>
                    <a:pt x="64" y="678"/>
                  </a:lnTo>
                  <a:lnTo>
                    <a:pt x="69" y="685"/>
                  </a:lnTo>
                  <a:lnTo>
                    <a:pt x="68" y="689"/>
                  </a:lnTo>
                  <a:lnTo>
                    <a:pt x="72" y="691"/>
                  </a:lnTo>
                  <a:lnTo>
                    <a:pt x="71" y="694"/>
                  </a:lnTo>
                  <a:lnTo>
                    <a:pt x="66" y="698"/>
                  </a:lnTo>
                  <a:lnTo>
                    <a:pt x="68" y="698"/>
                  </a:lnTo>
                  <a:lnTo>
                    <a:pt x="74" y="695"/>
                  </a:lnTo>
                  <a:lnTo>
                    <a:pt x="79" y="685"/>
                  </a:lnTo>
                  <a:lnTo>
                    <a:pt x="81" y="686"/>
                  </a:lnTo>
                  <a:lnTo>
                    <a:pt x="80" y="691"/>
                  </a:lnTo>
                  <a:lnTo>
                    <a:pt x="83" y="692"/>
                  </a:lnTo>
                  <a:lnTo>
                    <a:pt x="95" y="686"/>
                  </a:lnTo>
                  <a:lnTo>
                    <a:pt x="100" y="686"/>
                  </a:lnTo>
                  <a:lnTo>
                    <a:pt x="103" y="684"/>
                  </a:lnTo>
                  <a:lnTo>
                    <a:pt x="106" y="686"/>
                  </a:lnTo>
                  <a:lnTo>
                    <a:pt x="107" y="687"/>
                  </a:lnTo>
                  <a:lnTo>
                    <a:pt x="112" y="681"/>
                  </a:lnTo>
                  <a:lnTo>
                    <a:pt x="116" y="678"/>
                  </a:lnTo>
                  <a:lnTo>
                    <a:pt x="121" y="677"/>
                  </a:lnTo>
                  <a:lnTo>
                    <a:pt x="124" y="679"/>
                  </a:lnTo>
                  <a:lnTo>
                    <a:pt x="132" y="674"/>
                  </a:lnTo>
                  <a:lnTo>
                    <a:pt x="137" y="673"/>
                  </a:lnTo>
                  <a:lnTo>
                    <a:pt x="141" y="666"/>
                  </a:lnTo>
                  <a:lnTo>
                    <a:pt x="143" y="671"/>
                  </a:lnTo>
                  <a:lnTo>
                    <a:pt x="153" y="667"/>
                  </a:lnTo>
                  <a:lnTo>
                    <a:pt x="152" y="662"/>
                  </a:lnTo>
                  <a:lnTo>
                    <a:pt x="153" y="664"/>
                  </a:lnTo>
                  <a:lnTo>
                    <a:pt x="157" y="665"/>
                  </a:lnTo>
                  <a:lnTo>
                    <a:pt x="160" y="665"/>
                  </a:lnTo>
                  <a:lnTo>
                    <a:pt x="164" y="662"/>
                  </a:lnTo>
                  <a:lnTo>
                    <a:pt x="173" y="661"/>
                  </a:lnTo>
                  <a:lnTo>
                    <a:pt x="180" y="658"/>
                  </a:lnTo>
                  <a:lnTo>
                    <a:pt x="185" y="656"/>
                  </a:lnTo>
                  <a:lnTo>
                    <a:pt x="189" y="659"/>
                  </a:lnTo>
                  <a:lnTo>
                    <a:pt x="199" y="660"/>
                  </a:lnTo>
                  <a:lnTo>
                    <a:pt x="201" y="658"/>
                  </a:lnTo>
                  <a:lnTo>
                    <a:pt x="203" y="655"/>
                  </a:lnTo>
                  <a:lnTo>
                    <a:pt x="204" y="656"/>
                  </a:lnTo>
                  <a:lnTo>
                    <a:pt x="223" y="642"/>
                  </a:lnTo>
                  <a:lnTo>
                    <a:pt x="249" y="616"/>
                  </a:lnTo>
                  <a:lnTo>
                    <a:pt x="269" y="594"/>
                  </a:lnTo>
                  <a:lnTo>
                    <a:pt x="297" y="558"/>
                  </a:lnTo>
                  <a:lnTo>
                    <a:pt x="303" y="548"/>
                  </a:lnTo>
                  <a:lnTo>
                    <a:pt x="312" y="528"/>
                  </a:lnTo>
                  <a:lnTo>
                    <a:pt x="313" y="508"/>
                  </a:lnTo>
                  <a:lnTo>
                    <a:pt x="310" y="510"/>
                  </a:lnTo>
                  <a:lnTo>
                    <a:pt x="305" y="501"/>
                  </a:lnTo>
                  <a:lnTo>
                    <a:pt x="302" y="493"/>
                  </a:lnTo>
                  <a:lnTo>
                    <a:pt x="287" y="481"/>
                  </a:lnTo>
                  <a:lnTo>
                    <a:pt x="282" y="474"/>
                  </a:lnTo>
                  <a:lnTo>
                    <a:pt x="279" y="465"/>
                  </a:lnTo>
                  <a:lnTo>
                    <a:pt x="281" y="456"/>
                  </a:lnTo>
                  <a:lnTo>
                    <a:pt x="287" y="448"/>
                  </a:lnTo>
                  <a:lnTo>
                    <a:pt x="290" y="439"/>
                  </a:lnTo>
                  <a:lnTo>
                    <a:pt x="289" y="429"/>
                  </a:lnTo>
                  <a:lnTo>
                    <a:pt x="281" y="421"/>
                  </a:lnTo>
                  <a:lnTo>
                    <a:pt x="277" y="413"/>
                  </a:lnTo>
                  <a:lnTo>
                    <a:pt x="278" y="402"/>
                  </a:lnTo>
                  <a:lnTo>
                    <a:pt x="274" y="393"/>
                  </a:lnTo>
                  <a:lnTo>
                    <a:pt x="265" y="391"/>
                  </a:lnTo>
                  <a:lnTo>
                    <a:pt x="265" y="380"/>
                  </a:lnTo>
                  <a:lnTo>
                    <a:pt x="268" y="374"/>
                  </a:lnTo>
                  <a:lnTo>
                    <a:pt x="267" y="364"/>
                  </a:lnTo>
                  <a:lnTo>
                    <a:pt x="266" y="360"/>
                  </a:lnTo>
                  <a:lnTo>
                    <a:pt x="268" y="351"/>
                  </a:lnTo>
                  <a:lnTo>
                    <a:pt x="269" y="340"/>
                  </a:lnTo>
                  <a:lnTo>
                    <a:pt x="277" y="333"/>
                  </a:lnTo>
                  <a:lnTo>
                    <a:pt x="276" y="325"/>
                  </a:lnTo>
                  <a:lnTo>
                    <a:pt x="274" y="317"/>
                  </a:lnTo>
                  <a:lnTo>
                    <a:pt x="268" y="298"/>
                  </a:lnTo>
                  <a:lnTo>
                    <a:pt x="261" y="285"/>
                  </a:lnTo>
                  <a:lnTo>
                    <a:pt x="259" y="275"/>
                  </a:lnTo>
                  <a:lnTo>
                    <a:pt x="256" y="266"/>
                  </a:lnTo>
                  <a:lnTo>
                    <a:pt x="250" y="255"/>
                  </a:lnTo>
                  <a:lnTo>
                    <a:pt x="250" y="245"/>
                  </a:lnTo>
                  <a:lnTo>
                    <a:pt x="253" y="238"/>
                  </a:lnTo>
                  <a:lnTo>
                    <a:pt x="263" y="215"/>
                  </a:lnTo>
                  <a:lnTo>
                    <a:pt x="272" y="196"/>
                  </a:lnTo>
                  <a:lnTo>
                    <a:pt x="271" y="184"/>
                  </a:lnTo>
                  <a:lnTo>
                    <a:pt x="265" y="177"/>
                  </a:lnTo>
                  <a:lnTo>
                    <a:pt x="255" y="157"/>
                  </a:lnTo>
                  <a:lnTo>
                    <a:pt x="248" y="153"/>
                  </a:lnTo>
                  <a:lnTo>
                    <a:pt x="240" y="152"/>
                  </a:lnTo>
                  <a:lnTo>
                    <a:pt x="235" y="148"/>
                  </a:lnTo>
                  <a:lnTo>
                    <a:pt x="232" y="145"/>
                  </a:lnTo>
                  <a:lnTo>
                    <a:pt x="230" y="134"/>
                  </a:lnTo>
                  <a:lnTo>
                    <a:pt x="228" y="121"/>
                  </a:lnTo>
                  <a:lnTo>
                    <a:pt x="229" y="116"/>
                  </a:lnTo>
                  <a:lnTo>
                    <a:pt x="235" y="101"/>
                  </a:lnTo>
                  <a:lnTo>
                    <a:pt x="235" y="99"/>
                  </a:lnTo>
                  <a:lnTo>
                    <a:pt x="230" y="96"/>
                  </a:lnTo>
                  <a:lnTo>
                    <a:pt x="246" y="82"/>
                  </a:lnTo>
                  <a:lnTo>
                    <a:pt x="241" y="78"/>
                  </a:lnTo>
                  <a:lnTo>
                    <a:pt x="240" y="72"/>
                  </a:lnTo>
                  <a:lnTo>
                    <a:pt x="242" y="66"/>
                  </a:lnTo>
                  <a:lnTo>
                    <a:pt x="253" y="53"/>
                  </a:lnTo>
                  <a:lnTo>
                    <a:pt x="252" y="45"/>
                  </a:lnTo>
                  <a:lnTo>
                    <a:pt x="248" y="30"/>
                  </a:lnTo>
                  <a:lnTo>
                    <a:pt x="239" y="21"/>
                  </a:lnTo>
                  <a:lnTo>
                    <a:pt x="229" y="18"/>
                  </a:lnTo>
                  <a:lnTo>
                    <a:pt x="224" y="13"/>
                  </a:lnTo>
                  <a:lnTo>
                    <a:pt x="219" y="2"/>
                  </a:lnTo>
                  <a:lnTo>
                    <a:pt x="216" y="0"/>
                  </a:lnTo>
                  <a:lnTo>
                    <a:pt x="203" y="2"/>
                  </a:lnTo>
                  <a:lnTo>
                    <a:pt x="183" y="11"/>
                  </a:lnTo>
                  <a:lnTo>
                    <a:pt x="170" y="13"/>
                  </a:lnTo>
                  <a:lnTo>
                    <a:pt x="163" y="17"/>
                  </a:lnTo>
                  <a:lnTo>
                    <a:pt x="158" y="23"/>
                  </a:lnTo>
                  <a:lnTo>
                    <a:pt x="151" y="40"/>
                  </a:lnTo>
                  <a:lnTo>
                    <a:pt x="149" y="62"/>
                  </a:lnTo>
                  <a:lnTo>
                    <a:pt x="149" y="68"/>
                  </a:lnTo>
                  <a:lnTo>
                    <a:pt x="150" y="81"/>
                  </a:lnTo>
                  <a:lnTo>
                    <a:pt x="149" y="87"/>
                  </a:lnTo>
                  <a:lnTo>
                    <a:pt x="135" y="97"/>
                  </a:lnTo>
                  <a:lnTo>
                    <a:pt x="131" y="104"/>
                  </a:lnTo>
                  <a:lnTo>
                    <a:pt x="124" y="110"/>
                  </a:lnTo>
                  <a:lnTo>
                    <a:pt x="116" y="113"/>
                  </a:lnTo>
                  <a:lnTo>
                    <a:pt x="111" y="112"/>
                  </a:lnTo>
                  <a:lnTo>
                    <a:pt x="109" y="107"/>
                  </a:lnTo>
                  <a:lnTo>
                    <a:pt x="104" y="100"/>
                  </a:lnTo>
                  <a:lnTo>
                    <a:pt x="99" y="97"/>
                  </a:lnTo>
                  <a:lnTo>
                    <a:pt x="90" y="107"/>
                  </a:lnTo>
                  <a:lnTo>
                    <a:pt x="82" y="112"/>
                  </a:lnTo>
                  <a:lnTo>
                    <a:pt x="76" y="112"/>
                  </a:lnTo>
                  <a:lnTo>
                    <a:pt x="68" y="108"/>
                  </a:lnTo>
                  <a:lnTo>
                    <a:pt x="55" y="106"/>
                  </a:lnTo>
                  <a:lnTo>
                    <a:pt x="52" y="102"/>
                  </a:lnTo>
                  <a:lnTo>
                    <a:pt x="49" y="92"/>
                  </a:lnTo>
                  <a:lnTo>
                    <a:pt x="33" y="69"/>
                  </a:lnTo>
                  <a:lnTo>
                    <a:pt x="27" y="63"/>
                  </a:lnTo>
                  <a:lnTo>
                    <a:pt x="20" y="60"/>
                  </a:lnTo>
                  <a:lnTo>
                    <a:pt x="13" y="64"/>
                  </a:lnTo>
                  <a:lnTo>
                    <a:pt x="14" y="70"/>
                  </a:lnTo>
                  <a:lnTo>
                    <a:pt x="15" y="76"/>
                  </a:lnTo>
                  <a:lnTo>
                    <a:pt x="10" y="78"/>
                  </a:lnTo>
                  <a:lnTo>
                    <a:pt x="6" y="76"/>
                  </a:lnTo>
                  <a:lnTo>
                    <a:pt x="2" y="77"/>
                  </a:lnTo>
                  <a:lnTo>
                    <a:pt x="0" y="81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13" name="Freeform 248"/>
            <p:cNvSpPr>
              <a:spLocks/>
            </p:cNvSpPr>
            <p:nvPr/>
          </p:nvSpPr>
          <p:spPr bwMode="auto">
            <a:xfrm>
              <a:off x="2386" y="1521"/>
              <a:ext cx="313" cy="698"/>
            </a:xfrm>
            <a:custGeom>
              <a:avLst/>
              <a:gdLst>
                <a:gd name="T0" fmla="*/ 24 w 313"/>
                <a:gd name="T1" fmla="*/ 108 h 698"/>
                <a:gd name="T2" fmla="*/ 86 w 313"/>
                <a:gd name="T3" fmla="*/ 168 h 698"/>
                <a:gd name="T4" fmla="*/ 83 w 313"/>
                <a:gd name="T5" fmla="*/ 197 h 698"/>
                <a:gd name="T6" fmla="*/ 85 w 313"/>
                <a:gd name="T7" fmla="*/ 227 h 698"/>
                <a:gd name="T8" fmla="*/ 97 w 313"/>
                <a:gd name="T9" fmla="*/ 271 h 698"/>
                <a:gd name="T10" fmla="*/ 100 w 313"/>
                <a:gd name="T11" fmla="*/ 316 h 698"/>
                <a:gd name="T12" fmla="*/ 112 w 313"/>
                <a:gd name="T13" fmla="*/ 326 h 698"/>
                <a:gd name="T14" fmla="*/ 126 w 313"/>
                <a:gd name="T15" fmla="*/ 338 h 698"/>
                <a:gd name="T16" fmla="*/ 142 w 313"/>
                <a:gd name="T17" fmla="*/ 382 h 698"/>
                <a:gd name="T18" fmla="*/ 132 w 313"/>
                <a:gd name="T19" fmla="*/ 388 h 698"/>
                <a:gd name="T20" fmla="*/ 106 w 313"/>
                <a:gd name="T21" fmla="*/ 418 h 698"/>
                <a:gd name="T22" fmla="*/ 62 w 313"/>
                <a:gd name="T23" fmla="*/ 479 h 698"/>
                <a:gd name="T24" fmla="*/ 47 w 313"/>
                <a:gd name="T25" fmla="*/ 495 h 698"/>
                <a:gd name="T26" fmla="*/ 33 w 313"/>
                <a:gd name="T27" fmla="*/ 507 h 698"/>
                <a:gd name="T28" fmla="*/ 21 w 313"/>
                <a:gd name="T29" fmla="*/ 516 h 698"/>
                <a:gd name="T30" fmla="*/ 11 w 313"/>
                <a:gd name="T31" fmla="*/ 531 h 698"/>
                <a:gd name="T32" fmla="*/ 18 w 313"/>
                <a:gd name="T33" fmla="*/ 555 h 698"/>
                <a:gd name="T34" fmla="*/ 23 w 313"/>
                <a:gd name="T35" fmla="*/ 585 h 698"/>
                <a:gd name="T36" fmla="*/ 30 w 313"/>
                <a:gd name="T37" fmla="*/ 601 h 698"/>
                <a:gd name="T38" fmla="*/ 23 w 313"/>
                <a:gd name="T39" fmla="*/ 604 h 698"/>
                <a:gd name="T40" fmla="*/ 21 w 313"/>
                <a:gd name="T41" fmla="*/ 627 h 698"/>
                <a:gd name="T42" fmla="*/ 20 w 313"/>
                <a:gd name="T43" fmla="*/ 638 h 698"/>
                <a:gd name="T44" fmla="*/ 23 w 313"/>
                <a:gd name="T45" fmla="*/ 647 h 698"/>
                <a:gd name="T46" fmla="*/ 34 w 313"/>
                <a:gd name="T47" fmla="*/ 656 h 698"/>
                <a:gd name="T48" fmla="*/ 53 w 313"/>
                <a:gd name="T49" fmla="*/ 667 h 698"/>
                <a:gd name="T50" fmla="*/ 64 w 313"/>
                <a:gd name="T51" fmla="*/ 671 h 698"/>
                <a:gd name="T52" fmla="*/ 72 w 313"/>
                <a:gd name="T53" fmla="*/ 691 h 698"/>
                <a:gd name="T54" fmla="*/ 74 w 313"/>
                <a:gd name="T55" fmla="*/ 695 h 698"/>
                <a:gd name="T56" fmla="*/ 83 w 313"/>
                <a:gd name="T57" fmla="*/ 692 h 698"/>
                <a:gd name="T58" fmla="*/ 106 w 313"/>
                <a:gd name="T59" fmla="*/ 686 h 698"/>
                <a:gd name="T60" fmla="*/ 121 w 313"/>
                <a:gd name="T61" fmla="*/ 677 h 698"/>
                <a:gd name="T62" fmla="*/ 141 w 313"/>
                <a:gd name="T63" fmla="*/ 666 h 698"/>
                <a:gd name="T64" fmla="*/ 153 w 313"/>
                <a:gd name="T65" fmla="*/ 664 h 698"/>
                <a:gd name="T66" fmla="*/ 173 w 313"/>
                <a:gd name="T67" fmla="*/ 661 h 698"/>
                <a:gd name="T68" fmla="*/ 199 w 313"/>
                <a:gd name="T69" fmla="*/ 660 h 698"/>
                <a:gd name="T70" fmla="*/ 223 w 313"/>
                <a:gd name="T71" fmla="*/ 642 h 698"/>
                <a:gd name="T72" fmla="*/ 303 w 313"/>
                <a:gd name="T73" fmla="*/ 548 h 698"/>
                <a:gd name="T74" fmla="*/ 305 w 313"/>
                <a:gd name="T75" fmla="*/ 501 h 698"/>
                <a:gd name="T76" fmla="*/ 279 w 313"/>
                <a:gd name="T77" fmla="*/ 465 h 698"/>
                <a:gd name="T78" fmla="*/ 289 w 313"/>
                <a:gd name="T79" fmla="*/ 429 h 698"/>
                <a:gd name="T80" fmla="*/ 274 w 313"/>
                <a:gd name="T81" fmla="*/ 393 h 698"/>
                <a:gd name="T82" fmla="*/ 267 w 313"/>
                <a:gd name="T83" fmla="*/ 364 h 698"/>
                <a:gd name="T84" fmla="*/ 277 w 313"/>
                <a:gd name="T85" fmla="*/ 333 h 698"/>
                <a:gd name="T86" fmla="*/ 261 w 313"/>
                <a:gd name="T87" fmla="*/ 285 h 698"/>
                <a:gd name="T88" fmla="*/ 250 w 313"/>
                <a:gd name="T89" fmla="*/ 245 h 698"/>
                <a:gd name="T90" fmla="*/ 271 w 313"/>
                <a:gd name="T91" fmla="*/ 184 h 698"/>
                <a:gd name="T92" fmla="*/ 240 w 313"/>
                <a:gd name="T93" fmla="*/ 152 h 698"/>
                <a:gd name="T94" fmla="*/ 228 w 313"/>
                <a:gd name="T95" fmla="*/ 121 h 698"/>
                <a:gd name="T96" fmla="*/ 230 w 313"/>
                <a:gd name="T97" fmla="*/ 96 h 698"/>
                <a:gd name="T98" fmla="*/ 242 w 313"/>
                <a:gd name="T99" fmla="*/ 66 h 698"/>
                <a:gd name="T100" fmla="*/ 239 w 313"/>
                <a:gd name="T101" fmla="*/ 21 h 698"/>
                <a:gd name="T102" fmla="*/ 216 w 313"/>
                <a:gd name="T103" fmla="*/ 0 h 698"/>
                <a:gd name="T104" fmla="*/ 163 w 313"/>
                <a:gd name="T105" fmla="*/ 17 h 698"/>
                <a:gd name="T106" fmla="*/ 149 w 313"/>
                <a:gd name="T107" fmla="*/ 68 h 698"/>
                <a:gd name="T108" fmla="*/ 131 w 313"/>
                <a:gd name="T109" fmla="*/ 104 h 698"/>
                <a:gd name="T110" fmla="*/ 109 w 313"/>
                <a:gd name="T111" fmla="*/ 107 h 698"/>
                <a:gd name="T112" fmla="*/ 82 w 313"/>
                <a:gd name="T113" fmla="*/ 112 h 698"/>
                <a:gd name="T114" fmla="*/ 52 w 313"/>
                <a:gd name="T115" fmla="*/ 102 h 698"/>
                <a:gd name="T116" fmla="*/ 20 w 313"/>
                <a:gd name="T117" fmla="*/ 60 h 698"/>
                <a:gd name="T118" fmla="*/ 10 w 313"/>
                <a:gd name="T119" fmla="*/ 78 h 69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13"/>
                <a:gd name="T181" fmla="*/ 0 h 698"/>
                <a:gd name="T182" fmla="*/ 313 w 313"/>
                <a:gd name="T183" fmla="*/ 698 h 698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13" h="698">
                  <a:moveTo>
                    <a:pt x="0" y="81"/>
                  </a:moveTo>
                  <a:lnTo>
                    <a:pt x="1" y="81"/>
                  </a:lnTo>
                  <a:lnTo>
                    <a:pt x="3" y="84"/>
                  </a:lnTo>
                  <a:lnTo>
                    <a:pt x="24" y="108"/>
                  </a:lnTo>
                  <a:lnTo>
                    <a:pt x="40" y="124"/>
                  </a:lnTo>
                  <a:lnTo>
                    <a:pt x="59" y="130"/>
                  </a:lnTo>
                  <a:lnTo>
                    <a:pt x="69" y="138"/>
                  </a:lnTo>
                  <a:lnTo>
                    <a:pt x="86" y="168"/>
                  </a:lnTo>
                  <a:lnTo>
                    <a:pt x="87" y="171"/>
                  </a:lnTo>
                  <a:lnTo>
                    <a:pt x="85" y="178"/>
                  </a:lnTo>
                  <a:lnTo>
                    <a:pt x="83" y="186"/>
                  </a:lnTo>
                  <a:lnTo>
                    <a:pt x="83" y="197"/>
                  </a:lnTo>
                  <a:lnTo>
                    <a:pt x="85" y="205"/>
                  </a:lnTo>
                  <a:lnTo>
                    <a:pt x="87" y="209"/>
                  </a:lnTo>
                  <a:lnTo>
                    <a:pt x="88" y="216"/>
                  </a:lnTo>
                  <a:lnTo>
                    <a:pt x="85" y="227"/>
                  </a:lnTo>
                  <a:lnTo>
                    <a:pt x="86" y="236"/>
                  </a:lnTo>
                  <a:lnTo>
                    <a:pt x="97" y="259"/>
                  </a:lnTo>
                  <a:lnTo>
                    <a:pt x="97" y="266"/>
                  </a:lnTo>
                  <a:lnTo>
                    <a:pt x="97" y="271"/>
                  </a:lnTo>
                  <a:lnTo>
                    <a:pt x="92" y="278"/>
                  </a:lnTo>
                  <a:lnTo>
                    <a:pt x="90" y="287"/>
                  </a:lnTo>
                  <a:lnTo>
                    <a:pt x="92" y="298"/>
                  </a:lnTo>
                  <a:lnTo>
                    <a:pt x="100" y="316"/>
                  </a:lnTo>
                  <a:lnTo>
                    <a:pt x="104" y="320"/>
                  </a:lnTo>
                  <a:lnTo>
                    <a:pt x="106" y="321"/>
                  </a:lnTo>
                  <a:lnTo>
                    <a:pt x="108" y="324"/>
                  </a:lnTo>
                  <a:lnTo>
                    <a:pt x="112" y="326"/>
                  </a:lnTo>
                  <a:lnTo>
                    <a:pt x="114" y="323"/>
                  </a:lnTo>
                  <a:lnTo>
                    <a:pt x="116" y="325"/>
                  </a:lnTo>
                  <a:lnTo>
                    <a:pt x="118" y="332"/>
                  </a:lnTo>
                  <a:lnTo>
                    <a:pt x="126" y="338"/>
                  </a:lnTo>
                  <a:lnTo>
                    <a:pt x="135" y="350"/>
                  </a:lnTo>
                  <a:lnTo>
                    <a:pt x="138" y="357"/>
                  </a:lnTo>
                  <a:lnTo>
                    <a:pt x="137" y="372"/>
                  </a:lnTo>
                  <a:lnTo>
                    <a:pt x="142" y="382"/>
                  </a:lnTo>
                  <a:lnTo>
                    <a:pt x="138" y="382"/>
                  </a:lnTo>
                  <a:lnTo>
                    <a:pt x="136" y="386"/>
                  </a:lnTo>
                  <a:lnTo>
                    <a:pt x="138" y="391"/>
                  </a:lnTo>
                  <a:lnTo>
                    <a:pt x="132" y="388"/>
                  </a:lnTo>
                  <a:lnTo>
                    <a:pt x="127" y="388"/>
                  </a:lnTo>
                  <a:lnTo>
                    <a:pt x="118" y="392"/>
                  </a:lnTo>
                  <a:lnTo>
                    <a:pt x="112" y="411"/>
                  </a:lnTo>
                  <a:lnTo>
                    <a:pt x="106" y="418"/>
                  </a:lnTo>
                  <a:lnTo>
                    <a:pt x="95" y="432"/>
                  </a:lnTo>
                  <a:lnTo>
                    <a:pt x="83" y="446"/>
                  </a:lnTo>
                  <a:lnTo>
                    <a:pt x="74" y="459"/>
                  </a:lnTo>
                  <a:lnTo>
                    <a:pt x="62" y="479"/>
                  </a:lnTo>
                  <a:lnTo>
                    <a:pt x="57" y="482"/>
                  </a:lnTo>
                  <a:lnTo>
                    <a:pt x="54" y="488"/>
                  </a:lnTo>
                  <a:lnTo>
                    <a:pt x="51" y="490"/>
                  </a:lnTo>
                  <a:lnTo>
                    <a:pt x="47" y="495"/>
                  </a:lnTo>
                  <a:lnTo>
                    <a:pt x="37" y="496"/>
                  </a:lnTo>
                  <a:lnTo>
                    <a:pt x="33" y="494"/>
                  </a:lnTo>
                  <a:lnTo>
                    <a:pt x="29" y="502"/>
                  </a:lnTo>
                  <a:lnTo>
                    <a:pt x="33" y="507"/>
                  </a:lnTo>
                  <a:lnTo>
                    <a:pt x="31" y="508"/>
                  </a:lnTo>
                  <a:lnTo>
                    <a:pt x="22" y="509"/>
                  </a:lnTo>
                  <a:lnTo>
                    <a:pt x="23" y="512"/>
                  </a:lnTo>
                  <a:lnTo>
                    <a:pt x="21" y="516"/>
                  </a:lnTo>
                  <a:lnTo>
                    <a:pt x="18" y="517"/>
                  </a:lnTo>
                  <a:lnTo>
                    <a:pt x="16" y="518"/>
                  </a:lnTo>
                  <a:lnTo>
                    <a:pt x="14" y="522"/>
                  </a:lnTo>
                  <a:lnTo>
                    <a:pt x="11" y="531"/>
                  </a:lnTo>
                  <a:lnTo>
                    <a:pt x="12" y="542"/>
                  </a:lnTo>
                  <a:lnTo>
                    <a:pt x="14" y="546"/>
                  </a:lnTo>
                  <a:lnTo>
                    <a:pt x="16" y="549"/>
                  </a:lnTo>
                  <a:lnTo>
                    <a:pt x="18" y="555"/>
                  </a:lnTo>
                  <a:lnTo>
                    <a:pt x="16" y="569"/>
                  </a:lnTo>
                  <a:lnTo>
                    <a:pt x="18" y="574"/>
                  </a:lnTo>
                  <a:lnTo>
                    <a:pt x="22" y="579"/>
                  </a:lnTo>
                  <a:lnTo>
                    <a:pt x="23" y="585"/>
                  </a:lnTo>
                  <a:lnTo>
                    <a:pt x="25" y="592"/>
                  </a:lnTo>
                  <a:lnTo>
                    <a:pt x="27" y="597"/>
                  </a:lnTo>
                  <a:lnTo>
                    <a:pt x="30" y="600"/>
                  </a:lnTo>
                  <a:lnTo>
                    <a:pt x="30" y="601"/>
                  </a:lnTo>
                  <a:lnTo>
                    <a:pt x="27" y="599"/>
                  </a:lnTo>
                  <a:lnTo>
                    <a:pt x="25" y="599"/>
                  </a:lnTo>
                  <a:lnTo>
                    <a:pt x="23" y="601"/>
                  </a:lnTo>
                  <a:lnTo>
                    <a:pt x="23" y="604"/>
                  </a:lnTo>
                  <a:lnTo>
                    <a:pt x="23" y="608"/>
                  </a:lnTo>
                  <a:lnTo>
                    <a:pt x="24" y="612"/>
                  </a:lnTo>
                  <a:lnTo>
                    <a:pt x="23" y="619"/>
                  </a:lnTo>
                  <a:lnTo>
                    <a:pt x="21" y="627"/>
                  </a:lnTo>
                  <a:lnTo>
                    <a:pt x="19" y="627"/>
                  </a:lnTo>
                  <a:lnTo>
                    <a:pt x="18" y="632"/>
                  </a:lnTo>
                  <a:lnTo>
                    <a:pt x="19" y="635"/>
                  </a:lnTo>
                  <a:lnTo>
                    <a:pt x="20" y="638"/>
                  </a:lnTo>
                  <a:lnTo>
                    <a:pt x="19" y="641"/>
                  </a:lnTo>
                  <a:lnTo>
                    <a:pt x="20" y="643"/>
                  </a:lnTo>
                  <a:lnTo>
                    <a:pt x="24" y="645"/>
                  </a:lnTo>
                  <a:lnTo>
                    <a:pt x="23" y="647"/>
                  </a:lnTo>
                  <a:lnTo>
                    <a:pt x="20" y="648"/>
                  </a:lnTo>
                  <a:lnTo>
                    <a:pt x="21" y="652"/>
                  </a:lnTo>
                  <a:lnTo>
                    <a:pt x="28" y="652"/>
                  </a:lnTo>
                  <a:lnTo>
                    <a:pt x="34" y="656"/>
                  </a:lnTo>
                  <a:lnTo>
                    <a:pt x="37" y="659"/>
                  </a:lnTo>
                  <a:lnTo>
                    <a:pt x="42" y="662"/>
                  </a:lnTo>
                  <a:lnTo>
                    <a:pt x="51" y="664"/>
                  </a:lnTo>
                  <a:lnTo>
                    <a:pt x="53" y="667"/>
                  </a:lnTo>
                  <a:lnTo>
                    <a:pt x="51" y="671"/>
                  </a:lnTo>
                  <a:lnTo>
                    <a:pt x="56" y="674"/>
                  </a:lnTo>
                  <a:lnTo>
                    <a:pt x="64" y="669"/>
                  </a:lnTo>
                  <a:lnTo>
                    <a:pt x="64" y="671"/>
                  </a:lnTo>
                  <a:lnTo>
                    <a:pt x="64" y="678"/>
                  </a:lnTo>
                  <a:lnTo>
                    <a:pt x="69" y="685"/>
                  </a:lnTo>
                  <a:lnTo>
                    <a:pt x="68" y="689"/>
                  </a:lnTo>
                  <a:lnTo>
                    <a:pt x="72" y="691"/>
                  </a:lnTo>
                  <a:lnTo>
                    <a:pt x="71" y="694"/>
                  </a:lnTo>
                  <a:lnTo>
                    <a:pt x="66" y="698"/>
                  </a:lnTo>
                  <a:lnTo>
                    <a:pt x="68" y="698"/>
                  </a:lnTo>
                  <a:lnTo>
                    <a:pt x="74" y="695"/>
                  </a:lnTo>
                  <a:lnTo>
                    <a:pt x="79" y="685"/>
                  </a:lnTo>
                  <a:lnTo>
                    <a:pt x="81" y="686"/>
                  </a:lnTo>
                  <a:lnTo>
                    <a:pt x="80" y="691"/>
                  </a:lnTo>
                  <a:lnTo>
                    <a:pt x="83" y="692"/>
                  </a:lnTo>
                  <a:lnTo>
                    <a:pt x="95" y="686"/>
                  </a:lnTo>
                  <a:lnTo>
                    <a:pt x="100" y="686"/>
                  </a:lnTo>
                  <a:lnTo>
                    <a:pt x="103" y="684"/>
                  </a:lnTo>
                  <a:lnTo>
                    <a:pt x="106" y="686"/>
                  </a:lnTo>
                  <a:lnTo>
                    <a:pt x="107" y="687"/>
                  </a:lnTo>
                  <a:lnTo>
                    <a:pt x="112" y="681"/>
                  </a:lnTo>
                  <a:lnTo>
                    <a:pt x="116" y="678"/>
                  </a:lnTo>
                  <a:lnTo>
                    <a:pt x="121" y="677"/>
                  </a:lnTo>
                  <a:lnTo>
                    <a:pt x="124" y="679"/>
                  </a:lnTo>
                  <a:lnTo>
                    <a:pt x="132" y="674"/>
                  </a:lnTo>
                  <a:lnTo>
                    <a:pt x="137" y="673"/>
                  </a:lnTo>
                  <a:lnTo>
                    <a:pt x="141" y="666"/>
                  </a:lnTo>
                  <a:lnTo>
                    <a:pt x="143" y="671"/>
                  </a:lnTo>
                  <a:lnTo>
                    <a:pt x="153" y="667"/>
                  </a:lnTo>
                  <a:lnTo>
                    <a:pt x="152" y="662"/>
                  </a:lnTo>
                  <a:lnTo>
                    <a:pt x="153" y="664"/>
                  </a:lnTo>
                  <a:lnTo>
                    <a:pt x="157" y="665"/>
                  </a:lnTo>
                  <a:lnTo>
                    <a:pt x="160" y="665"/>
                  </a:lnTo>
                  <a:lnTo>
                    <a:pt x="164" y="662"/>
                  </a:lnTo>
                  <a:lnTo>
                    <a:pt x="173" y="661"/>
                  </a:lnTo>
                  <a:lnTo>
                    <a:pt x="180" y="658"/>
                  </a:lnTo>
                  <a:lnTo>
                    <a:pt x="185" y="656"/>
                  </a:lnTo>
                  <a:lnTo>
                    <a:pt x="189" y="659"/>
                  </a:lnTo>
                  <a:lnTo>
                    <a:pt x="199" y="660"/>
                  </a:lnTo>
                  <a:lnTo>
                    <a:pt x="201" y="658"/>
                  </a:lnTo>
                  <a:lnTo>
                    <a:pt x="203" y="655"/>
                  </a:lnTo>
                  <a:lnTo>
                    <a:pt x="204" y="656"/>
                  </a:lnTo>
                  <a:lnTo>
                    <a:pt x="223" y="642"/>
                  </a:lnTo>
                  <a:lnTo>
                    <a:pt x="249" y="616"/>
                  </a:lnTo>
                  <a:lnTo>
                    <a:pt x="269" y="594"/>
                  </a:lnTo>
                  <a:lnTo>
                    <a:pt x="297" y="558"/>
                  </a:lnTo>
                  <a:lnTo>
                    <a:pt x="303" y="548"/>
                  </a:lnTo>
                  <a:lnTo>
                    <a:pt x="312" y="528"/>
                  </a:lnTo>
                  <a:lnTo>
                    <a:pt x="313" y="508"/>
                  </a:lnTo>
                  <a:lnTo>
                    <a:pt x="310" y="510"/>
                  </a:lnTo>
                  <a:lnTo>
                    <a:pt x="305" y="501"/>
                  </a:lnTo>
                  <a:lnTo>
                    <a:pt x="302" y="493"/>
                  </a:lnTo>
                  <a:lnTo>
                    <a:pt x="287" y="481"/>
                  </a:lnTo>
                  <a:lnTo>
                    <a:pt x="282" y="474"/>
                  </a:lnTo>
                  <a:lnTo>
                    <a:pt x="279" y="465"/>
                  </a:lnTo>
                  <a:lnTo>
                    <a:pt x="281" y="456"/>
                  </a:lnTo>
                  <a:lnTo>
                    <a:pt x="287" y="448"/>
                  </a:lnTo>
                  <a:lnTo>
                    <a:pt x="290" y="439"/>
                  </a:lnTo>
                  <a:lnTo>
                    <a:pt x="289" y="429"/>
                  </a:lnTo>
                  <a:lnTo>
                    <a:pt x="281" y="421"/>
                  </a:lnTo>
                  <a:lnTo>
                    <a:pt x="277" y="413"/>
                  </a:lnTo>
                  <a:lnTo>
                    <a:pt x="278" y="402"/>
                  </a:lnTo>
                  <a:lnTo>
                    <a:pt x="274" y="393"/>
                  </a:lnTo>
                  <a:lnTo>
                    <a:pt x="265" y="391"/>
                  </a:lnTo>
                  <a:lnTo>
                    <a:pt x="265" y="380"/>
                  </a:lnTo>
                  <a:lnTo>
                    <a:pt x="268" y="374"/>
                  </a:lnTo>
                  <a:lnTo>
                    <a:pt x="267" y="364"/>
                  </a:lnTo>
                  <a:lnTo>
                    <a:pt x="266" y="360"/>
                  </a:lnTo>
                  <a:lnTo>
                    <a:pt x="268" y="351"/>
                  </a:lnTo>
                  <a:lnTo>
                    <a:pt x="269" y="340"/>
                  </a:lnTo>
                  <a:lnTo>
                    <a:pt x="277" y="333"/>
                  </a:lnTo>
                  <a:lnTo>
                    <a:pt x="276" y="325"/>
                  </a:lnTo>
                  <a:lnTo>
                    <a:pt x="274" y="317"/>
                  </a:lnTo>
                  <a:lnTo>
                    <a:pt x="268" y="298"/>
                  </a:lnTo>
                  <a:lnTo>
                    <a:pt x="261" y="285"/>
                  </a:lnTo>
                  <a:lnTo>
                    <a:pt x="259" y="275"/>
                  </a:lnTo>
                  <a:lnTo>
                    <a:pt x="256" y="266"/>
                  </a:lnTo>
                  <a:lnTo>
                    <a:pt x="250" y="255"/>
                  </a:lnTo>
                  <a:lnTo>
                    <a:pt x="250" y="245"/>
                  </a:lnTo>
                  <a:lnTo>
                    <a:pt x="253" y="238"/>
                  </a:lnTo>
                  <a:lnTo>
                    <a:pt x="263" y="215"/>
                  </a:lnTo>
                  <a:lnTo>
                    <a:pt x="272" y="196"/>
                  </a:lnTo>
                  <a:lnTo>
                    <a:pt x="271" y="184"/>
                  </a:lnTo>
                  <a:lnTo>
                    <a:pt x="265" y="177"/>
                  </a:lnTo>
                  <a:lnTo>
                    <a:pt x="255" y="157"/>
                  </a:lnTo>
                  <a:lnTo>
                    <a:pt x="248" y="153"/>
                  </a:lnTo>
                  <a:lnTo>
                    <a:pt x="240" y="152"/>
                  </a:lnTo>
                  <a:lnTo>
                    <a:pt x="235" y="148"/>
                  </a:lnTo>
                  <a:lnTo>
                    <a:pt x="232" y="145"/>
                  </a:lnTo>
                  <a:lnTo>
                    <a:pt x="230" y="134"/>
                  </a:lnTo>
                  <a:lnTo>
                    <a:pt x="228" y="121"/>
                  </a:lnTo>
                  <a:lnTo>
                    <a:pt x="229" y="116"/>
                  </a:lnTo>
                  <a:lnTo>
                    <a:pt x="235" y="101"/>
                  </a:lnTo>
                  <a:lnTo>
                    <a:pt x="235" y="99"/>
                  </a:lnTo>
                  <a:lnTo>
                    <a:pt x="230" y="96"/>
                  </a:lnTo>
                  <a:lnTo>
                    <a:pt x="246" y="82"/>
                  </a:lnTo>
                  <a:lnTo>
                    <a:pt x="241" y="78"/>
                  </a:lnTo>
                  <a:lnTo>
                    <a:pt x="240" y="72"/>
                  </a:lnTo>
                  <a:lnTo>
                    <a:pt x="242" y="66"/>
                  </a:lnTo>
                  <a:lnTo>
                    <a:pt x="253" y="53"/>
                  </a:lnTo>
                  <a:lnTo>
                    <a:pt x="252" y="45"/>
                  </a:lnTo>
                  <a:lnTo>
                    <a:pt x="248" y="30"/>
                  </a:lnTo>
                  <a:lnTo>
                    <a:pt x="239" y="21"/>
                  </a:lnTo>
                  <a:lnTo>
                    <a:pt x="229" y="18"/>
                  </a:lnTo>
                  <a:lnTo>
                    <a:pt x="224" y="13"/>
                  </a:lnTo>
                  <a:lnTo>
                    <a:pt x="219" y="2"/>
                  </a:lnTo>
                  <a:lnTo>
                    <a:pt x="216" y="0"/>
                  </a:lnTo>
                  <a:lnTo>
                    <a:pt x="203" y="2"/>
                  </a:lnTo>
                  <a:lnTo>
                    <a:pt x="183" y="11"/>
                  </a:lnTo>
                  <a:lnTo>
                    <a:pt x="170" y="13"/>
                  </a:lnTo>
                  <a:lnTo>
                    <a:pt x="163" y="17"/>
                  </a:lnTo>
                  <a:lnTo>
                    <a:pt x="158" y="23"/>
                  </a:lnTo>
                  <a:lnTo>
                    <a:pt x="151" y="40"/>
                  </a:lnTo>
                  <a:lnTo>
                    <a:pt x="149" y="62"/>
                  </a:lnTo>
                  <a:lnTo>
                    <a:pt x="149" y="68"/>
                  </a:lnTo>
                  <a:lnTo>
                    <a:pt x="150" y="81"/>
                  </a:lnTo>
                  <a:lnTo>
                    <a:pt x="149" y="87"/>
                  </a:lnTo>
                  <a:lnTo>
                    <a:pt x="135" y="97"/>
                  </a:lnTo>
                  <a:lnTo>
                    <a:pt x="131" y="104"/>
                  </a:lnTo>
                  <a:lnTo>
                    <a:pt x="124" y="110"/>
                  </a:lnTo>
                  <a:lnTo>
                    <a:pt x="116" y="113"/>
                  </a:lnTo>
                  <a:lnTo>
                    <a:pt x="111" y="112"/>
                  </a:lnTo>
                  <a:lnTo>
                    <a:pt x="109" y="107"/>
                  </a:lnTo>
                  <a:lnTo>
                    <a:pt x="104" y="100"/>
                  </a:lnTo>
                  <a:lnTo>
                    <a:pt x="99" y="97"/>
                  </a:lnTo>
                  <a:lnTo>
                    <a:pt x="90" y="107"/>
                  </a:lnTo>
                  <a:lnTo>
                    <a:pt x="82" y="112"/>
                  </a:lnTo>
                  <a:lnTo>
                    <a:pt x="76" y="112"/>
                  </a:lnTo>
                  <a:lnTo>
                    <a:pt x="68" y="108"/>
                  </a:lnTo>
                  <a:lnTo>
                    <a:pt x="55" y="106"/>
                  </a:lnTo>
                  <a:lnTo>
                    <a:pt x="52" y="102"/>
                  </a:lnTo>
                  <a:lnTo>
                    <a:pt x="49" y="92"/>
                  </a:lnTo>
                  <a:lnTo>
                    <a:pt x="33" y="69"/>
                  </a:lnTo>
                  <a:lnTo>
                    <a:pt x="27" y="63"/>
                  </a:lnTo>
                  <a:lnTo>
                    <a:pt x="20" y="60"/>
                  </a:lnTo>
                  <a:lnTo>
                    <a:pt x="13" y="64"/>
                  </a:lnTo>
                  <a:lnTo>
                    <a:pt x="14" y="70"/>
                  </a:lnTo>
                  <a:lnTo>
                    <a:pt x="15" y="76"/>
                  </a:lnTo>
                  <a:lnTo>
                    <a:pt x="10" y="78"/>
                  </a:lnTo>
                  <a:lnTo>
                    <a:pt x="6" y="76"/>
                  </a:lnTo>
                  <a:lnTo>
                    <a:pt x="2" y="77"/>
                  </a:lnTo>
                  <a:lnTo>
                    <a:pt x="0" y="8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77" name="Group 252"/>
          <p:cNvGrpSpPr>
            <a:grpSpLocks/>
          </p:cNvGrpSpPr>
          <p:nvPr/>
        </p:nvGrpSpPr>
        <p:grpSpPr bwMode="auto">
          <a:xfrm>
            <a:off x="4792663" y="3738563"/>
            <a:ext cx="33337" cy="92075"/>
            <a:chOff x="2261" y="2355"/>
            <a:chExt cx="21" cy="58"/>
          </a:xfrm>
        </p:grpSpPr>
        <p:sp>
          <p:nvSpPr>
            <p:cNvPr id="34310" name="Freeform 250"/>
            <p:cNvSpPr>
              <a:spLocks/>
            </p:cNvSpPr>
            <p:nvPr/>
          </p:nvSpPr>
          <p:spPr bwMode="auto">
            <a:xfrm>
              <a:off x="2261" y="2355"/>
              <a:ext cx="21" cy="58"/>
            </a:xfrm>
            <a:custGeom>
              <a:avLst/>
              <a:gdLst>
                <a:gd name="T0" fmla="*/ 0 w 21"/>
                <a:gd name="T1" fmla="*/ 58 h 58"/>
                <a:gd name="T2" fmla="*/ 5 w 21"/>
                <a:gd name="T3" fmla="*/ 53 h 58"/>
                <a:gd name="T4" fmla="*/ 7 w 21"/>
                <a:gd name="T5" fmla="*/ 47 h 58"/>
                <a:gd name="T6" fmla="*/ 9 w 21"/>
                <a:gd name="T7" fmla="*/ 38 h 58"/>
                <a:gd name="T8" fmla="*/ 15 w 21"/>
                <a:gd name="T9" fmla="*/ 21 h 58"/>
                <a:gd name="T10" fmla="*/ 19 w 21"/>
                <a:gd name="T11" fmla="*/ 5 h 58"/>
                <a:gd name="T12" fmla="*/ 21 w 21"/>
                <a:gd name="T13" fmla="*/ 2 h 58"/>
                <a:gd name="T14" fmla="*/ 21 w 21"/>
                <a:gd name="T15" fmla="*/ 0 h 58"/>
                <a:gd name="T16" fmla="*/ 18 w 21"/>
                <a:gd name="T17" fmla="*/ 3 h 58"/>
                <a:gd name="T18" fmla="*/ 16 w 21"/>
                <a:gd name="T19" fmla="*/ 7 h 58"/>
                <a:gd name="T20" fmla="*/ 11 w 21"/>
                <a:gd name="T21" fmla="*/ 24 h 58"/>
                <a:gd name="T22" fmla="*/ 8 w 21"/>
                <a:gd name="T23" fmla="*/ 28 h 58"/>
                <a:gd name="T24" fmla="*/ 3 w 21"/>
                <a:gd name="T25" fmla="*/ 38 h 58"/>
                <a:gd name="T26" fmla="*/ 2 w 21"/>
                <a:gd name="T27" fmla="*/ 45 h 58"/>
                <a:gd name="T28" fmla="*/ 0 w 21"/>
                <a:gd name="T29" fmla="*/ 58 h 5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"/>
                <a:gd name="T46" fmla="*/ 0 h 58"/>
                <a:gd name="T47" fmla="*/ 21 w 21"/>
                <a:gd name="T48" fmla="*/ 58 h 5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" h="58">
                  <a:moveTo>
                    <a:pt x="0" y="58"/>
                  </a:moveTo>
                  <a:lnTo>
                    <a:pt x="5" y="53"/>
                  </a:lnTo>
                  <a:lnTo>
                    <a:pt x="7" y="47"/>
                  </a:lnTo>
                  <a:lnTo>
                    <a:pt x="9" y="38"/>
                  </a:lnTo>
                  <a:lnTo>
                    <a:pt x="15" y="21"/>
                  </a:lnTo>
                  <a:lnTo>
                    <a:pt x="19" y="5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18" y="3"/>
                  </a:lnTo>
                  <a:lnTo>
                    <a:pt x="16" y="7"/>
                  </a:lnTo>
                  <a:lnTo>
                    <a:pt x="11" y="24"/>
                  </a:lnTo>
                  <a:lnTo>
                    <a:pt x="8" y="28"/>
                  </a:lnTo>
                  <a:lnTo>
                    <a:pt x="3" y="38"/>
                  </a:lnTo>
                  <a:lnTo>
                    <a:pt x="2" y="45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11" name="Freeform 251"/>
            <p:cNvSpPr>
              <a:spLocks/>
            </p:cNvSpPr>
            <p:nvPr/>
          </p:nvSpPr>
          <p:spPr bwMode="auto">
            <a:xfrm>
              <a:off x="2261" y="2355"/>
              <a:ext cx="21" cy="58"/>
            </a:xfrm>
            <a:custGeom>
              <a:avLst/>
              <a:gdLst>
                <a:gd name="T0" fmla="*/ 0 w 21"/>
                <a:gd name="T1" fmla="*/ 58 h 58"/>
                <a:gd name="T2" fmla="*/ 5 w 21"/>
                <a:gd name="T3" fmla="*/ 53 h 58"/>
                <a:gd name="T4" fmla="*/ 7 w 21"/>
                <a:gd name="T5" fmla="*/ 47 h 58"/>
                <a:gd name="T6" fmla="*/ 9 w 21"/>
                <a:gd name="T7" fmla="*/ 38 h 58"/>
                <a:gd name="T8" fmla="*/ 15 w 21"/>
                <a:gd name="T9" fmla="*/ 21 h 58"/>
                <a:gd name="T10" fmla="*/ 19 w 21"/>
                <a:gd name="T11" fmla="*/ 5 h 58"/>
                <a:gd name="T12" fmla="*/ 21 w 21"/>
                <a:gd name="T13" fmla="*/ 2 h 58"/>
                <a:gd name="T14" fmla="*/ 21 w 21"/>
                <a:gd name="T15" fmla="*/ 0 h 58"/>
                <a:gd name="T16" fmla="*/ 18 w 21"/>
                <a:gd name="T17" fmla="*/ 3 h 58"/>
                <a:gd name="T18" fmla="*/ 16 w 21"/>
                <a:gd name="T19" fmla="*/ 7 h 58"/>
                <a:gd name="T20" fmla="*/ 11 w 21"/>
                <a:gd name="T21" fmla="*/ 24 h 58"/>
                <a:gd name="T22" fmla="*/ 8 w 21"/>
                <a:gd name="T23" fmla="*/ 28 h 58"/>
                <a:gd name="T24" fmla="*/ 3 w 21"/>
                <a:gd name="T25" fmla="*/ 38 h 58"/>
                <a:gd name="T26" fmla="*/ 2 w 21"/>
                <a:gd name="T27" fmla="*/ 45 h 58"/>
                <a:gd name="T28" fmla="*/ 0 w 21"/>
                <a:gd name="T29" fmla="*/ 58 h 5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"/>
                <a:gd name="T46" fmla="*/ 0 h 58"/>
                <a:gd name="T47" fmla="*/ 21 w 21"/>
                <a:gd name="T48" fmla="*/ 58 h 5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" h="58">
                  <a:moveTo>
                    <a:pt x="0" y="58"/>
                  </a:moveTo>
                  <a:lnTo>
                    <a:pt x="5" y="53"/>
                  </a:lnTo>
                  <a:lnTo>
                    <a:pt x="7" y="47"/>
                  </a:lnTo>
                  <a:lnTo>
                    <a:pt x="9" y="38"/>
                  </a:lnTo>
                  <a:lnTo>
                    <a:pt x="15" y="21"/>
                  </a:lnTo>
                  <a:lnTo>
                    <a:pt x="19" y="5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18" y="3"/>
                  </a:lnTo>
                  <a:lnTo>
                    <a:pt x="16" y="7"/>
                  </a:lnTo>
                  <a:lnTo>
                    <a:pt x="11" y="24"/>
                  </a:lnTo>
                  <a:lnTo>
                    <a:pt x="8" y="28"/>
                  </a:lnTo>
                  <a:lnTo>
                    <a:pt x="3" y="38"/>
                  </a:lnTo>
                  <a:lnTo>
                    <a:pt x="2" y="45"/>
                  </a:lnTo>
                  <a:lnTo>
                    <a:pt x="0" y="58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78" name="Group 255"/>
          <p:cNvGrpSpPr>
            <a:grpSpLocks/>
          </p:cNvGrpSpPr>
          <p:nvPr/>
        </p:nvGrpSpPr>
        <p:grpSpPr bwMode="auto">
          <a:xfrm>
            <a:off x="4873625" y="3690938"/>
            <a:ext cx="41275" cy="84137"/>
            <a:chOff x="2312" y="2325"/>
            <a:chExt cx="26" cy="53"/>
          </a:xfrm>
        </p:grpSpPr>
        <p:sp>
          <p:nvSpPr>
            <p:cNvPr id="34308" name="Freeform 253"/>
            <p:cNvSpPr>
              <a:spLocks/>
            </p:cNvSpPr>
            <p:nvPr/>
          </p:nvSpPr>
          <p:spPr bwMode="auto">
            <a:xfrm>
              <a:off x="2312" y="2325"/>
              <a:ext cx="26" cy="53"/>
            </a:xfrm>
            <a:custGeom>
              <a:avLst/>
              <a:gdLst>
                <a:gd name="T0" fmla="*/ 1 w 26"/>
                <a:gd name="T1" fmla="*/ 53 h 53"/>
                <a:gd name="T2" fmla="*/ 5 w 26"/>
                <a:gd name="T3" fmla="*/ 50 h 53"/>
                <a:gd name="T4" fmla="*/ 9 w 26"/>
                <a:gd name="T5" fmla="*/ 42 h 53"/>
                <a:gd name="T6" fmla="*/ 17 w 26"/>
                <a:gd name="T7" fmla="*/ 34 h 53"/>
                <a:gd name="T8" fmla="*/ 17 w 26"/>
                <a:gd name="T9" fmla="*/ 32 h 53"/>
                <a:gd name="T10" fmla="*/ 23 w 26"/>
                <a:gd name="T11" fmla="*/ 28 h 53"/>
                <a:gd name="T12" fmla="*/ 21 w 26"/>
                <a:gd name="T13" fmla="*/ 23 h 53"/>
                <a:gd name="T14" fmla="*/ 21 w 26"/>
                <a:gd name="T15" fmla="*/ 12 h 53"/>
                <a:gd name="T16" fmla="*/ 22 w 26"/>
                <a:gd name="T17" fmla="*/ 10 h 53"/>
                <a:gd name="T18" fmla="*/ 26 w 26"/>
                <a:gd name="T19" fmla="*/ 8 h 53"/>
                <a:gd name="T20" fmla="*/ 26 w 26"/>
                <a:gd name="T21" fmla="*/ 1 h 53"/>
                <a:gd name="T22" fmla="*/ 23 w 26"/>
                <a:gd name="T23" fmla="*/ 0 h 53"/>
                <a:gd name="T24" fmla="*/ 20 w 26"/>
                <a:gd name="T25" fmla="*/ 3 h 53"/>
                <a:gd name="T26" fmla="*/ 16 w 26"/>
                <a:gd name="T27" fmla="*/ 1 h 53"/>
                <a:gd name="T28" fmla="*/ 5 w 26"/>
                <a:gd name="T29" fmla="*/ 14 h 53"/>
                <a:gd name="T30" fmla="*/ 2 w 26"/>
                <a:gd name="T31" fmla="*/ 20 h 53"/>
                <a:gd name="T32" fmla="*/ 1 w 26"/>
                <a:gd name="T33" fmla="*/ 25 h 53"/>
                <a:gd name="T34" fmla="*/ 2 w 26"/>
                <a:gd name="T35" fmla="*/ 30 h 53"/>
                <a:gd name="T36" fmla="*/ 0 w 26"/>
                <a:gd name="T37" fmla="*/ 35 h 53"/>
                <a:gd name="T38" fmla="*/ 0 w 26"/>
                <a:gd name="T39" fmla="*/ 38 h 53"/>
                <a:gd name="T40" fmla="*/ 2 w 26"/>
                <a:gd name="T41" fmla="*/ 41 h 53"/>
                <a:gd name="T42" fmla="*/ 2 w 26"/>
                <a:gd name="T43" fmla="*/ 45 h 53"/>
                <a:gd name="T44" fmla="*/ 5 w 26"/>
                <a:gd name="T45" fmla="*/ 45 h 53"/>
                <a:gd name="T46" fmla="*/ 4 w 26"/>
                <a:gd name="T47" fmla="*/ 48 h 53"/>
                <a:gd name="T48" fmla="*/ 1 w 26"/>
                <a:gd name="T49" fmla="*/ 53 h 5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6"/>
                <a:gd name="T76" fmla="*/ 0 h 53"/>
                <a:gd name="T77" fmla="*/ 26 w 26"/>
                <a:gd name="T78" fmla="*/ 53 h 5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6" h="53">
                  <a:moveTo>
                    <a:pt x="1" y="53"/>
                  </a:moveTo>
                  <a:lnTo>
                    <a:pt x="5" y="50"/>
                  </a:lnTo>
                  <a:lnTo>
                    <a:pt x="9" y="42"/>
                  </a:lnTo>
                  <a:lnTo>
                    <a:pt x="17" y="34"/>
                  </a:lnTo>
                  <a:lnTo>
                    <a:pt x="17" y="32"/>
                  </a:lnTo>
                  <a:lnTo>
                    <a:pt x="23" y="28"/>
                  </a:lnTo>
                  <a:lnTo>
                    <a:pt x="21" y="23"/>
                  </a:lnTo>
                  <a:lnTo>
                    <a:pt x="21" y="12"/>
                  </a:lnTo>
                  <a:lnTo>
                    <a:pt x="22" y="10"/>
                  </a:lnTo>
                  <a:lnTo>
                    <a:pt x="26" y="8"/>
                  </a:lnTo>
                  <a:lnTo>
                    <a:pt x="26" y="1"/>
                  </a:lnTo>
                  <a:lnTo>
                    <a:pt x="23" y="0"/>
                  </a:lnTo>
                  <a:lnTo>
                    <a:pt x="20" y="3"/>
                  </a:lnTo>
                  <a:lnTo>
                    <a:pt x="16" y="1"/>
                  </a:lnTo>
                  <a:lnTo>
                    <a:pt x="5" y="14"/>
                  </a:lnTo>
                  <a:lnTo>
                    <a:pt x="2" y="20"/>
                  </a:lnTo>
                  <a:lnTo>
                    <a:pt x="1" y="25"/>
                  </a:lnTo>
                  <a:lnTo>
                    <a:pt x="2" y="30"/>
                  </a:lnTo>
                  <a:lnTo>
                    <a:pt x="0" y="35"/>
                  </a:lnTo>
                  <a:lnTo>
                    <a:pt x="0" y="38"/>
                  </a:lnTo>
                  <a:lnTo>
                    <a:pt x="2" y="41"/>
                  </a:lnTo>
                  <a:lnTo>
                    <a:pt x="2" y="45"/>
                  </a:lnTo>
                  <a:lnTo>
                    <a:pt x="5" y="45"/>
                  </a:lnTo>
                  <a:lnTo>
                    <a:pt x="4" y="48"/>
                  </a:lnTo>
                  <a:lnTo>
                    <a:pt x="1" y="53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09" name="Freeform 254"/>
            <p:cNvSpPr>
              <a:spLocks/>
            </p:cNvSpPr>
            <p:nvPr/>
          </p:nvSpPr>
          <p:spPr bwMode="auto">
            <a:xfrm>
              <a:off x="2312" y="2325"/>
              <a:ext cx="26" cy="53"/>
            </a:xfrm>
            <a:custGeom>
              <a:avLst/>
              <a:gdLst>
                <a:gd name="T0" fmla="*/ 1 w 26"/>
                <a:gd name="T1" fmla="*/ 53 h 53"/>
                <a:gd name="T2" fmla="*/ 5 w 26"/>
                <a:gd name="T3" fmla="*/ 50 h 53"/>
                <a:gd name="T4" fmla="*/ 9 w 26"/>
                <a:gd name="T5" fmla="*/ 42 h 53"/>
                <a:gd name="T6" fmla="*/ 17 w 26"/>
                <a:gd name="T7" fmla="*/ 34 h 53"/>
                <a:gd name="T8" fmla="*/ 17 w 26"/>
                <a:gd name="T9" fmla="*/ 32 h 53"/>
                <a:gd name="T10" fmla="*/ 23 w 26"/>
                <a:gd name="T11" fmla="*/ 28 h 53"/>
                <a:gd name="T12" fmla="*/ 21 w 26"/>
                <a:gd name="T13" fmla="*/ 23 h 53"/>
                <a:gd name="T14" fmla="*/ 21 w 26"/>
                <a:gd name="T15" fmla="*/ 12 h 53"/>
                <a:gd name="T16" fmla="*/ 22 w 26"/>
                <a:gd name="T17" fmla="*/ 10 h 53"/>
                <a:gd name="T18" fmla="*/ 26 w 26"/>
                <a:gd name="T19" fmla="*/ 8 h 53"/>
                <a:gd name="T20" fmla="*/ 26 w 26"/>
                <a:gd name="T21" fmla="*/ 1 h 53"/>
                <a:gd name="T22" fmla="*/ 23 w 26"/>
                <a:gd name="T23" fmla="*/ 0 h 53"/>
                <a:gd name="T24" fmla="*/ 20 w 26"/>
                <a:gd name="T25" fmla="*/ 3 h 53"/>
                <a:gd name="T26" fmla="*/ 16 w 26"/>
                <a:gd name="T27" fmla="*/ 1 h 53"/>
                <a:gd name="T28" fmla="*/ 5 w 26"/>
                <a:gd name="T29" fmla="*/ 14 h 53"/>
                <a:gd name="T30" fmla="*/ 2 w 26"/>
                <a:gd name="T31" fmla="*/ 20 h 53"/>
                <a:gd name="T32" fmla="*/ 1 w 26"/>
                <a:gd name="T33" fmla="*/ 25 h 53"/>
                <a:gd name="T34" fmla="*/ 2 w 26"/>
                <a:gd name="T35" fmla="*/ 30 h 53"/>
                <a:gd name="T36" fmla="*/ 0 w 26"/>
                <a:gd name="T37" fmla="*/ 35 h 53"/>
                <a:gd name="T38" fmla="*/ 0 w 26"/>
                <a:gd name="T39" fmla="*/ 38 h 53"/>
                <a:gd name="T40" fmla="*/ 2 w 26"/>
                <a:gd name="T41" fmla="*/ 41 h 53"/>
                <a:gd name="T42" fmla="*/ 2 w 26"/>
                <a:gd name="T43" fmla="*/ 45 h 53"/>
                <a:gd name="T44" fmla="*/ 5 w 26"/>
                <a:gd name="T45" fmla="*/ 45 h 53"/>
                <a:gd name="T46" fmla="*/ 4 w 26"/>
                <a:gd name="T47" fmla="*/ 48 h 53"/>
                <a:gd name="T48" fmla="*/ 1 w 26"/>
                <a:gd name="T49" fmla="*/ 53 h 5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6"/>
                <a:gd name="T76" fmla="*/ 0 h 53"/>
                <a:gd name="T77" fmla="*/ 26 w 26"/>
                <a:gd name="T78" fmla="*/ 53 h 5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6" h="53">
                  <a:moveTo>
                    <a:pt x="1" y="53"/>
                  </a:moveTo>
                  <a:lnTo>
                    <a:pt x="5" y="50"/>
                  </a:lnTo>
                  <a:lnTo>
                    <a:pt x="9" y="42"/>
                  </a:lnTo>
                  <a:lnTo>
                    <a:pt x="17" y="34"/>
                  </a:lnTo>
                  <a:lnTo>
                    <a:pt x="17" y="32"/>
                  </a:lnTo>
                  <a:lnTo>
                    <a:pt x="23" y="28"/>
                  </a:lnTo>
                  <a:lnTo>
                    <a:pt x="21" y="23"/>
                  </a:lnTo>
                  <a:lnTo>
                    <a:pt x="21" y="12"/>
                  </a:lnTo>
                  <a:lnTo>
                    <a:pt x="22" y="10"/>
                  </a:lnTo>
                  <a:lnTo>
                    <a:pt x="26" y="8"/>
                  </a:lnTo>
                  <a:lnTo>
                    <a:pt x="26" y="1"/>
                  </a:lnTo>
                  <a:lnTo>
                    <a:pt x="23" y="0"/>
                  </a:lnTo>
                  <a:lnTo>
                    <a:pt x="20" y="3"/>
                  </a:lnTo>
                  <a:lnTo>
                    <a:pt x="16" y="1"/>
                  </a:lnTo>
                  <a:lnTo>
                    <a:pt x="5" y="14"/>
                  </a:lnTo>
                  <a:lnTo>
                    <a:pt x="2" y="20"/>
                  </a:lnTo>
                  <a:lnTo>
                    <a:pt x="1" y="25"/>
                  </a:lnTo>
                  <a:lnTo>
                    <a:pt x="2" y="30"/>
                  </a:lnTo>
                  <a:lnTo>
                    <a:pt x="0" y="35"/>
                  </a:lnTo>
                  <a:lnTo>
                    <a:pt x="0" y="38"/>
                  </a:lnTo>
                  <a:lnTo>
                    <a:pt x="2" y="41"/>
                  </a:lnTo>
                  <a:lnTo>
                    <a:pt x="2" y="45"/>
                  </a:lnTo>
                  <a:lnTo>
                    <a:pt x="5" y="45"/>
                  </a:lnTo>
                  <a:lnTo>
                    <a:pt x="4" y="48"/>
                  </a:lnTo>
                  <a:lnTo>
                    <a:pt x="1" y="53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79" name="Group 258"/>
          <p:cNvGrpSpPr>
            <a:grpSpLocks/>
          </p:cNvGrpSpPr>
          <p:nvPr/>
        </p:nvGrpSpPr>
        <p:grpSpPr bwMode="auto">
          <a:xfrm>
            <a:off x="4557713" y="2543175"/>
            <a:ext cx="593725" cy="1360488"/>
            <a:chOff x="2113" y="1602"/>
            <a:chExt cx="374" cy="857"/>
          </a:xfrm>
        </p:grpSpPr>
        <p:sp>
          <p:nvSpPr>
            <p:cNvPr id="34306" name="Freeform 256"/>
            <p:cNvSpPr>
              <a:spLocks/>
            </p:cNvSpPr>
            <p:nvPr/>
          </p:nvSpPr>
          <p:spPr bwMode="auto">
            <a:xfrm>
              <a:off x="2113" y="1602"/>
              <a:ext cx="374" cy="857"/>
            </a:xfrm>
            <a:custGeom>
              <a:avLst/>
              <a:gdLst>
                <a:gd name="T0" fmla="*/ 7 w 374"/>
                <a:gd name="T1" fmla="*/ 699 h 857"/>
                <a:gd name="T2" fmla="*/ 13 w 374"/>
                <a:gd name="T3" fmla="*/ 705 h 857"/>
                <a:gd name="T4" fmla="*/ 22 w 374"/>
                <a:gd name="T5" fmla="*/ 729 h 857"/>
                <a:gd name="T6" fmla="*/ 29 w 374"/>
                <a:gd name="T7" fmla="*/ 767 h 857"/>
                <a:gd name="T8" fmla="*/ 48 w 374"/>
                <a:gd name="T9" fmla="*/ 803 h 857"/>
                <a:gd name="T10" fmla="*/ 47 w 374"/>
                <a:gd name="T11" fmla="*/ 832 h 857"/>
                <a:gd name="T12" fmla="*/ 55 w 374"/>
                <a:gd name="T13" fmla="*/ 855 h 857"/>
                <a:gd name="T14" fmla="*/ 88 w 374"/>
                <a:gd name="T15" fmla="*/ 835 h 857"/>
                <a:gd name="T16" fmla="*/ 119 w 374"/>
                <a:gd name="T17" fmla="*/ 817 h 857"/>
                <a:gd name="T18" fmla="*/ 150 w 374"/>
                <a:gd name="T19" fmla="*/ 775 h 857"/>
                <a:gd name="T20" fmla="*/ 157 w 374"/>
                <a:gd name="T21" fmla="*/ 735 h 857"/>
                <a:gd name="T22" fmla="*/ 158 w 374"/>
                <a:gd name="T23" fmla="*/ 720 h 857"/>
                <a:gd name="T24" fmla="*/ 151 w 374"/>
                <a:gd name="T25" fmla="*/ 694 h 857"/>
                <a:gd name="T26" fmla="*/ 144 w 374"/>
                <a:gd name="T27" fmla="*/ 684 h 857"/>
                <a:gd name="T28" fmla="*/ 183 w 374"/>
                <a:gd name="T29" fmla="*/ 668 h 857"/>
                <a:gd name="T30" fmla="*/ 204 w 374"/>
                <a:gd name="T31" fmla="*/ 649 h 857"/>
                <a:gd name="T32" fmla="*/ 178 w 374"/>
                <a:gd name="T33" fmla="*/ 648 h 857"/>
                <a:gd name="T34" fmla="*/ 151 w 374"/>
                <a:gd name="T35" fmla="*/ 636 h 857"/>
                <a:gd name="T36" fmla="*/ 177 w 374"/>
                <a:gd name="T37" fmla="*/ 636 h 857"/>
                <a:gd name="T38" fmla="*/ 194 w 374"/>
                <a:gd name="T39" fmla="*/ 644 h 857"/>
                <a:gd name="T40" fmla="*/ 206 w 374"/>
                <a:gd name="T41" fmla="*/ 594 h 857"/>
                <a:gd name="T42" fmla="*/ 185 w 374"/>
                <a:gd name="T43" fmla="*/ 574 h 857"/>
                <a:gd name="T44" fmla="*/ 161 w 374"/>
                <a:gd name="T45" fmla="*/ 600 h 857"/>
                <a:gd name="T46" fmla="*/ 167 w 374"/>
                <a:gd name="T47" fmla="*/ 589 h 857"/>
                <a:gd name="T48" fmla="*/ 173 w 374"/>
                <a:gd name="T49" fmla="*/ 554 h 857"/>
                <a:gd name="T50" fmla="*/ 180 w 374"/>
                <a:gd name="T51" fmla="*/ 512 h 857"/>
                <a:gd name="T52" fmla="*/ 178 w 374"/>
                <a:gd name="T53" fmla="*/ 459 h 857"/>
                <a:gd name="T54" fmla="*/ 193 w 374"/>
                <a:gd name="T55" fmla="*/ 444 h 857"/>
                <a:gd name="T56" fmla="*/ 205 w 374"/>
                <a:gd name="T57" fmla="*/ 439 h 857"/>
                <a:gd name="T58" fmla="*/ 215 w 374"/>
                <a:gd name="T59" fmla="*/ 422 h 857"/>
                <a:gd name="T60" fmla="*/ 235 w 374"/>
                <a:gd name="T61" fmla="*/ 399 h 857"/>
                <a:gd name="T62" fmla="*/ 264 w 374"/>
                <a:gd name="T63" fmla="*/ 384 h 857"/>
                <a:gd name="T64" fmla="*/ 291 w 374"/>
                <a:gd name="T65" fmla="*/ 347 h 857"/>
                <a:gd name="T66" fmla="*/ 299 w 374"/>
                <a:gd name="T67" fmla="*/ 333 h 857"/>
                <a:gd name="T68" fmla="*/ 289 w 374"/>
                <a:gd name="T69" fmla="*/ 310 h 857"/>
                <a:gd name="T70" fmla="*/ 297 w 374"/>
                <a:gd name="T71" fmla="*/ 275 h 857"/>
                <a:gd name="T72" fmla="*/ 311 w 374"/>
                <a:gd name="T73" fmla="*/ 262 h 857"/>
                <a:gd name="T74" fmla="*/ 321 w 374"/>
                <a:gd name="T75" fmla="*/ 257 h 857"/>
                <a:gd name="T76" fmla="*/ 328 w 374"/>
                <a:gd name="T77" fmla="*/ 240 h 857"/>
                <a:gd name="T78" fmla="*/ 346 w 374"/>
                <a:gd name="T79" fmla="*/ 247 h 857"/>
                <a:gd name="T80" fmla="*/ 373 w 374"/>
                <a:gd name="T81" fmla="*/ 235 h 857"/>
                <a:gd name="T82" fmla="*/ 359 w 374"/>
                <a:gd name="T83" fmla="*/ 155 h 857"/>
                <a:gd name="T84" fmla="*/ 358 w 374"/>
                <a:gd name="T85" fmla="*/ 97 h 857"/>
                <a:gd name="T86" fmla="*/ 276 w 374"/>
                <a:gd name="T87" fmla="*/ 3 h 857"/>
                <a:gd name="T88" fmla="*/ 263 w 374"/>
                <a:gd name="T89" fmla="*/ 15 h 857"/>
                <a:gd name="T90" fmla="*/ 257 w 374"/>
                <a:gd name="T91" fmla="*/ 50 h 857"/>
                <a:gd name="T92" fmla="*/ 204 w 374"/>
                <a:gd name="T93" fmla="*/ 62 h 857"/>
                <a:gd name="T94" fmla="*/ 176 w 374"/>
                <a:gd name="T95" fmla="*/ 77 h 857"/>
                <a:gd name="T96" fmla="*/ 146 w 374"/>
                <a:gd name="T97" fmla="*/ 131 h 857"/>
                <a:gd name="T98" fmla="*/ 126 w 374"/>
                <a:gd name="T99" fmla="*/ 190 h 857"/>
                <a:gd name="T100" fmla="*/ 101 w 374"/>
                <a:gd name="T101" fmla="*/ 233 h 857"/>
                <a:gd name="T102" fmla="*/ 85 w 374"/>
                <a:gd name="T103" fmla="*/ 335 h 857"/>
                <a:gd name="T104" fmla="*/ 54 w 374"/>
                <a:gd name="T105" fmla="*/ 364 h 857"/>
                <a:gd name="T106" fmla="*/ 35 w 374"/>
                <a:gd name="T107" fmla="*/ 424 h 857"/>
                <a:gd name="T108" fmla="*/ 29 w 374"/>
                <a:gd name="T109" fmla="*/ 463 h 857"/>
                <a:gd name="T110" fmla="*/ 45 w 374"/>
                <a:gd name="T111" fmla="*/ 540 h 857"/>
                <a:gd name="T112" fmla="*/ 39 w 374"/>
                <a:gd name="T113" fmla="*/ 597 h 857"/>
                <a:gd name="T114" fmla="*/ 16 w 374"/>
                <a:gd name="T115" fmla="*/ 649 h 85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4"/>
                <a:gd name="T175" fmla="*/ 0 h 857"/>
                <a:gd name="T176" fmla="*/ 374 w 374"/>
                <a:gd name="T177" fmla="*/ 857 h 85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4" h="857">
                  <a:moveTo>
                    <a:pt x="3" y="660"/>
                  </a:moveTo>
                  <a:lnTo>
                    <a:pt x="0" y="667"/>
                  </a:lnTo>
                  <a:lnTo>
                    <a:pt x="0" y="672"/>
                  </a:lnTo>
                  <a:lnTo>
                    <a:pt x="2" y="694"/>
                  </a:lnTo>
                  <a:lnTo>
                    <a:pt x="3" y="697"/>
                  </a:lnTo>
                  <a:lnTo>
                    <a:pt x="6" y="697"/>
                  </a:lnTo>
                  <a:lnTo>
                    <a:pt x="7" y="699"/>
                  </a:lnTo>
                  <a:lnTo>
                    <a:pt x="7" y="703"/>
                  </a:lnTo>
                  <a:lnTo>
                    <a:pt x="7" y="705"/>
                  </a:lnTo>
                  <a:lnTo>
                    <a:pt x="10" y="702"/>
                  </a:lnTo>
                  <a:lnTo>
                    <a:pt x="11" y="698"/>
                  </a:lnTo>
                  <a:lnTo>
                    <a:pt x="13" y="700"/>
                  </a:lnTo>
                  <a:lnTo>
                    <a:pt x="11" y="705"/>
                  </a:lnTo>
                  <a:lnTo>
                    <a:pt x="13" y="705"/>
                  </a:lnTo>
                  <a:lnTo>
                    <a:pt x="15" y="706"/>
                  </a:lnTo>
                  <a:lnTo>
                    <a:pt x="12" y="708"/>
                  </a:lnTo>
                  <a:lnTo>
                    <a:pt x="8" y="713"/>
                  </a:lnTo>
                  <a:lnTo>
                    <a:pt x="17" y="716"/>
                  </a:lnTo>
                  <a:lnTo>
                    <a:pt x="18" y="721"/>
                  </a:lnTo>
                  <a:lnTo>
                    <a:pt x="17" y="730"/>
                  </a:lnTo>
                  <a:lnTo>
                    <a:pt x="22" y="729"/>
                  </a:lnTo>
                  <a:lnTo>
                    <a:pt x="24" y="735"/>
                  </a:lnTo>
                  <a:lnTo>
                    <a:pt x="20" y="739"/>
                  </a:lnTo>
                  <a:lnTo>
                    <a:pt x="22" y="747"/>
                  </a:lnTo>
                  <a:lnTo>
                    <a:pt x="21" y="753"/>
                  </a:lnTo>
                  <a:lnTo>
                    <a:pt x="26" y="753"/>
                  </a:lnTo>
                  <a:lnTo>
                    <a:pt x="28" y="761"/>
                  </a:lnTo>
                  <a:lnTo>
                    <a:pt x="29" y="767"/>
                  </a:lnTo>
                  <a:lnTo>
                    <a:pt x="32" y="776"/>
                  </a:lnTo>
                  <a:lnTo>
                    <a:pt x="38" y="782"/>
                  </a:lnTo>
                  <a:lnTo>
                    <a:pt x="41" y="788"/>
                  </a:lnTo>
                  <a:lnTo>
                    <a:pt x="47" y="792"/>
                  </a:lnTo>
                  <a:lnTo>
                    <a:pt x="51" y="797"/>
                  </a:lnTo>
                  <a:lnTo>
                    <a:pt x="51" y="801"/>
                  </a:lnTo>
                  <a:lnTo>
                    <a:pt x="48" y="803"/>
                  </a:lnTo>
                  <a:lnTo>
                    <a:pt x="44" y="802"/>
                  </a:lnTo>
                  <a:lnTo>
                    <a:pt x="43" y="804"/>
                  </a:lnTo>
                  <a:lnTo>
                    <a:pt x="47" y="813"/>
                  </a:lnTo>
                  <a:lnTo>
                    <a:pt x="43" y="813"/>
                  </a:lnTo>
                  <a:lnTo>
                    <a:pt x="39" y="811"/>
                  </a:lnTo>
                  <a:lnTo>
                    <a:pt x="39" y="814"/>
                  </a:lnTo>
                  <a:lnTo>
                    <a:pt x="47" y="832"/>
                  </a:lnTo>
                  <a:lnTo>
                    <a:pt x="51" y="838"/>
                  </a:lnTo>
                  <a:lnTo>
                    <a:pt x="53" y="843"/>
                  </a:lnTo>
                  <a:lnTo>
                    <a:pt x="51" y="846"/>
                  </a:lnTo>
                  <a:lnTo>
                    <a:pt x="51" y="852"/>
                  </a:lnTo>
                  <a:lnTo>
                    <a:pt x="49" y="853"/>
                  </a:lnTo>
                  <a:lnTo>
                    <a:pt x="49" y="855"/>
                  </a:lnTo>
                  <a:lnTo>
                    <a:pt x="55" y="855"/>
                  </a:lnTo>
                  <a:lnTo>
                    <a:pt x="61" y="857"/>
                  </a:lnTo>
                  <a:lnTo>
                    <a:pt x="71" y="853"/>
                  </a:lnTo>
                  <a:lnTo>
                    <a:pt x="80" y="853"/>
                  </a:lnTo>
                  <a:lnTo>
                    <a:pt x="85" y="855"/>
                  </a:lnTo>
                  <a:lnTo>
                    <a:pt x="88" y="853"/>
                  </a:lnTo>
                  <a:lnTo>
                    <a:pt x="90" y="846"/>
                  </a:lnTo>
                  <a:lnTo>
                    <a:pt x="88" y="835"/>
                  </a:lnTo>
                  <a:lnTo>
                    <a:pt x="91" y="828"/>
                  </a:lnTo>
                  <a:lnTo>
                    <a:pt x="94" y="821"/>
                  </a:lnTo>
                  <a:lnTo>
                    <a:pt x="99" y="823"/>
                  </a:lnTo>
                  <a:lnTo>
                    <a:pt x="101" y="818"/>
                  </a:lnTo>
                  <a:lnTo>
                    <a:pt x="107" y="815"/>
                  </a:lnTo>
                  <a:lnTo>
                    <a:pt x="114" y="815"/>
                  </a:lnTo>
                  <a:lnTo>
                    <a:pt x="119" y="817"/>
                  </a:lnTo>
                  <a:lnTo>
                    <a:pt x="125" y="815"/>
                  </a:lnTo>
                  <a:lnTo>
                    <a:pt x="131" y="817"/>
                  </a:lnTo>
                  <a:lnTo>
                    <a:pt x="137" y="817"/>
                  </a:lnTo>
                  <a:lnTo>
                    <a:pt x="139" y="807"/>
                  </a:lnTo>
                  <a:lnTo>
                    <a:pt x="144" y="795"/>
                  </a:lnTo>
                  <a:lnTo>
                    <a:pt x="149" y="786"/>
                  </a:lnTo>
                  <a:lnTo>
                    <a:pt x="150" y="775"/>
                  </a:lnTo>
                  <a:lnTo>
                    <a:pt x="152" y="768"/>
                  </a:lnTo>
                  <a:lnTo>
                    <a:pt x="151" y="761"/>
                  </a:lnTo>
                  <a:lnTo>
                    <a:pt x="153" y="755"/>
                  </a:lnTo>
                  <a:lnTo>
                    <a:pt x="156" y="749"/>
                  </a:lnTo>
                  <a:lnTo>
                    <a:pt x="156" y="744"/>
                  </a:lnTo>
                  <a:lnTo>
                    <a:pt x="154" y="740"/>
                  </a:lnTo>
                  <a:lnTo>
                    <a:pt x="157" y="735"/>
                  </a:lnTo>
                  <a:lnTo>
                    <a:pt x="156" y="730"/>
                  </a:lnTo>
                  <a:lnTo>
                    <a:pt x="153" y="727"/>
                  </a:lnTo>
                  <a:lnTo>
                    <a:pt x="153" y="724"/>
                  </a:lnTo>
                  <a:lnTo>
                    <a:pt x="153" y="722"/>
                  </a:lnTo>
                  <a:lnTo>
                    <a:pt x="157" y="723"/>
                  </a:lnTo>
                  <a:lnTo>
                    <a:pt x="159" y="723"/>
                  </a:lnTo>
                  <a:lnTo>
                    <a:pt x="158" y="720"/>
                  </a:lnTo>
                  <a:lnTo>
                    <a:pt x="158" y="717"/>
                  </a:lnTo>
                  <a:lnTo>
                    <a:pt x="160" y="714"/>
                  </a:lnTo>
                  <a:lnTo>
                    <a:pt x="159" y="712"/>
                  </a:lnTo>
                  <a:lnTo>
                    <a:pt x="160" y="703"/>
                  </a:lnTo>
                  <a:lnTo>
                    <a:pt x="160" y="700"/>
                  </a:lnTo>
                  <a:lnTo>
                    <a:pt x="156" y="697"/>
                  </a:lnTo>
                  <a:lnTo>
                    <a:pt x="151" y="694"/>
                  </a:lnTo>
                  <a:lnTo>
                    <a:pt x="152" y="694"/>
                  </a:lnTo>
                  <a:lnTo>
                    <a:pt x="157" y="695"/>
                  </a:lnTo>
                  <a:lnTo>
                    <a:pt x="162" y="695"/>
                  </a:lnTo>
                  <a:lnTo>
                    <a:pt x="163" y="692"/>
                  </a:lnTo>
                  <a:lnTo>
                    <a:pt x="158" y="688"/>
                  </a:lnTo>
                  <a:lnTo>
                    <a:pt x="143" y="686"/>
                  </a:lnTo>
                  <a:lnTo>
                    <a:pt x="144" y="684"/>
                  </a:lnTo>
                  <a:lnTo>
                    <a:pt x="156" y="683"/>
                  </a:lnTo>
                  <a:lnTo>
                    <a:pt x="163" y="685"/>
                  </a:lnTo>
                  <a:lnTo>
                    <a:pt x="166" y="683"/>
                  </a:lnTo>
                  <a:lnTo>
                    <a:pt x="167" y="678"/>
                  </a:lnTo>
                  <a:lnTo>
                    <a:pt x="174" y="678"/>
                  </a:lnTo>
                  <a:lnTo>
                    <a:pt x="180" y="672"/>
                  </a:lnTo>
                  <a:lnTo>
                    <a:pt x="183" y="668"/>
                  </a:lnTo>
                  <a:lnTo>
                    <a:pt x="183" y="662"/>
                  </a:lnTo>
                  <a:lnTo>
                    <a:pt x="187" y="663"/>
                  </a:lnTo>
                  <a:lnTo>
                    <a:pt x="187" y="669"/>
                  </a:lnTo>
                  <a:lnTo>
                    <a:pt x="194" y="669"/>
                  </a:lnTo>
                  <a:lnTo>
                    <a:pt x="197" y="662"/>
                  </a:lnTo>
                  <a:lnTo>
                    <a:pt x="205" y="656"/>
                  </a:lnTo>
                  <a:lnTo>
                    <a:pt x="204" y="649"/>
                  </a:lnTo>
                  <a:lnTo>
                    <a:pt x="206" y="652"/>
                  </a:lnTo>
                  <a:lnTo>
                    <a:pt x="209" y="652"/>
                  </a:lnTo>
                  <a:lnTo>
                    <a:pt x="209" y="649"/>
                  </a:lnTo>
                  <a:lnTo>
                    <a:pt x="213" y="646"/>
                  </a:lnTo>
                  <a:lnTo>
                    <a:pt x="212" y="644"/>
                  </a:lnTo>
                  <a:lnTo>
                    <a:pt x="185" y="649"/>
                  </a:lnTo>
                  <a:lnTo>
                    <a:pt x="178" y="648"/>
                  </a:lnTo>
                  <a:lnTo>
                    <a:pt x="176" y="650"/>
                  </a:lnTo>
                  <a:lnTo>
                    <a:pt x="174" y="647"/>
                  </a:lnTo>
                  <a:lnTo>
                    <a:pt x="171" y="644"/>
                  </a:lnTo>
                  <a:lnTo>
                    <a:pt x="158" y="638"/>
                  </a:lnTo>
                  <a:lnTo>
                    <a:pt x="151" y="640"/>
                  </a:lnTo>
                  <a:lnTo>
                    <a:pt x="148" y="638"/>
                  </a:lnTo>
                  <a:lnTo>
                    <a:pt x="151" y="636"/>
                  </a:lnTo>
                  <a:lnTo>
                    <a:pt x="153" y="633"/>
                  </a:lnTo>
                  <a:lnTo>
                    <a:pt x="157" y="634"/>
                  </a:lnTo>
                  <a:lnTo>
                    <a:pt x="161" y="633"/>
                  </a:lnTo>
                  <a:lnTo>
                    <a:pt x="167" y="634"/>
                  </a:lnTo>
                  <a:lnTo>
                    <a:pt x="168" y="633"/>
                  </a:lnTo>
                  <a:lnTo>
                    <a:pt x="173" y="638"/>
                  </a:lnTo>
                  <a:lnTo>
                    <a:pt x="177" y="636"/>
                  </a:lnTo>
                  <a:lnTo>
                    <a:pt x="177" y="634"/>
                  </a:lnTo>
                  <a:lnTo>
                    <a:pt x="180" y="637"/>
                  </a:lnTo>
                  <a:lnTo>
                    <a:pt x="185" y="638"/>
                  </a:lnTo>
                  <a:lnTo>
                    <a:pt x="186" y="635"/>
                  </a:lnTo>
                  <a:lnTo>
                    <a:pt x="188" y="637"/>
                  </a:lnTo>
                  <a:lnTo>
                    <a:pt x="190" y="643"/>
                  </a:lnTo>
                  <a:lnTo>
                    <a:pt x="194" y="644"/>
                  </a:lnTo>
                  <a:lnTo>
                    <a:pt x="211" y="635"/>
                  </a:lnTo>
                  <a:lnTo>
                    <a:pt x="216" y="625"/>
                  </a:lnTo>
                  <a:lnTo>
                    <a:pt x="219" y="623"/>
                  </a:lnTo>
                  <a:lnTo>
                    <a:pt x="221" y="614"/>
                  </a:lnTo>
                  <a:lnTo>
                    <a:pt x="218" y="606"/>
                  </a:lnTo>
                  <a:lnTo>
                    <a:pt x="211" y="602"/>
                  </a:lnTo>
                  <a:lnTo>
                    <a:pt x="206" y="594"/>
                  </a:lnTo>
                  <a:lnTo>
                    <a:pt x="210" y="594"/>
                  </a:lnTo>
                  <a:lnTo>
                    <a:pt x="210" y="592"/>
                  </a:lnTo>
                  <a:lnTo>
                    <a:pt x="199" y="587"/>
                  </a:lnTo>
                  <a:lnTo>
                    <a:pt x="198" y="582"/>
                  </a:lnTo>
                  <a:lnTo>
                    <a:pt x="196" y="576"/>
                  </a:lnTo>
                  <a:lnTo>
                    <a:pt x="187" y="578"/>
                  </a:lnTo>
                  <a:lnTo>
                    <a:pt x="185" y="574"/>
                  </a:lnTo>
                  <a:lnTo>
                    <a:pt x="184" y="572"/>
                  </a:lnTo>
                  <a:lnTo>
                    <a:pt x="182" y="572"/>
                  </a:lnTo>
                  <a:lnTo>
                    <a:pt x="182" y="574"/>
                  </a:lnTo>
                  <a:lnTo>
                    <a:pt x="178" y="584"/>
                  </a:lnTo>
                  <a:lnTo>
                    <a:pt x="174" y="589"/>
                  </a:lnTo>
                  <a:lnTo>
                    <a:pt x="164" y="597"/>
                  </a:lnTo>
                  <a:lnTo>
                    <a:pt x="161" y="600"/>
                  </a:lnTo>
                  <a:lnTo>
                    <a:pt x="156" y="600"/>
                  </a:lnTo>
                  <a:lnTo>
                    <a:pt x="150" y="601"/>
                  </a:lnTo>
                  <a:lnTo>
                    <a:pt x="146" y="600"/>
                  </a:lnTo>
                  <a:lnTo>
                    <a:pt x="151" y="597"/>
                  </a:lnTo>
                  <a:lnTo>
                    <a:pt x="157" y="596"/>
                  </a:lnTo>
                  <a:lnTo>
                    <a:pt x="162" y="591"/>
                  </a:lnTo>
                  <a:lnTo>
                    <a:pt x="167" y="589"/>
                  </a:lnTo>
                  <a:lnTo>
                    <a:pt x="176" y="581"/>
                  </a:lnTo>
                  <a:lnTo>
                    <a:pt x="177" y="575"/>
                  </a:lnTo>
                  <a:lnTo>
                    <a:pt x="177" y="569"/>
                  </a:lnTo>
                  <a:lnTo>
                    <a:pt x="173" y="568"/>
                  </a:lnTo>
                  <a:lnTo>
                    <a:pt x="175" y="564"/>
                  </a:lnTo>
                  <a:lnTo>
                    <a:pt x="175" y="559"/>
                  </a:lnTo>
                  <a:lnTo>
                    <a:pt x="173" y="554"/>
                  </a:lnTo>
                  <a:lnTo>
                    <a:pt x="172" y="539"/>
                  </a:lnTo>
                  <a:lnTo>
                    <a:pt x="172" y="530"/>
                  </a:lnTo>
                  <a:lnTo>
                    <a:pt x="170" y="518"/>
                  </a:lnTo>
                  <a:lnTo>
                    <a:pt x="171" y="514"/>
                  </a:lnTo>
                  <a:lnTo>
                    <a:pt x="172" y="510"/>
                  </a:lnTo>
                  <a:lnTo>
                    <a:pt x="172" y="507"/>
                  </a:lnTo>
                  <a:lnTo>
                    <a:pt x="180" y="512"/>
                  </a:lnTo>
                  <a:lnTo>
                    <a:pt x="180" y="507"/>
                  </a:lnTo>
                  <a:lnTo>
                    <a:pt x="178" y="496"/>
                  </a:lnTo>
                  <a:lnTo>
                    <a:pt x="180" y="485"/>
                  </a:lnTo>
                  <a:lnTo>
                    <a:pt x="183" y="475"/>
                  </a:lnTo>
                  <a:lnTo>
                    <a:pt x="179" y="470"/>
                  </a:lnTo>
                  <a:lnTo>
                    <a:pt x="178" y="466"/>
                  </a:lnTo>
                  <a:lnTo>
                    <a:pt x="178" y="459"/>
                  </a:lnTo>
                  <a:lnTo>
                    <a:pt x="186" y="463"/>
                  </a:lnTo>
                  <a:lnTo>
                    <a:pt x="187" y="462"/>
                  </a:lnTo>
                  <a:lnTo>
                    <a:pt x="189" y="460"/>
                  </a:lnTo>
                  <a:lnTo>
                    <a:pt x="192" y="456"/>
                  </a:lnTo>
                  <a:lnTo>
                    <a:pt x="192" y="454"/>
                  </a:lnTo>
                  <a:lnTo>
                    <a:pt x="192" y="453"/>
                  </a:lnTo>
                  <a:lnTo>
                    <a:pt x="193" y="444"/>
                  </a:lnTo>
                  <a:lnTo>
                    <a:pt x="191" y="438"/>
                  </a:lnTo>
                  <a:lnTo>
                    <a:pt x="191" y="434"/>
                  </a:lnTo>
                  <a:lnTo>
                    <a:pt x="192" y="439"/>
                  </a:lnTo>
                  <a:lnTo>
                    <a:pt x="197" y="443"/>
                  </a:lnTo>
                  <a:lnTo>
                    <a:pt x="199" y="442"/>
                  </a:lnTo>
                  <a:lnTo>
                    <a:pt x="202" y="437"/>
                  </a:lnTo>
                  <a:lnTo>
                    <a:pt x="205" y="439"/>
                  </a:lnTo>
                  <a:lnTo>
                    <a:pt x="206" y="435"/>
                  </a:lnTo>
                  <a:lnTo>
                    <a:pt x="208" y="432"/>
                  </a:lnTo>
                  <a:lnTo>
                    <a:pt x="202" y="429"/>
                  </a:lnTo>
                  <a:lnTo>
                    <a:pt x="206" y="430"/>
                  </a:lnTo>
                  <a:lnTo>
                    <a:pt x="211" y="426"/>
                  </a:lnTo>
                  <a:lnTo>
                    <a:pt x="211" y="424"/>
                  </a:lnTo>
                  <a:lnTo>
                    <a:pt x="215" y="422"/>
                  </a:lnTo>
                  <a:lnTo>
                    <a:pt x="215" y="417"/>
                  </a:lnTo>
                  <a:lnTo>
                    <a:pt x="218" y="416"/>
                  </a:lnTo>
                  <a:lnTo>
                    <a:pt x="219" y="410"/>
                  </a:lnTo>
                  <a:lnTo>
                    <a:pt x="222" y="409"/>
                  </a:lnTo>
                  <a:lnTo>
                    <a:pt x="227" y="410"/>
                  </a:lnTo>
                  <a:lnTo>
                    <a:pt x="233" y="405"/>
                  </a:lnTo>
                  <a:lnTo>
                    <a:pt x="235" y="399"/>
                  </a:lnTo>
                  <a:lnTo>
                    <a:pt x="243" y="394"/>
                  </a:lnTo>
                  <a:lnTo>
                    <a:pt x="246" y="397"/>
                  </a:lnTo>
                  <a:lnTo>
                    <a:pt x="252" y="393"/>
                  </a:lnTo>
                  <a:lnTo>
                    <a:pt x="253" y="388"/>
                  </a:lnTo>
                  <a:lnTo>
                    <a:pt x="257" y="385"/>
                  </a:lnTo>
                  <a:lnTo>
                    <a:pt x="261" y="386"/>
                  </a:lnTo>
                  <a:lnTo>
                    <a:pt x="264" y="384"/>
                  </a:lnTo>
                  <a:lnTo>
                    <a:pt x="270" y="380"/>
                  </a:lnTo>
                  <a:lnTo>
                    <a:pt x="273" y="375"/>
                  </a:lnTo>
                  <a:lnTo>
                    <a:pt x="276" y="374"/>
                  </a:lnTo>
                  <a:lnTo>
                    <a:pt x="280" y="365"/>
                  </a:lnTo>
                  <a:lnTo>
                    <a:pt x="281" y="360"/>
                  </a:lnTo>
                  <a:lnTo>
                    <a:pt x="288" y="353"/>
                  </a:lnTo>
                  <a:lnTo>
                    <a:pt x="291" y="347"/>
                  </a:lnTo>
                  <a:lnTo>
                    <a:pt x="294" y="340"/>
                  </a:lnTo>
                  <a:lnTo>
                    <a:pt x="297" y="337"/>
                  </a:lnTo>
                  <a:lnTo>
                    <a:pt x="297" y="340"/>
                  </a:lnTo>
                  <a:lnTo>
                    <a:pt x="297" y="346"/>
                  </a:lnTo>
                  <a:lnTo>
                    <a:pt x="301" y="339"/>
                  </a:lnTo>
                  <a:lnTo>
                    <a:pt x="302" y="336"/>
                  </a:lnTo>
                  <a:lnTo>
                    <a:pt x="299" y="333"/>
                  </a:lnTo>
                  <a:lnTo>
                    <a:pt x="299" y="330"/>
                  </a:lnTo>
                  <a:lnTo>
                    <a:pt x="291" y="323"/>
                  </a:lnTo>
                  <a:lnTo>
                    <a:pt x="291" y="319"/>
                  </a:lnTo>
                  <a:lnTo>
                    <a:pt x="292" y="318"/>
                  </a:lnTo>
                  <a:lnTo>
                    <a:pt x="291" y="315"/>
                  </a:lnTo>
                  <a:lnTo>
                    <a:pt x="289" y="311"/>
                  </a:lnTo>
                  <a:lnTo>
                    <a:pt x="289" y="310"/>
                  </a:lnTo>
                  <a:lnTo>
                    <a:pt x="291" y="308"/>
                  </a:lnTo>
                  <a:lnTo>
                    <a:pt x="292" y="304"/>
                  </a:lnTo>
                  <a:lnTo>
                    <a:pt x="297" y="302"/>
                  </a:lnTo>
                  <a:lnTo>
                    <a:pt x="301" y="289"/>
                  </a:lnTo>
                  <a:lnTo>
                    <a:pt x="302" y="286"/>
                  </a:lnTo>
                  <a:lnTo>
                    <a:pt x="297" y="276"/>
                  </a:lnTo>
                  <a:lnTo>
                    <a:pt x="297" y="275"/>
                  </a:lnTo>
                  <a:lnTo>
                    <a:pt x="303" y="271"/>
                  </a:lnTo>
                  <a:lnTo>
                    <a:pt x="303" y="267"/>
                  </a:lnTo>
                  <a:lnTo>
                    <a:pt x="306" y="267"/>
                  </a:lnTo>
                  <a:lnTo>
                    <a:pt x="310" y="269"/>
                  </a:lnTo>
                  <a:lnTo>
                    <a:pt x="312" y="268"/>
                  </a:lnTo>
                  <a:lnTo>
                    <a:pt x="312" y="265"/>
                  </a:lnTo>
                  <a:lnTo>
                    <a:pt x="311" y="262"/>
                  </a:lnTo>
                  <a:lnTo>
                    <a:pt x="316" y="262"/>
                  </a:lnTo>
                  <a:lnTo>
                    <a:pt x="316" y="259"/>
                  </a:lnTo>
                  <a:lnTo>
                    <a:pt x="311" y="251"/>
                  </a:lnTo>
                  <a:lnTo>
                    <a:pt x="311" y="249"/>
                  </a:lnTo>
                  <a:lnTo>
                    <a:pt x="317" y="253"/>
                  </a:lnTo>
                  <a:lnTo>
                    <a:pt x="319" y="257"/>
                  </a:lnTo>
                  <a:lnTo>
                    <a:pt x="321" y="257"/>
                  </a:lnTo>
                  <a:lnTo>
                    <a:pt x="321" y="249"/>
                  </a:lnTo>
                  <a:lnTo>
                    <a:pt x="321" y="250"/>
                  </a:lnTo>
                  <a:lnTo>
                    <a:pt x="323" y="249"/>
                  </a:lnTo>
                  <a:lnTo>
                    <a:pt x="324" y="238"/>
                  </a:lnTo>
                  <a:lnTo>
                    <a:pt x="326" y="237"/>
                  </a:lnTo>
                  <a:lnTo>
                    <a:pt x="328" y="237"/>
                  </a:lnTo>
                  <a:lnTo>
                    <a:pt x="328" y="240"/>
                  </a:lnTo>
                  <a:lnTo>
                    <a:pt x="330" y="243"/>
                  </a:lnTo>
                  <a:lnTo>
                    <a:pt x="332" y="244"/>
                  </a:lnTo>
                  <a:lnTo>
                    <a:pt x="335" y="237"/>
                  </a:lnTo>
                  <a:lnTo>
                    <a:pt x="338" y="239"/>
                  </a:lnTo>
                  <a:lnTo>
                    <a:pt x="341" y="244"/>
                  </a:lnTo>
                  <a:lnTo>
                    <a:pt x="343" y="244"/>
                  </a:lnTo>
                  <a:lnTo>
                    <a:pt x="346" y="247"/>
                  </a:lnTo>
                  <a:lnTo>
                    <a:pt x="348" y="241"/>
                  </a:lnTo>
                  <a:lnTo>
                    <a:pt x="362" y="240"/>
                  </a:lnTo>
                  <a:lnTo>
                    <a:pt x="366" y="242"/>
                  </a:lnTo>
                  <a:lnTo>
                    <a:pt x="370" y="246"/>
                  </a:lnTo>
                  <a:lnTo>
                    <a:pt x="372" y="242"/>
                  </a:lnTo>
                  <a:lnTo>
                    <a:pt x="374" y="241"/>
                  </a:lnTo>
                  <a:lnTo>
                    <a:pt x="373" y="235"/>
                  </a:lnTo>
                  <a:lnTo>
                    <a:pt x="365" y="217"/>
                  </a:lnTo>
                  <a:lnTo>
                    <a:pt x="363" y="206"/>
                  </a:lnTo>
                  <a:lnTo>
                    <a:pt x="365" y="197"/>
                  </a:lnTo>
                  <a:lnTo>
                    <a:pt x="370" y="190"/>
                  </a:lnTo>
                  <a:lnTo>
                    <a:pt x="370" y="185"/>
                  </a:lnTo>
                  <a:lnTo>
                    <a:pt x="370" y="178"/>
                  </a:lnTo>
                  <a:lnTo>
                    <a:pt x="359" y="155"/>
                  </a:lnTo>
                  <a:lnTo>
                    <a:pt x="358" y="146"/>
                  </a:lnTo>
                  <a:lnTo>
                    <a:pt x="361" y="135"/>
                  </a:lnTo>
                  <a:lnTo>
                    <a:pt x="360" y="127"/>
                  </a:lnTo>
                  <a:lnTo>
                    <a:pt x="358" y="124"/>
                  </a:lnTo>
                  <a:lnTo>
                    <a:pt x="357" y="116"/>
                  </a:lnTo>
                  <a:lnTo>
                    <a:pt x="357" y="105"/>
                  </a:lnTo>
                  <a:lnTo>
                    <a:pt x="358" y="97"/>
                  </a:lnTo>
                  <a:lnTo>
                    <a:pt x="360" y="90"/>
                  </a:lnTo>
                  <a:lnTo>
                    <a:pt x="359" y="87"/>
                  </a:lnTo>
                  <a:lnTo>
                    <a:pt x="342" y="57"/>
                  </a:lnTo>
                  <a:lnTo>
                    <a:pt x="332" y="48"/>
                  </a:lnTo>
                  <a:lnTo>
                    <a:pt x="314" y="43"/>
                  </a:lnTo>
                  <a:lnTo>
                    <a:pt x="298" y="27"/>
                  </a:lnTo>
                  <a:lnTo>
                    <a:pt x="276" y="3"/>
                  </a:lnTo>
                  <a:lnTo>
                    <a:pt x="275" y="0"/>
                  </a:lnTo>
                  <a:lnTo>
                    <a:pt x="273" y="0"/>
                  </a:lnTo>
                  <a:lnTo>
                    <a:pt x="262" y="0"/>
                  </a:lnTo>
                  <a:lnTo>
                    <a:pt x="259" y="2"/>
                  </a:lnTo>
                  <a:lnTo>
                    <a:pt x="259" y="6"/>
                  </a:lnTo>
                  <a:lnTo>
                    <a:pt x="262" y="9"/>
                  </a:lnTo>
                  <a:lnTo>
                    <a:pt x="263" y="15"/>
                  </a:lnTo>
                  <a:lnTo>
                    <a:pt x="262" y="20"/>
                  </a:lnTo>
                  <a:lnTo>
                    <a:pt x="259" y="22"/>
                  </a:lnTo>
                  <a:lnTo>
                    <a:pt x="257" y="30"/>
                  </a:lnTo>
                  <a:lnTo>
                    <a:pt x="254" y="36"/>
                  </a:lnTo>
                  <a:lnTo>
                    <a:pt x="255" y="41"/>
                  </a:lnTo>
                  <a:lnTo>
                    <a:pt x="260" y="46"/>
                  </a:lnTo>
                  <a:lnTo>
                    <a:pt x="257" y="50"/>
                  </a:lnTo>
                  <a:lnTo>
                    <a:pt x="252" y="52"/>
                  </a:lnTo>
                  <a:lnTo>
                    <a:pt x="229" y="44"/>
                  </a:lnTo>
                  <a:lnTo>
                    <a:pt x="213" y="42"/>
                  </a:lnTo>
                  <a:lnTo>
                    <a:pt x="208" y="43"/>
                  </a:lnTo>
                  <a:lnTo>
                    <a:pt x="205" y="45"/>
                  </a:lnTo>
                  <a:lnTo>
                    <a:pt x="203" y="50"/>
                  </a:lnTo>
                  <a:lnTo>
                    <a:pt x="204" y="62"/>
                  </a:lnTo>
                  <a:lnTo>
                    <a:pt x="203" y="67"/>
                  </a:lnTo>
                  <a:lnTo>
                    <a:pt x="200" y="78"/>
                  </a:lnTo>
                  <a:lnTo>
                    <a:pt x="195" y="87"/>
                  </a:lnTo>
                  <a:lnTo>
                    <a:pt x="193" y="86"/>
                  </a:lnTo>
                  <a:lnTo>
                    <a:pt x="188" y="80"/>
                  </a:lnTo>
                  <a:lnTo>
                    <a:pt x="182" y="76"/>
                  </a:lnTo>
                  <a:lnTo>
                    <a:pt x="176" y="77"/>
                  </a:lnTo>
                  <a:lnTo>
                    <a:pt x="166" y="88"/>
                  </a:lnTo>
                  <a:lnTo>
                    <a:pt x="161" y="93"/>
                  </a:lnTo>
                  <a:lnTo>
                    <a:pt x="159" y="102"/>
                  </a:lnTo>
                  <a:lnTo>
                    <a:pt x="158" y="109"/>
                  </a:lnTo>
                  <a:lnTo>
                    <a:pt x="155" y="114"/>
                  </a:lnTo>
                  <a:lnTo>
                    <a:pt x="148" y="124"/>
                  </a:lnTo>
                  <a:lnTo>
                    <a:pt x="146" y="131"/>
                  </a:lnTo>
                  <a:lnTo>
                    <a:pt x="153" y="142"/>
                  </a:lnTo>
                  <a:lnTo>
                    <a:pt x="154" y="149"/>
                  </a:lnTo>
                  <a:lnTo>
                    <a:pt x="152" y="154"/>
                  </a:lnTo>
                  <a:lnTo>
                    <a:pt x="149" y="160"/>
                  </a:lnTo>
                  <a:lnTo>
                    <a:pt x="142" y="167"/>
                  </a:lnTo>
                  <a:lnTo>
                    <a:pt x="139" y="174"/>
                  </a:lnTo>
                  <a:lnTo>
                    <a:pt x="126" y="190"/>
                  </a:lnTo>
                  <a:lnTo>
                    <a:pt x="123" y="199"/>
                  </a:lnTo>
                  <a:lnTo>
                    <a:pt x="122" y="209"/>
                  </a:lnTo>
                  <a:lnTo>
                    <a:pt x="119" y="216"/>
                  </a:lnTo>
                  <a:lnTo>
                    <a:pt x="110" y="223"/>
                  </a:lnTo>
                  <a:lnTo>
                    <a:pt x="104" y="223"/>
                  </a:lnTo>
                  <a:lnTo>
                    <a:pt x="101" y="225"/>
                  </a:lnTo>
                  <a:lnTo>
                    <a:pt x="101" y="233"/>
                  </a:lnTo>
                  <a:lnTo>
                    <a:pt x="101" y="244"/>
                  </a:lnTo>
                  <a:lnTo>
                    <a:pt x="101" y="259"/>
                  </a:lnTo>
                  <a:lnTo>
                    <a:pt x="96" y="286"/>
                  </a:lnTo>
                  <a:lnTo>
                    <a:pt x="87" y="305"/>
                  </a:lnTo>
                  <a:lnTo>
                    <a:pt x="77" y="321"/>
                  </a:lnTo>
                  <a:lnTo>
                    <a:pt x="78" y="326"/>
                  </a:lnTo>
                  <a:lnTo>
                    <a:pt x="85" y="335"/>
                  </a:lnTo>
                  <a:lnTo>
                    <a:pt x="89" y="341"/>
                  </a:lnTo>
                  <a:lnTo>
                    <a:pt x="88" y="351"/>
                  </a:lnTo>
                  <a:lnTo>
                    <a:pt x="87" y="357"/>
                  </a:lnTo>
                  <a:lnTo>
                    <a:pt x="82" y="364"/>
                  </a:lnTo>
                  <a:lnTo>
                    <a:pt x="74" y="363"/>
                  </a:lnTo>
                  <a:lnTo>
                    <a:pt x="65" y="361"/>
                  </a:lnTo>
                  <a:lnTo>
                    <a:pt x="54" y="364"/>
                  </a:lnTo>
                  <a:lnTo>
                    <a:pt x="45" y="370"/>
                  </a:lnTo>
                  <a:lnTo>
                    <a:pt x="32" y="386"/>
                  </a:lnTo>
                  <a:lnTo>
                    <a:pt x="29" y="394"/>
                  </a:lnTo>
                  <a:lnTo>
                    <a:pt x="27" y="404"/>
                  </a:lnTo>
                  <a:lnTo>
                    <a:pt x="29" y="414"/>
                  </a:lnTo>
                  <a:lnTo>
                    <a:pt x="32" y="421"/>
                  </a:lnTo>
                  <a:lnTo>
                    <a:pt x="35" y="424"/>
                  </a:lnTo>
                  <a:lnTo>
                    <a:pt x="31" y="429"/>
                  </a:lnTo>
                  <a:lnTo>
                    <a:pt x="30" y="435"/>
                  </a:lnTo>
                  <a:lnTo>
                    <a:pt x="29" y="440"/>
                  </a:lnTo>
                  <a:lnTo>
                    <a:pt x="29" y="450"/>
                  </a:lnTo>
                  <a:lnTo>
                    <a:pt x="27" y="455"/>
                  </a:lnTo>
                  <a:lnTo>
                    <a:pt x="27" y="461"/>
                  </a:lnTo>
                  <a:lnTo>
                    <a:pt x="29" y="463"/>
                  </a:lnTo>
                  <a:lnTo>
                    <a:pt x="31" y="471"/>
                  </a:lnTo>
                  <a:lnTo>
                    <a:pt x="30" y="493"/>
                  </a:lnTo>
                  <a:lnTo>
                    <a:pt x="31" y="504"/>
                  </a:lnTo>
                  <a:lnTo>
                    <a:pt x="36" y="512"/>
                  </a:lnTo>
                  <a:lnTo>
                    <a:pt x="47" y="520"/>
                  </a:lnTo>
                  <a:lnTo>
                    <a:pt x="48" y="531"/>
                  </a:lnTo>
                  <a:lnTo>
                    <a:pt x="45" y="540"/>
                  </a:lnTo>
                  <a:lnTo>
                    <a:pt x="39" y="546"/>
                  </a:lnTo>
                  <a:lnTo>
                    <a:pt x="32" y="549"/>
                  </a:lnTo>
                  <a:lnTo>
                    <a:pt x="30" y="553"/>
                  </a:lnTo>
                  <a:lnTo>
                    <a:pt x="36" y="559"/>
                  </a:lnTo>
                  <a:lnTo>
                    <a:pt x="40" y="577"/>
                  </a:lnTo>
                  <a:lnTo>
                    <a:pt x="36" y="592"/>
                  </a:lnTo>
                  <a:lnTo>
                    <a:pt x="39" y="597"/>
                  </a:lnTo>
                  <a:lnTo>
                    <a:pt x="38" y="605"/>
                  </a:lnTo>
                  <a:lnTo>
                    <a:pt x="34" y="610"/>
                  </a:lnTo>
                  <a:lnTo>
                    <a:pt x="20" y="616"/>
                  </a:lnTo>
                  <a:lnTo>
                    <a:pt x="20" y="623"/>
                  </a:lnTo>
                  <a:lnTo>
                    <a:pt x="13" y="634"/>
                  </a:lnTo>
                  <a:lnTo>
                    <a:pt x="14" y="643"/>
                  </a:lnTo>
                  <a:lnTo>
                    <a:pt x="16" y="649"/>
                  </a:lnTo>
                  <a:lnTo>
                    <a:pt x="12" y="669"/>
                  </a:lnTo>
                  <a:lnTo>
                    <a:pt x="8" y="672"/>
                  </a:lnTo>
                  <a:lnTo>
                    <a:pt x="6" y="667"/>
                  </a:lnTo>
                  <a:lnTo>
                    <a:pt x="4" y="674"/>
                  </a:lnTo>
                  <a:lnTo>
                    <a:pt x="4" y="662"/>
                  </a:lnTo>
                  <a:lnTo>
                    <a:pt x="3" y="660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07" name="Freeform 257"/>
            <p:cNvSpPr>
              <a:spLocks/>
            </p:cNvSpPr>
            <p:nvPr/>
          </p:nvSpPr>
          <p:spPr bwMode="auto">
            <a:xfrm>
              <a:off x="2113" y="1602"/>
              <a:ext cx="374" cy="857"/>
            </a:xfrm>
            <a:custGeom>
              <a:avLst/>
              <a:gdLst>
                <a:gd name="T0" fmla="*/ 7 w 374"/>
                <a:gd name="T1" fmla="*/ 699 h 857"/>
                <a:gd name="T2" fmla="*/ 13 w 374"/>
                <a:gd name="T3" fmla="*/ 705 h 857"/>
                <a:gd name="T4" fmla="*/ 22 w 374"/>
                <a:gd name="T5" fmla="*/ 729 h 857"/>
                <a:gd name="T6" fmla="*/ 29 w 374"/>
                <a:gd name="T7" fmla="*/ 767 h 857"/>
                <a:gd name="T8" fmla="*/ 48 w 374"/>
                <a:gd name="T9" fmla="*/ 803 h 857"/>
                <a:gd name="T10" fmla="*/ 47 w 374"/>
                <a:gd name="T11" fmla="*/ 832 h 857"/>
                <a:gd name="T12" fmla="*/ 55 w 374"/>
                <a:gd name="T13" fmla="*/ 855 h 857"/>
                <a:gd name="T14" fmla="*/ 88 w 374"/>
                <a:gd name="T15" fmla="*/ 835 h 857"/>
                <a:gd name="T16" fmla="*/ 119 w 374"/>
                <a:gd name="T17" fmla="*/ 817 h 857"/>
                <a:gd name="T18" fmla="*/ 150 w 374"/>
                <a:gd name="T19" fmla="*/ 775 h 857"/>
                <a:gd name="T20" fmla="*/ 157 w 374"/>
                <a:gd name="T21" fmla="*/ 735 h 857"/>
                <a:gd name="T22" fmla="*/ 158 w 374"/>
                <a:gd name="T23" fmla="*/ 720 h 857"/>
                <a:gd name="T24" fmla="*/ 151 w 374"/>
                <a:gd name="T25" fmla="*/ 694 h 857"/>
                <a:gd name="T26" fmla="*/ 144 w 374"/>
                <a:gd name="T27" fmla="*/ 684 h 857"/>
                <a:gd name="T28" fmla="*/ 183 w 374"/>
                <a:gd name="T29" fmla="*/ 668 h 857"/>
                <a:gd name="T30" fmla="*/ 204 w 374"/>
                <a:gd name="T31" fmla="*/ 649 h 857"/>
                <a:gd name="T32" fmla="*/ 178 w 374"/>
                <a:gd name="T33" fmla="*/ 648 h 857"/>
                <a:gd name="T34" fmla="*/ 151 w 374"/>
                <a:gd name="T35" fmla="*/ 636 h 857"/>
                <a:gd name="T36" fmla="*/ 177 w 374"/>
                <a:gd name="T37" fmla="*/ 636 h 857"/>
                <a:gd name="T38" fmla="*/ 194 w 374"/>
                <a:gd name="T39" fmla="*/ 644 h 857"/>
                <a:gd name="T40" fmla="*/ 206 w 374"/>
                <a:gd name="T41" fmla="*/ 594 h 857"/>
                <a:gd name="T42" fmla="*/ 185 w 374"/>
                <a:gd name="T43" fmla="*/ 574 h 857"/>
                <a:gd name="T44" fmla="*/ 161 w 374"/>
                <a:gd name="T45" fmla="*/ 600 h 857"/>
                <a:gd name="T46" fmla="*/ 167 w 374"/>
                <a:gd name="T47" fmla="*/ 589 h 857"/>
                <a:gd name="T48" fmla="*/ 173 w 374"/>
                <a:gd name="T49" fmla="*/ 554 h 857"/>
                <a:gd name="T50" fmla="*/ 180 w 374"/>
                <a:gd name="T51" fmla="*/ 512 h 857"/>
                <a:gd name="T52" fmla="*/ 178 w 374"/>
                <a:gd name="T53" fmla="*/ 459 h 857"/>
                <a:gd name="T54" fmla="*/ 193 w 374"/>
                <a:gd name="T55" fmla="*/ 444 h 857"/>
                <a:gd name="T56" fmla="*/ 205 w 374"/>
                <a:gd name="T57" fmla="*/ 439 h 857"/>
                <a:gd name="T58" fmla="*/ 215 w 374"/>
                <a:gd name="T59" fmla="*/ 422 h 857"/>
                <a:gd name="T60" fmla="*/ 235 w 374"/>
                <a:gd name="T61" fmla="*/ 399 h 857"/>
                <a:gd name="T62" fmla="*/ 264 w 374"/>
                <a:gd name="T63" fmla="*/ 384 h 857"/>
                <a:gd name="T64" fmla="*/ 291 w 374"/>
                <a:gd name="T65" fmla="*/ 347 h 857"/>
                <a:gd name="T66" fmla="*/ 299 w 374"/>
                <a:gd name="T67" fmla="*/ 333 h 857"/>
                <a:gd name="T68" fmla="*/ 289 w 374"/>
                <a:gd name="T69" fmla="*/ 310 h 857"/>
                <a:gd name="T70" fmla="*/ 297 w 374"/>
                <a:gd name="T71" fmla="*/ 275 h 857"/>
                <a:gd name="T72" fmla="*/ 311 w 374"/>
                <a:gd name="T73" fmla="*/ 262 h 857"/>
                <a:gd name="T74" fmla="*/ 321 w 374"/>
                <a:gd name="T75" fmla="*/ 257 h 857"/>
                <a:gd name="T76" fmla="*/ 328 w 374"/>
                <a:gd name="T77" fmla="*/ 240 h 857"/>
                <a:gd name="T78" fmla="*/ 346 w 374"/>
                <a:gd name="T79" fmla="*/ 247 h 857"/>
                <a:gd name="T80" fmla="*/ 373 w 374"/>
                <a:gd name="T81" fmla="*/ 235 h 857"/>
                <a:gd name="T82" fmla="*/ 359 w 374"/>
                <a:gd name="T83" fmla="*/ 155 h 857"/>
                <a:gd name="T84" fmla="*/ 358 w 374"/>
                <a:gd name="T85" fmla="*/ 97 h 857"/>
                <a:gd name="T86" fmla="*/ 276 w 374"/>
                <a:gd name="T87" fmla="*/ 3 h 857"/>
                <a:gd name="T88" fmla="*/ 263 w 374"/>
                <a:gd name="T89" fmla="*/ 15 h 857"/>
                <a:gd name="T90" fmla="*/ 257 w 374"/>
                <a:gd name="T91" fmla="*/ 50 h 857"/>
                <a:gd name="T92" fmla="*/ 204 w 374"/>
                <a:gd name="T93" fmla="*/ 62 h 857"/>
                <a:gd name="T94" fmla="*/ 176 w 374"/>
                <a:gd name="T95" fmla="*/ 77 h 857"/>
                <a:gd name="T96" fmla="*/ 146 w 374"/>
                <a:gd name="T97" fmla="*/ 131 h 857"/>
                <a:gd name="T98" fmla="*/ 126 w 374"/>
                <a:gd name="T99" fmla="*/ 190 h 857"/>
                <a:gd name="T100" fmla="*/ 101 w 374"/>
                <a:gd name="T101" fmla="*/ 233 h 857"/>
                <a:gd name="T102" fmla="*/ 85 w 374"/>
                <a:gd name="T103" fmla="*/ 335 h 857"/>
                <a:gd name="T104" fmla="*/ 54 w 374"/>
                <a:gd name="T105" fmla="*/ 364 h 857"/>
                <a:gd name="T106" fmla="*/ 35 w 374"/>
                <a:gd name="T107" fmla="*/ 424 h 857"/>
                <a:gd name="T108" fmla="*/ 29 w 374"/>
                <a:gd name="T109" fmla="*/ 463 h 857"/>
                <a:gd name="T110" fmla="*/ 45 w 374"/>
                <a:gd name="T111" fmla="*/ 540 h 857"/>
                <a:gd name="T112" fmla="*/ 39 w 374"/>
                <a:gd name="T113" fmla="*/ 597 h 857"/>
                <a:gd name="T114" fmla="*/ 16 w 374"/>
                <a:gd name="T115" fmla="*/ 649 h 85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74"/>
                <a:gd name="T175" fmla="*/ 0 h 857"/>
                <a:gd name="T176" fmla="*/ 374 w 374"/>
                <a:gd name="T177" fmla="*/ 857 h 85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74" h="857">
                  <a:moveTo>
                    <a:pt x="3" y="660"/>
                  </a:moveTo>
                  <a:lnTo>
                    <a:pt x="0" y="667"/>
                  </a:lnTo>
                  <a:lnTo>
                    <a:pt x="0" y="672"/>
                  </a:lnTo>
                  <a:lnTo>
                    <a:pt x="2" y="694"/>
                  </a:lnTo>
                  <a:lnTo>
                    <a:pt x="3" y="697"/>
                  </a:lnTo>
                  <a:lnTo>
                    <a:pt x="6" y="697"/>
                  </a:lnTo>
                  <a:lnTo>
                    <a:pt x="7" y="699"/>
                  </a:lnTo>
                  <a:lnTo>
                    <a:pt x="7" y="703"/>
                  </a:lnTo>
                  <a:lnTo>
                    <a:pt x="7" y="705"/>
                  </a:lnTo>
                  <a:lnTo>
                    <a:pt x="10" y="702"/>
                  </a:lnTo>
                  <a:lnTo>
                    <a:pt x="11" y="698"/>
                  </a:lnTo>
                  <a:lnTo>
                    <a:pt x="13" y="700"/>
                  </a:lnTo>
                  <a:lnTo>
                    <a:pt x="11" y="705"/>
                  </a:lnTo>
                  <a:lnTo>
                    <a:pt x="13" y="705"/>
                  </a:lnTo>
                  <a:lnTo>
                    <a:pt x="15" y="706"/>
                  </a:lnTo>
                  <a:lnTo>
                    <a:pt x="12" y="708"/>
                  </a:lnTo>
                  <a:lnTo>
                    <a:pt x="8" y="713"/>
                  </a:lnTo>
                  <a:lnTo>
                    <a:pt x="17" y="716"/>
                  </a:lnTo>
                  <a:lnTo>
                    <a:pt x="18" y="721"/>
                  </a:lnTo>
                  <a:lnTo>
                    <a:pt x="17" y="730"/>
                  </a:lnTo>
                  <a:lnTo>
                    <a:pt x="22" y="729"/>
                  </a:lnTo>
                  <a:lnTo>
                    <a:pt x="24" y="735"/>
                  </a:lnTo>
                  <a:lnTo>
                    <a:pt x="20" y="739"/>
                  </a:lnTo>
                  <a:lnTo>
                    <a:pt x="22" y="747"/>
                  </a:lnTo>
                  <a:lnTo>
                    <a:pt x="21" y="753"/>
                  </a:lnTo>
                  <a:lnTo>
                    <a:pt x="26" y="753"/>
                  </a:lnTo>
                  <a:lnTo>
                    <a:pt x="28" y="761"/>
                  </a:lnTo>
                  <a:lnTo>
                    <a:pt x="29" y="767"/>
                  </a:lnTo>
                  <a:lnTo>
                    <a:pt x="32" y="776"/>
                  </a:lnTo>
                  <a:lnTo>
                    <a:pt x="38" y="782"/>
                  </a:lnTo>
                  <a:lnTo>
                    <a:pt x="41" y="788"/>
                  </a:lnTo>
                  <a:lnTo>
                    <a:pt x="47" y="792"/>
                  </a:lnTo>
                  <a:lnTo>
                    <a:pt x="51" y="797"/>
                  </a:lnTo>
                  <a:lnTo>
                    <a:pt x="51" y="801"/>
                  </a:lnTo>
                  <a:lnTo>
                    <a:pt x="48" y="803"/>
                  </a:lnTo>
                  <a:lnTo>
                    <a:pt x="44" y="802"/>
                  </a:lnTo>
                  <a:lnTo>
                    <a:pt x="43" y="804"/>
                  </a:lnTo>
                  <a:lnTo>
                    <a:pt x="47" y="813"/>
                  </a:lnTo>
                  <a:lnTo>
                    <a:pt x="43" y="813"/>
                  </a:lnTo>
                  <a:lnTo>
                    <a:pt x="39" y="811"/>
                  </a:lnTo>
                  <a:lnTo>
                    <a:pt x="39" y="814"/>
                  </a:lnTo>
                  <a:lnTo>
                    <a:pt x="47" y="832"/>
                  </a:lnTo>
                  <a:lnTo>
                    <a:pt x="51" y="838"/>
                  </a:lnTo>
                  <a:lnTo>
                    <a:pt x="53" y="843"/>
                  </a:lnTo>
                  <a:lnTo>
                    <a:pt x="51" y="846"/>
                  </a:lnTo>
                  <a:lnTo>
                    <a:pt x="51" y="852"/>
                  </a:lnTo>
                  <a:lnTo>
                    <a:pt x="49" y="853"/>
                  </a:lnTo>
                  <a:lnTo>
                    <a:pt x="49" y="855"/>
                  </a:lnTo>
                  <a:lnTo>
                    <a:pt x="55" y="855"/>
                  </a:lnTo>
                  <a:lnTo>
                    <a:pt x="61" y="857"/>
                  </a:lnTo>
                  <a:lnTo>
                    <a:pt x="71" y="853"/>
                  </a:lnTo>
                  <a:lnTo>
                    <a:pt x="80" y="853"/>
                  </a:lnTo>
                  <a:lnTo>
                    <a:pt x="85" y="855"/>
                  </a:lnTo>
                  <a:lnTo>
                    <a:pt x="88" y="853"/>
                  </a:lnTo>
                  <a:lnTo>
                    <a:pt x="90" y="846"/>
                  </a:lnTo>
                  <a:lnTo>
                    <a:pt x="88" y="835"/>
                  </a:lnTo>
                  <a:lnTo>
                    <a:pt x="91" y="828"/>
                  </a:lnTo>
                  <a:lnTo>
                    <a:pt x="94" y="821"/>
                  </a:lnTo>
                  <a:lnTo>
                    <a:pt x="99" y="823"/>
                  </a:lnTo>
                  <a:lnTo>
                    <a:pt x="101" y="818"/>
                  </a:lnTo>
                  <a:lnTo>
                    <a:pt x="107" y="815"/>
                  </a:lnTo>
                  <a:lnTo>
                    <a:pt x="114" y="815"/>
                  </a:lnTo>
                  <a:lnTo>
                    <a:pt x="119" y="817"/>
                  </a:lnTo>
                  <a:lnTo>
                    <a:pt x="125" y="815"/>
                  </a:lnTo>
                  <a:lnTo>
                    <a:pt x="131" y="817"/>
                  </a:lnTo>
                  <a:lnTo>
                    <a:pt x="137" y="817"/>
                  </a:lnTo>
                  <a:lnTo>
                    <a:pt x="139" y="807"/>
                  </a:lnTo>
                  <a:lnTo>
                    <a:pt x="144" y="795"/>
                  </a:lnTo>
                  <a:lnTo>
                    <a:pt x="149" y="786"/>
                  </a:lnTo>
                  <a:lnTo>
                    <a:pt x="150" y="775"/>
                  </a:lnTo>
                  <a:lnTo>
                    <a:pt x="152" y="768"/>
                  </a:lnTo>
                  <a:lnTo>
                    <a:pt x="151" y="761"/>
                  </a:lnTo>
                  <a:lnTo>
                    <a:pt x="153" y="755"/>
                  </a:lnTo>
                  <a:lnTo>
                    <a:pt x="156" y="749"/>
                  </a:lnTo>
                  <a:lnTo>
                    <a:pt x="156" y="744"/>
                  </a:lnTo>
                  <a:lnTo>
                    <a:pt x="154" y="740"/>
                  </a:lnTo>
                  <a:lnTo>
                    <a:pt x="157" y="735"/>
                  </a:lnTo>
                  <a:lnTo>
                    <a:pt x="156" y="730"/>
                  </a:lnTo>
                  <a:lnTo>
                    <a:pt x="153" y="727"/>
                  </a:lnTo>
                  <a:lnTo>
                    <a:pt x="153" y="724"/>
                  </a:lnTo>
                  <a:lnTo>
                    <a:pt x="153" y="722"/>
                  </a:lnTo>
                  <a:lnTo>
                    <a:pt x="157" y="723"/>
                  </a:lnTo>
                  <a:lnTo>
                    <a:pt x="159" y="723"/>
                  </a:lnTo>
                  <a:lnTo>
                    <a:pt x="158" y="720"/>
                  </a:lnTo>
                  <a:lnTo>
                    <a:pt x="158" y="717"/>
                  </a:lnTo>
                  <a:lnTo>
                    <a:pt x="160" y="714"/>
                  </a:lnTo>
                  <a:lnTo>
                    <a:pt x="159" y="712"/>
                  </a:lnTo>
                  <a:lnTo>
                    <a:pt x="160" y="703"/>
                  </a:lnTo>
                  <a:lnTo>
                    <a:pt x="160" y="700"/>
                  </a:lnTo>
                  <a:lnTo>
                    <a:pt x="156" y="697"/>
                  </a:lnTo>
                  <a:lnTo>
                    <a:pt x="151" y="694"/>
                  </a:lnTo>
                  <a:lnTo>
                    <a:pt x="152" y="694"/>
                  </a:lnTo>
                  <a:lnTo>
                    <a:pt x="157" y="695"/>
                  </a:lnTo>
                  <a:lnTo>
                    <a:pt x="162" y="695"/>
                  </a:lnTo>
                  <a:lnTo>
                    <a:pt x="163" y="692"/>
                  </a:lnTo>
                  <a:lnTo>
                    <a:pt x="158" y="688"/>
                  </a:lnTo>
                  <a:lnTo>
                    <a:pt x="143" y="686"/>
                  </a:lnTo>
                  <a:lnTo>
                    <a:pt x="144" y="684"/>
                  </a:lnTo>
                  <a:lnTo>
                    <a:pt x="156" y="683"/>
                  </a:lnTo>
                  <a:lnTo>
                    <a:pt x="163" y="685"/>
                  </a:lnTo>
                  <a:lnTo>
                    <a:pt x="166" y="683"/>
                  </a:lnTo>
                  <a:lnTo>
                    <a:pt x="167" y="678"/>
                  </a:lnTo>
                  <a:lnTo>
                    <a:pt x="174" y="678"/>
                  </a:lnTo>
                  <a:lnTo>
                    <a:pt x="180" y="672"/>
                  </a:lnTo>
                  <a:lnTo>
                    <a:pt x="183" y="668"/>
                  </a:lnTo>
                  <a:lnTo>
                    <a:pt x="183" y="662"/>
                  </a:lnTo>
                  <a:lnTo>
                    <a:pt x="187" y="663"/>
                  </a:lnTo>
                  <a:lnTo>
                    <a:pt x="187" y="669"/>
                  </a:lnTo>
                  <a:lnTo>
                    <a:pt x="194" y="669"/>
                  </a:lnTo>
                  <a:lnTo>
                    <a:pt x="197" y="662"/>
                  </a:lnTo>
                  <a:lnTo>
                    <a:pt x="205" y="656"/>
                  </a:lnTo>
                  <a:lnTo>
                    <a:pt x="204" y="649"/>
                  </a:lnTo>
                  <a:lnTo>
                    <a:pt x="206" y="652"/>
                  </a:lnTo>
                  <a:lnTo>
                    <a:pt x="209" y="652"/>
                  </a:lnTo>
                  <a:lnTo>
                    <a:pt x="209" y="649"/>
                  </a:lnTo>
                  <a:lnTo>
                    <a:pt x="213" y="646"/>
                  </a:lnTo>
                  <a:lnTo>
                    <a:pt x="212" y="644"/>
                  </a:lnTo>
                  <a:lnTo>
                    <a:pt x="185" y="649"/>
                  </a:lnTo>
                  <a:lnTo>
                    <a:pt x="178" y="648"/>
                  </a:lnTo>
                  <a:lnTo>
                    <a:pt x="176" y="650"/>
                  </a:lnTo>
                  <a:lnTo>
                    <a:pt x="174" y="647"/>
                  </a:lnTo>
                  <a:lnTo>
                    <a:pt x="171" y="644"/>
                  </a:lnTo>
                  <a:lnTo>
                    <a:pt x="158" y="638"/>
                  </a:lnTo>
                  <a:lnTo>
                    <a:pt x="151" y="640"/>
                  </a:lnTo>
                  <a:lnTo>
                    <a:pt x="148" y="638"/>
                  </a:lnTo>
                  <a:lnTo>
                    <a:pt x="151" y="636"/>
                  </a:lnTo>
                  <a:lnTo>
                    <a:pt x="153" y="633"/>
                  </a:lnTo>
                  <a:lnTo>
                    <a:pt x="157" y="634"/>
                  </a:lnTo>
                  <a:lnTo>
                    <a:pt x="161" y="633"/>
                  </a:lnTo>
                  <a:lnTo>
                    <a:pt x="167" y="634"/>
                  </a:lnTo>
                  <a:lnTo>
                    <a:pt x="168" y="633"/>
                  </a:lnTo>
                  <a:lnTo>
                    <a:pt x="173" y="638"/>
                  </a:lnTo>
                  <a:lnTo>
                    <a:pt x="177" y="636"/>
                  </a:lnTo>
                  <a:lnTo>
                    <a:pt x="177" y="634"/>
                  </a:lnTo>
                  <a:lnTo>
                    <a:pt x="180" y="637"/>
                  </a:lnTo>
                  <a:lnTo>
                    <a:pt x="185" y="638"/>
                  </a:lnTo>
                  <a:lnTo>
                    <a:pt x="186" y="635"/>
                  </a:lnTo>
                  <a:lnTo>
                    <a:pt x="188" y="637"/>
                  </a:lnTo>
                  <a:lnTo>
                    <a:pt x="190" y="643"/>
                  </a:lnTo>
                  <a:lnTo>
                    <a:pt x="194" y="644"/>
                  </a:lnTo>
                  <a:lnTo>
                    <a:pt x="211" y="635"/>
                  </a:lnTo>
                  <a:lnTo>
                    <a:pt x="216" y="625"/>
                  </a:lnTo>
                  <a:lnTo>
                    <a:pt x="219" y="623"/>
                  </a:lnTo>
                  <a:lnTo>
                    <a:pt x="221" y="614"/>
                  </a:lnTo>
                  <a:lnTo>
                    <a:pt x="218" y="606"/>
                  </a:lnTo>
                  <a:lnTo>
                    <a:pt x="211" y="602"/>
                  </a:lnTo>
                  <a:lnTo>
                    <a:pt x="206" y="594"/>
                  </a:lnTo>
                  <a:lnTo>
                    <a:pt x="210" y="594"/>
                  </a:lnTo>
                  <a:lnTo>
                    <a:pt x="210" y="592"/>
                  </a:lnTo>
                  <a:lnTo>
                    <a:pt x="199" y="587"/>
                  </a:lnTo>
                  <a:lnTo>
                    <a:pt x="198" y="582"/>
                  </a:lnTo>
                  <a:lnTo>
                    <a:pt x="196" y="576"/>
                  </a:lnTo>
                  <a:lnTo>
                    <a:pt x="187" y="578"/>
                  </a:lnTo>
                  <a:lnTo>
                    <a:pt x="185" y="574"/>
                  </a:lnTo>
                  <a:lnTo>
                    <a:pt x="184" y="572"/>
                  </a:lnTo>
                  <a:lnTo>
                    <a:pt x="182" y="572"/>
                  </a:lnTo>
                  <a:lnTo>
                    <a:pt x="182" y="574"/>
                  </a:lnTo>
                  <a:lnTo>
                    <a:pt x="178" y="584"/>
                  </a:lnTo>
                  <a:lnTo>
                    <a:pt x="174" y="589"/>
                  </a:lnTo>
                  <a:lnTo>
                    <a:pt x="164" y="597"/>
                  </a:lnTo>
                  <a:lnTo>
                    <a:pt x="161" y="600"/>
                  </a:lnTo>
                  <a:lnTo>
                    <a:pt x="156" y="600"/>
                  </a:lnTo>
                  <a:lnTo>
                    <a:pt x="150" y="601"/>
                  </a:lnTo>
                  <a:lnTo>
                    <a:pt x="146" y="600"/>
                  </a:lnTo>
                  <a:lnTo>
                    <a:pt x="151" y="597"/>
                  </a:lnTo>
                  <a:lnTo>
                    <a:pt x="157" y="596"/>
                  </a:lnTo>
                  <a:lnTo>
                    <a:pt x="162" y="591"/>
                  </a:lnTo>
                  <a:lnTo>
                    <a:pt x="167" y="589"/>
                  </a:lnTo>
                  <a:lnTo>
                    <a:pt x="176" y="581"/>
                  </a:lnTo>
                  <a:lnTo>
                    <a:pt x="177" y="575"/>
                  </a:lnTo>
                  <a:lnTo>
                    <a:pt x="177" y="569"/>
                  </a:lnTo>
                  <a:lnTo>
                    <a:pt x="173" y="568"/>
                  </a:lnTo>
                  <a:lnTo>
                    <a:pt x="175" y="564"/>
                  </a:lnTo>
                  <a:lnTo>
                    <a:pt x="175" y="559"/>
                  </a:lnTo>
                  <a:lnTo>
                    <a:pt x="173" y="554"/>
                  </a:lnTo>
                  <a:lnTo>
                    <a:pt x="172" y="539"/>
                  </a:lnTo>
                  <a:lnTo>
                    <a:pt x="172" y="530"/>
                  </a:lnTo>
                  <a:lnTo>
                    <a:pt x="170" y="518"/>
                  </a:lnTo>
                  <a:lnTo>
                    <a:pt x="171" y="514"/>
                  </a:lnTo>
                  <a:lnTo>
                    <a:pt x="172" y="510"/>
                  </a:lnTo>
                  <a:lnTo>
                    <a:pt x="172" y="507"/>
                  </a:lnTo>
                  <a:lnTo>
                    <a:pt x="180" y="512"/>
                  </a:lnTo>
                  <a:lnTo>
                    <a:pt x="180" y="507"/>
                  </a:lnTo>
                  <a:lnTo>
                    <a:pt x="178" y="496"/>
                  </a:lnTo>
                  <a:lnTo>
                    <a:pt x="180" y="485"/>
                  </a:lnTo>
                  <a:lnTo>
                    <a:pt x="183" y="475"/>
                  </a:lnTo>
                  <a:lnTo>
                    <a:pt x="179" y="470"/>
                  </a:lnTo>
                  <a:lnTo>
                    <a:pt x="178" y="466"/>
                  </a:lnTo>
                  <a:lnTo>
                    <a:pt x="178" y="459"/>
                  </a:lnTo>
                  <a:lnTo>
                    <a:pt x="186" y="463"/>
                  </a:lnTo>
                  <a:lnTo>
                    <a:pt x="187" y="462"/>
                  </a:lnTo>
                  <a:lnTo>
                    <a:pt x="189" y="460"/>
                  </a:lnTo>
                  <a:lnTo>
                    <a:pt x="192" y="456"/>
                  </a:lnTo>
                  <a:lnTo>
                    <a:pt x="192" y="454"/>
                  </a:lnTo>
                  <a:lnTo>
                    <a:pt x="192" y="453"/>
                  </a:lnTo>
                  <a:lnTo>
                    <a:pt x="193" y="444"/>
                  </a:lnTo>
                  <a:lnTo>
                    <a:pt x="191" y="438"/>
                  </a:lnTo>
                  <a:lnTo>
                    <a:pt x="191" y="434"/>
                  </a:lnTo>
                  <a:lnTo>
                    <a:pt x="192" y="439"/>
                  </a:lnTo>
                  <a:lnTo>
                    <a:pt x="197" y="443"/>
                  </a:lnTo>
                  <a:lnTo>
                    <a:pt x="199" y="442"/>
                  </a:lnTo>
                  <a:lnTo>
                    <a:pt x="202" y="437"/>
                  </a:lnTo>
                  <a:lnTo>
                    <a:pt x="205" y="439"/>
                  </a:lnTo>
                  <a:lnTo>
                    <a:pt x="206" y="435"/>
                  </a:lnTo>
                  <a:lnTo>
                    <a:pt x="208" y="432"/>
                  </a:lnTo>
                  <a:lnTo>
                    <a:pt x="202" y="429"/>
                  </a:lnTo>
                  <a:lnTo>
                    <a:pt x="206" y="430"/>
                  </a:lnTo>
                  <a:lnTo>
                    <a:pt x="211" y="426"/>
                  </a:lnTo>
                  <a:lnTo>
                    <a:pt x="211" y="424"/>
                  </a:lnTo>
                  <a:lnTo>
                    <a:pt x="215" y="422"/>
                  </a:lnTo>
                  <a:lnTo>
                    <a:pt x="215" y="417"/>
                  </a:lnTo>
                  <a:lnTo>
                    <a:pt x="218" y="416"/>
                  </a:lnTo>
                  <a:lnTo>
                    <a:pt x="219" y="410"/>
                  </a:lnTo>
                  <a:lnTo>
                    <a:pt x="222" y="409"/>
                  </a:lnTo>
                  <a:lnTo>
                    <a:pt x="227" y="410"/>
                  </a:lnTo>
                  <a:lnTo>
                    <a:pt x="233" y="405"/>
                  </a:lnTo>
                  <a:lnTo>
                    <a:pt x="235" y="399"/>
                  </a:lnTo>
                  <a:lnTo>
                    <a:pt x="243" y="394"/>
                  </a:lnTo>
                  <a:lnTo>
                    <a:pt x="246" y="397"/>
                  </a:lnTo>
                  <a:lnTo>
                    <a:pt x="252" y="393"/>
                  </a:lnTo>
                  <a:lnTo>
                    <a:pt x="253" y="388"/>
                  </a:lnTo>
                  <a:lnTo>
                    <a:pt x="257" y="385"/>
                  </a:lnTo>
                  <a:lnTo>
                    <a:pt x="261" y="386"/>
                  </a:lnTo>
                  <a:lnTo>
                    <a:pt x="264" y="384"/>
                  </a:lnTo>
                  <a:lnTo>
                    <a:pt x="270" y="380"/>
                  </a:lnTo>
                  <a:lnTo>
                    <a:pt x="273" y="375"/>
                  </a:lnTo>
                  <a:lnTo>
                    <a:pt x="276" y="374"/>
                  </a:lnTo>
                  <a:lnTo>
                    <a:pt x="280" y="365"/>
                  </a:lnTo>
                  <a:lnTo>
                    <a:pt x="281" y="360"/>
                  </a:lnTo>
                  <a:lnTo>
                    <a:pt x="288" y="353"/>
                  </a:lnTo>
                  <a:lnTo>
                    <a:pt x="291" y="347"/>
                  </a:lnTo>
                  <a:lnTo>
                    <a:pt x="294" y="340"/>
                  </a:lnTo>
                  <a:lnTo>
                    <a:pt x="297" y="337"/>
                  </a:lnTo>
                  <a:lnTo>
                    <a:pt x="297" y="340"/>
                  </a:lnTo>
                  <a:lnTo>
                    <a:pt x="297" y="346"/>
                  </a:lnTo>
                  <a:lnTo>
                    <a:pt x="301" y="339"/>
                  </a:lnTo>
                  <a:lnTo>
                    <a:pt x="302" y="336"/>
                  </a:lnTo>
                  <a:lnTo>
                    <a:pt x="299" y="333"/>
                  </a:lnTo>
                  <a:lnTo>
                    <a:pt x="299" y="330"/>
                  </a:lnTo>
                  <a:lnTo>
                    <a:pt x="291" y="323"/>
                  </a:lnTo>
                  <a:lnTo>
                    <a:pt x="291" y="319"/>
                  </a:lnTo>
                  <a:lnTo>
                    <a:pt x="292" y="318"/>
                  </a:lnTo>
                  <a:lnTo>
                    <a:pt x="291" y="315"/>
                  </a:lnTo>
                  <a:lnTo>
                    <a:pt x="289" y="311"/>
                  </a:lnTo>
                  <a:lnTo>
                    <a:pt x="289" y="310"/>
                  </a:lnTo>
                  <a:lnTo>
                    <a:pt x="291" y="308"/>
                  </a:lnTo>
                  <a:lnTo>
                    <a:pt x="292" y="304"/>
                  </a:lnTo>
                  <a:lnTo>
                    <a:pt x="297" y="302"/>
                  </a:lnTo>
                  <a:lnTo>
                    <a:pt x="301" y="289"/>
                  </a:lnTo>
                  <a:lnTo>
                    <a:pt x="302" y="286"/>
                  </a:lnTo>
                  <a:lnTo>
                    <a:pt x="297" y="276"/>
                  </a:lnTo>
                  <a:lnTo>
                    <a:pt x="297" y="275"/>
                  </a:lnTo>
                  <a:lnTo>
                    <a:pt x="303" y="271"/>
                  </a:lnTo>
                  <a:lnTo>
                    <a:pt x="303" y="267"/>
                  </a:lnTo>
                  <a:lnTo>
                    <a:pt x="306" y="267"/>
                  </a:lnTo>
                  <a:lnTo>
                    <a:pt x="310" y="269"/>
                  </a:lnTo>
                  <a:lnTo>
                    <a:pt x="312" y="268"/>
                  </a:lnTo>
                  <a:lnTo>
                    <a:pt x="312" y="265"/>
                  </a:lnTo>
                  <a:lnTo>
                    <a:pt x="311" y="262"/>
                  </a:lnTo>
                  <a:lnTo>
                    <a:pt x="316" y="262"/>
                  </a:lnTo>
                  <a:lnTo>
                    <a:pt x="316" y="259"/>
                  </a:lnTo>
                  <a:lnTo>
                    <a:pt x="311" y="251"/>
                  </a:lnTo>
                  <a:lnTo>
                    <a:pt x="311" y="249"/>
                  </a:lnTo>
                  <a:lnTo>
                    <a:pt x="317" y="253"/>
                  </a:lnTo>
                  <a:lnTo>
                    <a:pt x="319" y="257"/>
                  </a:lnTo>
                  <a:lnTo>
                    <a:pt x="321" y="257"/>
                  </a:lnTo>
                  <a:lnTo>
                    <a:pt x="321" y="249"/>
                  </a:lnTo>
                  <a:lnTo>
                    <a:pt x="321" y="250"/>
                  </a:lnTo>
                  <a:lnTo>
                    <a:pt x="323" y="249"/>
                  </a:lnTo>
                  <a:lnTo>
                    <a:pt x="324" y="238"/>
                  </a:lnTo>
                  <a:lnTo>
                    <a:pt x="326" y="237"/>
                  </a:lnTo>
                  <a:lnTo>
                    <a:pt x="328" y="237"/>
                  </a:lnTo>
                  <a:lnTo>
                    <a:pt x="328" y="240"/>
                  </a:lnTo>
                  <a:lnTo>
                    <a:pt x="330" y="243"/>
                  </a:lnTo>
                  <a:lnTo>
                    <a:pt x="332" y="244"/>
                  </a:lnTo>
                  <a:lnTo>
                    <a:pt x="335" y="237"/>
                  </a:lnTo>
                  <a:lnTo>
                    <a:pt x="338" y="239"/>
                  </a:lnTo>
                  <a:lnTo>
                    <a:pt x="341" y="244"/>
                  </a:lnTo>
                  <a:lnTo>
                    <a:pt x="343" y="244"/>
                  </a:lnTo>
                  <a:lnTo>
                    <a:pt x="346" y="247"/>
                  </a:lnTo>
                  <a:lnTo>
                    <a:pt x="348" y="241"/>
                  </a:lnTo>
                  <a:lnTo>
                    <a:pt x="362" y="240"/>
                  </a:lnTo>
                  <a:lnTo>
                    <a:pt x="366" y="242"/>
                  </a:lnTo>
                  <a:lnTo>
                    <a:pt x="370" y="246"/>
                  </a:lnTo>
                  <a:lnTo>
                    <a:pt x="372" y="242"/>
                  </a:lnTo>
                  <a:lnTo>
                    <a:pt x="374" y="241"/>
                  </a:lnTo>
                  <a:lnTo>
                    <a:pt x="373" y="235"/>
                  </a:lnTo>
                  <a:lnTo>
                    <a:pt x="365" y="217"/>
                  </a:lnTo>
                  <a:lnTo>
                    <a:pt x="363" y="206"/>
                  </a:lnTo>
                  <a:lnTo>
                    <a:pt x="365" y="197"/>
                  </a:lnTo>
                  <a:lnTo>
                    <a:pt x="370" y="190"/>
                  </a:lnTo>
                  <a:lnTo>
                    <a:pt x="370" y="185"/>
                  </a:lnTo>
                  <a:lnTo>
                    <a:pt x="370" y="178"/>
                  </a:lnTo>
                  <a:lnTo>
                    <a:pt x="359" y="155"/>
                  </a:lnTo>
                  <a:lnTo>
                    <a:pt x="358" y="146"/>
                  </a:lnTo>
                  <a:lnTo>
                    <a:pt x="361" y="135"/>
                  </a:lnTo>
                  <a:lnTo>
                    <a:pt x="360" y="127"/>
                  </a:lnTo>
                  <a:lnTo>
                    <a:pt x="358" y="124"/>
                  </a:lnTo>
                  <a:lnTo>
                    <a:pt x="357" y="116"/>
                  </a:lnTo>
                  <a:lnTo>
                    <a:pt x="357" y="105"/>
                  </a:lnTo>
                  <a:lnTo>
                    <a:pt x="358" y="97"/>
                  </a:lnTo>
                  <a:lnTo>
                    <a:pt x="360" y="90"/>
                  </a:lnTo>
                  <a:lnTo>
                    <a:pt x="359" y="87"/>
                  </a:lnTo>
                  <a:lnTo>
                    <a:pt x="342" y="57"/>
                  </a:lnTo>
                  <a:lnTo>
                    <a:pt x="332" y="48"/>
                  </a:lnTo>
                  <a:lnTo>
                    <a:pt x="314" y="43"/>
                  </a:lnTo>
                  <a:lnTo>
                    <a:pt x="298" y="27"/>
                  </a:lnTo>
                  <a:lnTo>
                    <a:pt x="276" y="3"/>
                  </a:lnTo>
                  <a:lnTo>
                    <a:pt x="275" y="0"/>
                  </a:lnTo>
                  <a:lnTo>
                    <a:pt x="273" y="0"/>
                  </a:lnTo>
                  <a:lnTo>
                    <a:pt x="262" y="0"/>
                  </a:lnTo>
                  <a:lnTo>
                    <a:pt x="259" y="2"/>
                  </a:lnTo>
                  <a:lnTo>
                    <a:pt x="259" y="6"/>
                  </a:lnTo>
                  <a:lnTo>
                    <a:pt x="262" y="9"/>
                  </a:lnTo>
                  <a:lnTo>
                    <a:pt x="263" y="15"/>
                  </a:lnTo>
                  <a:lnTo>
                    <a:pt x="262" y="20"/>
                  </a:lnTo>
                  <a:lnTo>
                    <a:pt x="259" y="22"/>
                  </a:lnTo>
                  <a:lnTo>
                    <a:pt x="257" y="30"/>
                  </a:lnTo>
                  <a:lnTo>
                    <a:pt x="254" y="36"/>
                  </a:lnTo>
                  <a:lnTo>
                    <a:pt x="255" y="41"/>
                  </a:lnTo>
                  <a:lnTo>
                    <a:pt x="260" y="46"/>
                  </a:lnTo>
                  <a:lnTo>
                    <a:pt x="257" y="50"/>
                  </a:lnTo>
                  <a:lnTo>
                    <a:pt x="252" y="52"/>
                  </a:lnTo>
                  <a:lnTo>
                    <a:pt x="229" y="44"/>
                  </a:lnTo>
                  <a:lnTo>
                    <a:pt x="213" y="42"/>
                  </a:lnTo>
                  <a:lnTo>
                    <a:pt x="208" y="43"/>
                  </a:lnTo>
                  <a:lnTo>
                    <a:pt x="205" y="45"/>
                  </a:lnTo>
                  <a:lnTo>
                    <a:pt x="203" y="50"/>
                  </a:lnTo>
                  <a:lnTo>
                    <a:pt x="204" y="62"/>
                  </a:lnTo>
                  <a:lnTo>
                    <a:pt x="203" y="67"/>
                  </a:lnTo>
                  <a:lnTo>
                    <a:pt x="200" y="78"/>
                  </a:lnTo>
                  <a:lnTo>
                    <a:pt x="195" y="87"/>
                  </a:lnTo>
                  <a:lnTo>
                    <a:pt x="193" y="86"/>
                  </a:lnTo>
                  <a:lnTo>
                    <a:pt x="188" y="80"/>
                  </a:lnTo>
                  <a:lnTo>
                    <a:pt x="182" y="76"/>
                  </a:lnTo>
                  <a:lnTo>
                    <a:pt x="176" y="77"/>
                  </a:lnTo>
                  <a:lnTo>
                    <a:pt x="166" y="88"/>
                  </a:lnTo>
                  <a:lnTo>
                    <a:pt x="161" y="93"/>
                  </a:lnTo>
                  <a:lnTo>
                    <a:pt x="159" y="102"/>
                  </a:lnTo>
                  <a:lnTo>
                    <a:pt x="158" y="109"/>
                  </a:lnTo>
                  <a:lnTo>
                    <a:pt x="155" y="114"/>
                  </a:lnTo>
                  <a:lnTo>
                    <a:pt x="148" y="124"/>
                  </a:lnTo>
                  <a:lnTo>
                    <a:pt x="146" y="131"/>
                  </a:lnTo>
                  <a:lnTo>
                    <a:pt x="153" y="142"/>
                  </a:lnTo>
                  <a:lnTo>
                    <a:pt x="154" y="149"/>
                  </a:lnTo>
                  <a:lnTo>
                    <a:pt x="152" y="154"/>
                  </a:lnTo>
                  <a:lnTo>
                    <a:pt x="149" y="160"/>
                  </a:lnTo>
                  <a:lnTo>
                    <a:pt x="142" y="167"/>
                  </a:lnTo>
                  <a:lnTo>
                    <a:pt x="139" y="174"/>
                  </a:lnTo>
                  <a:lnTo>
                    <a:pt x="126" y="190"/>
                  </a:lnTo>
                  <a:lnTo>
                    <a:pt x="123" y="199"/>
                  </a:lnTo>
                  <a:lnTo>
                    <a:pt x="122" y="209"/>
                  </a:lnTo>
                  <a:lnTo>
                    <a:pt x="119" y="216"/>
                  </a:lnTo>
                  <a:lnTo>
                    <a:pt x="110" y="223"/>
                  </a:lnTo>
                  <a:lnTo>
                    <a:pt x="104" y="223"/>
                  </a:lnTo>
                  <a:lnTo>
                    <a:pt x="101" y="225"/>
                  </a:lnTo>
                  <a:lnTo>
                    <a:pt x="101" y="233"/>
                  </a:lnTo>
                  <a:lnTo>
                    <a:pt x="101" y="244"/>
                  </a:lnTo>
                  <a:lnTo>
                    <a:pt x="101" y="259"/>
                  </a:lnTo>
                  <a:lnTo>
                    <a:pt x="96" y="286"/>
                  </a:lnTo>
                  <a:lnTo>
                    <a:pt x="87" y="305"/>
                  </a:lnTo>
                  <a:lnTo>
                    <a:pt x="77" y="321"/>
                  </a:lnTo>
                  <a:lnTo>
                    <a:pt x="78" y="326"/>
                  </a:lnTo>
                  <a:lnTo>
                    <a:pt x="85" y="335"/>
                  </a:lnTo>
                  <a:lnTo>
                    <a:pt x="89" y="341"/>
                  </a:lnTo>
                  <a:lnTo>
                    <a:pt x="88" y="351"/>
                  </a:lnTo>
                  <a:lnTo>
                    <a:pt x="87" y="357"/>
                  </a:lnTo>
                  <a:lnTo>
                    <a:pt x="82" y="364"/>
                  </a:lnTo>
                  <a:lnTo>
                    <a:pt x="74" y="363"/>
                  </a:lnTo>
                  <a:lnTo>
                    <a:pt x="65" y="361"/>
                  </a:lnTo>
                  <a:lnTo>
                    <a:pt x="54" y="364"/>
                  </a:lnTo>
                  <a:lnTo>
                    <a:pt x="45" y="370"/>
                  </a:lnTo>
                  <a:lnTo>
                    <a:pt x="32" y="386"/>
                  </a:lnTo>
                  <a:lnTo>
                    <a:pt x="29" y="394"/>
                  </a:lnTo>
                  <a:lnTo>
                    <a:pt x="27" y="404"/>
                  </a:lnTo>
                  <a:lnTo>
                    <a:pt x="29" y="414"/>
                  </a:lnTo>
                  <a:lnTo>
                    <a:pt x="32" y="421"/>
                  </a:lnTo>
                  <a:lnTo>
                    <a:pt x="35" y="424"/>
                  </a:lnTo>
                  <a:lnTo>
                    <a:pt x="31" y="429"/>
                  </a:lnTo>
                  <a:lnTo>
                    <a:pt x="30" y="435"/>
                  </a:lnTo>
                  <a:lnTo>
                    <a:pt x="29" y="440"/>
                  </a:lnTo>
                  <a:lnTo>
                    <a:pt x="29" y="450"/>
                  </a:lnTo>
                  <a:lnTo>
                    <a:pt x="27" y="455"/>
                  </a:lnTo>
                  <a:lnTo>
                    <a:pt x="27" y="461"/>
                  </a:lnTo>
                  <a:lnTo>
                    <a:pt x="29" y="463"/>
                  </a:lnTo>
                  <a:lnTo>
                    <a:pt x="31" y="471"/>
                  </a:lnTo>
                  <a:lnTo>
                    <a:pt x="30" y="493"/>
                  </a:lnTo>
                  <a:lnTo>
                    <a:pt x="31" y="504"/>
                  </a:lnTo>
                  <a:lnTo>
                    <a:pt x="36" y="512"/>
                  </a:lnTo>
                  <a:lnTo>
                    <a:pt x="47" y="520"/>
                  </a:lnTo>
                  <a:lnTo>
                    <a:pt x="48" y="531"/>
                  </a:lnTo>
                  <a:lnTo>
                    <a:pt x="45" y="540"/>
                  </a:lnTo>
                  <a:lnTo>
                    <a:pt x="39" y="546"/>
                  </a:lnTo>
                  <a:lnTo>
                    <a:pt x="32" y="549"/>
                  </a:lnTo>
                  <a:lnTo>
                    <a:pt x="30" y="553"/>
                  </a:lnTo>
                  <a:lnTo>
                    <a:pt x="36" y="559"/>
                  </a:lnTo>
                  <a:lnTo>
                    <a:pt x="40" y="577"/>
                  </a:lnTo>
                  <a:lnTo>
                    <a:pt x="36" y="592"/>
                  </a:lnTo>
                  <a:lnTo>
                    <a:pt x="39" y="597"/>
                  </a:lnTo>
                  <a:lnTo>
                    <a:pt x="38" y="605"/>
                  </a:lnTo>
                  <a:lnTo>
                    <a:pt x="34" y="610"/>
                  </a:lnTo>
                  <a:lnTo>
                    <a:pt x="20" y="616"/>
                  </a:lnTo>
                  <a:lnTo>
                    <a:pt x="20" y="623"/>
                  </a:lnTo>
                  <a:lnTo>
                    <a:pt x="13" y="634"/>
                  </a:lnTo>
                  <a:lnTo>
                    <a:pt x="14" y="643"/>
                  </a:lnTo>
                  <a:lnTo>
                    <a:pt x="16" y="649"/>
                  </a:lnTo>
                  <a:lnTo>
                    <a:pt x="12" y="669"/>
                  </a:lnTo>
                  <a:lnTo>
                    <a:pt x="8" y="672"/>
                  </a:lnTo>
                  <a:lnTo>
                    <a:pt x="6" y="667"/>
                  </a:lnTo>
                  <a:lnTo>
                    <a:pt x="4" y="674"/>
                  </a:lnTo>
                  <a:lnTo>
                    <a:pt x="4" y="662"/>
                  </a:lnTo>
                  <a:lnTo>
                    <a:pt x="3" y="66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80" name="Group 261"/>
          <p:cNvGrpSpPr>
            <a:grpSpLocks/>
          </p:cNvGrpSpPr>
          <p:nvPr/>
        </p:nvGrpSpPr>
        <p:grpSpPr bwMode="auto">
          <a:xfrm>
            <a:off x="4322763" y="3941763"/>
            <a:ext cx="407987" cy="546100"/>
            <a:chOff x="1965" y="2483"/>
            <a:chExt cx="257" cy="344"/>
          </a:xfrm>
        </p:grpSpPr>
        <p:sp>
          <p:nvSpPr>
            <p:cNvPr id="34304" name="Freeform 259"/>
            <p:cNvSpPr>
              <a:spLocks/>
            </p:cNvSpPr>
            <p:nvPr/>
          </p:nvSpPr>
          <p:spPr bwMode="auto">
            <a:xfrm>
              <a:off x="1965" y="2483"/>
              <a:ext cx="257" cy="344"/>
            </a:xfrm>
            <a:custGeom>
              <a:avLst/>
              <a:gdLst>
                <a:gd name="T0" fmla="*/ 142 w 257"/>
                <a:gd name="T1" fmla="*/ 36 h 344"/>
                <a:gd name="T2" fmla="*/ 134 w 257"/>
                <a:gd name="T3" fmla="*/ 29 h 344"/>
                <a:gd name="T4" fmla="*/ 120 w 257"/>
                <a:gd name="T5" fmla="*/ 26 h 344"/>
                <a:gd name="T6" fmla="*/ 111 w 257"/>
                <a:gd name="T7" fmla="*/ 21 h 344"/>
                <a:gd name="T8" fmla="*/ 103 w 257"/>
                <a:gd name="T9" fmla="*/ 3 h 344"/>
                <a:gd name="T10" fmla="*/ 83 w 257"/>
                <a:gd name="T11" fmla="*/ 0 h 344"/>
                <a:gd name="T12" fmla="*/ 86 w 257"/>
                <a:gd name="T13" fmla="*/ 17 h 344"/>
                <a:gd name="T14" fmla="*/ 78 w 257"/>
                <a:gd name="T15" fmla="*/ 29 h 344"/>
                <a:gd name="T16" fmla="*/ 84 w 257"/>
                <a:gd name="T17" fmla="*/ 37 h 344"/>
                <a:gd name="T18" fmla="*/ 83 w 257"/>
                <a:gd name="T19" fmla="*/ 46 h 344"/>
                <a:gd name="T20" fmla="*/ 76 w 257"/>
                <a:gd name="T21" fmla="*/ 56 h 344"/>
                <a:gd name="T22" fmla="*/ 75 w 257"/>
                <a:gd name="T23" fmla="*/ 74 h 344"/>
                <a:gd name="T24" fmla="*/ 64 w 257"/>
                <a:gd name="T25" fmla="*/ 72 h 344"/>
                <a:gd name="T26" fmla="*/ 38 w 257"/>
                <a:gd name="T27" fmla="*/ 62 h 344"/>
                <a:gd name="T28" fmla="*/ 33 w 257"/>
                <a:gd name="T29" fmla="*/ 73 h 344"/>
                <a:gd name="T30" fmla="*/ 45 w 257"/>
                <a:gd name="T31" fmla="*/ 84 h 344"/>
                <a:gd name="T32" fmla="*/ 28 w 257"/>
                <a:gd name="T33" fmla="*/ 105 h 344"/>
                <a:gd name="T34" fmla="*/ 30 w 257"/>
                <a:gd name="T35" fmla="*/ 125 h 344"/>
                <a:gd name="T36" fmla="*/ 18 w 257"/>
                <a:gd name="T37" fmla="*/ 145 h 344"/>
                <a:gd name="T38" fmla="*/ 1 w 257"/>
                <a:gd name="T39" fmla="*/ 148 h 344"/>
                <a:gd name="T40" fmla="*/ 3 w 257"/>
                <a:gd name="T41" fmla="*/ 177 h 344"/>
                <a:gd name="T42" fmla="*/ 2 w 257"/>
                <a:gd name="T43" fmla="*/ 197 h 344"/>
                <a:gd name="T44" fmla="*/ 9 w 257"/>
                <a:gd name="T45" fmla="*/ 214 h 344"/>
                <a:gd name="T46" fmla="*/ 6 w 257"/>
                <a:gd name="T47" fmla="*/ 233 h 344"/>
                <a:gd name="T48" fmla="*/ 9 w 257"/>
                <a:gd name="T49" fmla="*/ 250 h 344"/>
                <a:gd name="T50" fmla="*/ 32 w 257"/>
                <a:gd name="T51" fmla="*/ 266 h 344"/>
                <a:gd name="T52" fmla="*/ 50 w 257"/>
                <a:gd name="T53" fmla="*/ 293 h 344"/>
                <a:gd name="T54" fmla="*/ 45 w 257"/>
                <a:gd name="T55" fmla="*/ 332 h 344"/>
                <a:gd name="T56" fmla="*/ 82 w 257"/>
                <a:gd name="T57" fmla="*/ 331 h 344"/>
                <a:gd name="T58" fmla="*/ 112 w 257"/>
                <a:gd name="T59" fmla="*/ 336 h 344"/>
                <a:gd name="T60" fmla="*/ 127 w 257"/>
                <a:gd name="T61" fmla="*/ 343 h 344"/>
                <a:gd name="T62" fmla="*/ 145 w 257"/>
                <a:gd name="T63" fmla="*/ 340 h 344"/>
                <a:gd name="T64" fmla="*/ 182 w 257"/>
                <a:gd name="T65" fmla="*/ 329 h 344"/>
                <a:gd name="T66" fmla="*/ 202 w 257"/>
                <a:gd name="T67" fmla="*/ 333 h 344"/>
                <a:gd name="T68" fmla="*/ 200 w 257"/>
                <a:gd name="T69" fmla="*/ 306 h 344"/>
                <a:gd name="T70" fmla="*/ 225 w 257"/>
                <a:gd name="T71" fmla="*/ 289 h 344"/>
                <a:gd name="T72" fmla="*/ 205 w 257"/>
                <a:gd name="T73" fmla="*/ 264 h 344"/>
                <a:gd name="T74" fmla="*/ 183 w 257"/>
                <a:gd name="T75" fmla="*/ 230 h 344"/>
                <a:gd name="T76" fmla="*/ 173 w 257"/>
                <a:gd name="T77" fmla="*/ 215 h 344"/>
                <a:gd name="T78" fmla="*/ 193 w 257"/>
                <a:gd name="T79" fmla="*/ 211 h 344"/>
                <a:gd name="T80" fmla="*/ 235 w 257"/>
                <a:gd name="T81" fmla="*/ 191 h 344"/>
                <a:gd name="T82" fmla="*/ 249 w 257"/>
                <a:gd name="T83" fmla="*/ 192 h 344"/>
                <a:gd name="T84" fmla="*/ 257 w 257"/>
                <a:gd name="T85" fmla="*/ 167 h 344"/>
                <a:gd name="T86" fmla="*/ 247 w 257"/>
                <a:gd name="T87" fmla="*/ 137 h 344"/>
                <a:gd name="T88" fmla="*/ 243 w 257"/>
                <a:gd name="T89" fmla="*/ 107 h 344"/>
                <a:gd name="T90" fmla="*/ 240 w 257"/>
                <a:gd name="T91" fmla="*/ 85 h 344"/>
                <a:gd name="T92" fmla="*/ 236 w 257"/>
                <a:gd name="T93" fmla="*/ 56 h 344"/>
                <a:gd name="T94" fmla="*/ 213 w 257"/>
                <a:gd name="T95" fmla="*/ 39 h 344"/>
                <a:gd name="T96" fmla="*/ 203 w 257"/>
                <a:gd name="T97" fmla="*/ 29 h 344"/>
                <a:gd name="T98" fmla="*/ 184 w 257"/>
                <a:gd name="T99" fmla="*/ 31 h 344"/>
                <a:gd name="T100" fmla="*/ 190 w 257"/>
                <a:gd name="T101" fmla="*/ 22 h 344"/>
                <a:gd name="T102" fmla="*/ 174 w 257"/>
                <a:gd name="T103" fmla="*/ 38 h 344"/>
                <a:gd name="T104" fmla="*/ 157 w 257"/>
                <a:gd name="T105" fmla="*/ 47 h 344"/>
                <a:gd name="T106" fmla="*/ 138 w 257"/>
                <a:gd name="T107" fmla="*/ 46 h 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57"/>
                <a:gd name="T163" fmla="*/ 0 h 344"/>
                <a:gd name="T164" fmla="*/ 257 w 257"/>
                <a:gd name="T165" fmla="*/ 344 h 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57" h="344">
                  <a:moveTo>
                    <a:pt x="138" y="46"/>
                  </a:moveTo>
                  <a:lnTo>
                    <a:pt x="136" y="44"/>
                  </a:lnTo>
                  <a:lnTo>
                    <a:pt x="138" y="39"/>
                  </a:lnTo>
                  <a:lnTo>
                    <a:pt x="142" y="36"/>
                  </a:lnTo>
                  <a:lnTo>
                    <a:pt x="145" y="33"/>
                  </a:lnTo>
                  <a:lnTo>
                    <a:pt x="145" y="28"/>
                  </a:lnTo>
                  <a:lnTo>
                    <a:pt x="143" y="26"/>
                  </a:lnTo>
                  <a:lnTo>
                    <a:pt x="134" y="29"/>
                  </a:lnTo>
                  <a:lnTo>
                    <a:pt x="131" y="29"/>
                  </a:lnTo>
                  <a:lnTo>
                    <a:pt x="129" y="26"/>
                  </a:lnTo>
                  <a:lnTo>
                    <a:pt x="122" y="23"/>
                  </a:lnTo>
                  <a:lnTo>
                    <a:pt x="120" y="26"/>
                  </a:lnTo>
                  <a:lnTo>
                    <a:pt x="117" y="26"/>
                  </a:lnTo>
                  <a:lnTo>
                    <a:pt x="117" y="22"/>
                  </a:lnTo>
                  <a:lnTo>
                    <a:pt x="113" y="22"/>
                  </a:lnTo>
                  <a:lnTo>
                    <a:pt x="111" y="21"/>
                  </a:lnTo>
                  <a:lnTo>
                    <a:pt x="114" y="17"/>
                  </a:lnTo>
                  <a:lnTo>
                    <a:pt x="114" y="12"/>
                  </a:lnTo>
                  <a:lnTo>
                    <a:pt x="112" y="6"/>
                  </a:lnTo>
                  <a:lnTo>
                    <a:pt x="103" y="3"/>
                  </a:lnTo>
                  <a:lnTo>
                    <a:pt x="99" y="4"/>
                  </a:lnTo>
                  <a:lnTo>
                    <a:pt x="100" y="1"/>
                  </a:lnTo>
                  <a:lnTo>
                    <a:pt x="95" y="3"/>
                  </a:lnTo>
                  <a:lnTo>
                    <a:pt x="83" y="0"/>
                  </a:lnTo>
                  <a:lnTo>
                    <a:pt x="79" y="1"/>
                  </a:lnTo>
                  <a:lnTo>
                    <a:pt x="78" y="6"/>
                  </a:lnTo>
                  <a:lnTo>
                    <a:pt x="83" y="14"/>
                  </a:lnTo>
                  <a:lnTo>
                    <a:pt x="86" y="17"/>
                  </a:lnTo>
                  <a:lnTo>
                    <a:pt x="87" y="20"/>
                  </a:lnTo>
                  <a:lnTo>
                    <a:pt x="80" y="25"/>
                  </a:lnTo>
                  <a:lnTo>
                    <a:pt x="80" y="26"/>
                  </a:lnTo>
                  <a:lnTo>
                    <a:pt x="78" y="29"/>
                  </a:lnTo>
                  <a:lnTo>
                    <a:pt x="81" y="29"/>
                  </a:lnTo>
                  <a:lnTo>
                    <a:pt x="83" y="31"/>
                  </a:lnTo>
                  <a:lnTo>
                    <a:pt x="82" y="34"/>
                  </a:lnTo>
                  <a:lnTo>
                    <a:pt x="84" y="37"/>
                  </a:lnTo>
                  <a:lnTo>
                    <a:pt x="87" y="39"/>
                  </a:lnTo>
                  <a:lnTo>
                    <a:pt x="86" y="41"/>
                  </a:lnTo>
                  <a:lnTo>
                    <a:pt x="84" y="42"/>
                  </a:lnTo>
                  <a:lnTo>
                    <a:pt x="83" y="46"/>
                  </a:lnTo>
                  <a:lnTo>
                    <a:pt x="90" y="50"/>
                  </a:lnTo>
                  <a:lnTo>
                    <a:pt x="90" y="52"/>
                  </a:lnTo>
                  <a:lnTo>
                    <a:pt x="78" y="52"/>
                  </a:lnTo>
                  <a:lnTo>
                    <a:pt x="76" y="56"/>
                  </a:lnTo>
                  <a:lnTo>
                    <a:pt x="75" y="58"/>
                  </a:lnTo>
                  <a:lnTo>
                    <a:pt x="75" y="67"/>
                  </a:lnTo>
                  <a:lnTo>
                    <a:pt x="78" y="78"/>
                  </a:lnTo>
                  <a:lnTo>
                    <a:pt x="75" y="74"/>
                  </a:lnTo>
                  <a:lnTo>
                    <a:pt x="72" y="68"/>
                  </a:lnTo>
                  <a:lnTo>
                    <a:pt x="68" y="66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3" y="66"/>
                  </a:lnTo>
                  <a:lnTo>
                    <a:pt x="60" y="61"/>
                  </a:lnTo>
                  <a:lnTo>
                    <a:pt x="52" y="59"/>
                  </a:lnTo>
                  <a:lnTo>
                    <a:pt x="38" y="62"/>
                  </a:lnTo>
                  <a:lnTo>
                    <a:pt x="36" y="66"/>
                  </a:lnTo>
                  <a:lnTo>
                    <a:pt x="34" y="68"/>
                  </a:lnTo>
                  <a:lnTo>
                    <a:pt x="32" y="72"/>
                  </a:lnTo>
                  <a:lnTo>
                    <a:pt x="33" y="73"/>
                  </a:lnTo>
                  <a:lnTo>
                    <a:pt x="38" y="75"/>
                  </a:lnTo>
                  <a:lnTo>
                    <a:pt x="41" y="77"/>
                  </a:lnTo>
                  <a:lnTo>
                    <a:pt x="43" y="79"/>
                  </a:lnTo>
                  <a:lnTo>
                    <a:pt x="45" y="84"/>
                  </a:lnTo>
                  <a:lnTo>
                    <a:pt x="44" y="84"/>
                  </a:lnTo>
                  <a:lnTo>
                    <a:pt x="41" y="79"/>
                  </a:lnTo>
                  <a:lnTo>
                    <a:pt x="33" y="81"/>
                  </a:lnTo>
                  <a:lnTo>
                    <a:pt x="28" y="105"/>
                  </a:lnTo>
                  <a:lnTo>
                    <a:pt x="20" y="110"/>
                  </a:lnTo>
                  <a:lnTo>
                    <a:pt x="21" y="115"/>
                  </a:lnTo>
                  <a:lnTo>
                    <a:pt x="31" y="119"/>
                  </a:lnTo>
                  <a:lnTo>
                    <a:pt x="30" y="125"/>
                  </a:lnTo>
                  <a:lnTo>
                    <a:pt x="26" y="130"/>
                  </a:lnTo>
                  <a:lnTo>
                    <a:pt x="21" y="134"/>
                  </a:lnTo>
                  <a:lnTo>
                    <a:pt x="20" y="140"/>
                  </a:lnTo>
                  <a:lnTo>
                    <a:pt x="18" y="145"/>
                  </a:lnTo>
                  <a:lnTo>
                    <a:pt x="14" y="146"/>
                  </a:lnTo>
                  <a:lnTo>
                    <a:pt x="7" y="143"/>
                  </a:lnTo>
                  <a:lnTo>
                    <a:pt x="1" y="143"/>
                  </a:lnTo>
                  <a:lnTo>
                    <a:pt x="1" y="148"/>
                  </a:lnTo>
                  <a:lnTo>
                    <a:pt x="3" y="155"/>
                  </a:lnTo>
                  <a:lnTo>
                    <a:pt x="4" y="161"/>
                  </a:lnTo>
                  <a:lnTo>
                    <a:pt x="3" y="167"/>
                  </a:lnTo>
                  <a:lnTo>
                    <a:pt x="3" y="177"/>
                  </a:lnTo>
                  <a:lnTo>
                    <a:pt x="0" y="181"/>
                  </a:lnTo>
                  <a:lnTo>
                    <a:pt x="0" y="185"/>
                  </a:lnTo>
                  <a:lnTo>
                    <a:pt x="2" y="194"/>
                  </a:lnTo>
                  <a:lnTo>
                    <a:pt x="2" y="197"/>
                  </a:lnTo>
                  <a:lnTo>
                    <a:pt x="5" y="200"/>
                  </a:lnTo>
                  <a:lnTo>
                    <a:pt x="6" y="205"/>
                  </a:lnTo>
                  <a:lnTo>
                    <a:pt x="9" y="210"/>
                  </a:lnTo>
                  <a:lnTo>
                    <a:pt x="9" y="214"/>
                  </a:lnTo>
                  <a:lnTo>
                    <a:pt x="3" y="223"/>
                  </a:lnTo>
                  <a:lnTo>
                    <a:pt x="7" y="225"/>
                  </a:lnTo>
                  <a:lnTo>
                    <a:pt x="6" y="229"/>
                  </a:lnTo>
                  <a:lnTo>
                    <a:pt x="6" y="233"/>
                  </a:lnTo>
                  <a:lnTo>
                    <a:pt x="9" y="237"/>
                  </a:lnTo>
                  <a:lnTo>
                    <a:pt x="10" y="240"/>
                  </a:lnTo>
                  <a:lnTo>
                    <a:pt x="11" y="247"/>
                  </a:lnTo>
                  <a:lnTo>
                    <a:pt x="9" y="250"/>
                  </a:lnTo>
                  <a:lnTo>
                    <a:pt x="16" y="255"/>
                  </a:lnTo>
                  <a:lnTo>
                    <a:pt x="19" y="259"/>
                  </a:lnTo>
                  <a:lnTo>
                    <a:pt x="22" y="265"/>
                  </a:lnTo>
                  <a:lnTo>
                    <a:pt x="32" y="266"/>
                  </a:lnTo>
                  <a:lnTo>
                    <a:pt x="53" y="272"/>
                  </a:lnTo>
                  <a:lnTo>
                    <a:pt x="61" y="275"/>
                  </a:lnTo>
                  <a:lnTo>
                    <a:pt x="59" y="281"/>
                  </a:lnTo>
                  <a:lnTo>
                    <a:pt x="50" y="293"/>
                  </a:lnTo>
                  <a:lnTo>
                    <a:pt x="49" y="299"/>
                  </a:lnTo>
                  <a:lnTo>
                    <a:pt x="45" y="312"/>
                  </a:lnTo>
                  <a:lnTo>
                    <a:pt x="44" y="327"/>
                  </a:lnTo>
                  <a:lnTo>
                    <a:pt x="45" y="332"/>
                  </a:lnTo>
                  <a:lnTo>
                    <a:pt x="46" y="333"/>
                  </a:lnTo>
                  <a:lnTo>
                    <a:pt x="50" y="336"/>
                  </a:lnTo>
                  <a:lnTo>
                    <a:pt x="68" y="334"/>
                  </a:lnTo>
                  <a:lnTo>
                    <a:pt x="82" y="331"/>
                  </a:lnTo>
                  <a:lnTo>
                    <a:pt x="92" y="334"/>
                  </a:lnTo>
                  <a:lnTo>
                    <a:pt x="101" y="338"/>
                  </a:lnTo>
                  <a:lnTo>
                    <a:pt x="107" y="336"/>
                  </a:lnTo>
                  <a:lnTo>
                    <a:pt x="112" y="336"/>
                  </a:lnTo>
                  <a:lnTo>
                    <a:pt x="116" y="337"/>
                  </a:lnTo>
                  <a:lnTo>
                    <a:pt x="119" y="342"/>
                  </a:lnTo>
                  <a:lnTo>
                    <a:pt x="124" y="344"/>
                  </a:lnTo>
                  <a:lnTo>
                    <a:pt x="127" y="343"/>
                  </a:lnTo>
                  <a:lnTo>
                    <a:pt x="129" y="339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45" y="340"/>
                  </a:lnTo>
                  <a:lnTo>
                    <a:pt x="152" y="340"/>
                  </a:lnTo>
                  <a:lnTo>
                    <a:pt x="162" y="334"/>
                  </a:lnTo>
                  <a:lnTo>
                    <a:pt x="180" y="332"/>
                  </a:lnTo>
                  <a:lnTo>
                    <a:pt x="182" y="329"/>
                  </a:lnTo>
                  <a:lnTo>
                    <a:pt x="188" y="331"/>
                  </a:lnTo>
                  <a:lnTo>
                    <a:pt x="196" y="331"/>
                  </a:lnTo>
                  <a:lnTo>
                    <a:pt x="198" y="335"/>
                  </a:lnTo>
                  <a:lnTo>
                    <a:pt x="202" y="333"/>
                  </a:lnTo>
                  <a:lnTo>
                    <a:pt x="202" y="329"/>
                  </a:lnTo>
                  <a:lnTo>
                    <a:pt x="198" y="321"/>
                  </a:lnTo>
                  <a:lnTo>
                    <a:pt x="198" y="312"/>
                  </a:lnTo>
                  <a:lnTo>
                    <a:pt x="200" y="306"/>
                  </a:lnTo>
                  <a:lnTo>
                    <a:pt x="212" y="301"/>
                  </a:lnTo>
                  <a:lnTo>
                    <a:pt x="213" y="297"/>
                  </a:lnTo>
                  <a:lnTo>
                    <a:pt x="215" y="292"/>
                  </a:lnTo>
                  <a:lnTo>
                    <a:pt x="225" y="289"/>
                  </a:lnTo>
                  <a:lnTo>
                    <a:pt x="225" y="284"/>
                  </a:lnTo>
                  <a:lnTo>
                    <a:pt x="223" y="281"/>
                  </a:lnTo>
                  <a:lnTo>
                    <a:pt x="210" y="271"/>
                  </a:lnTo>
                  <a:lnTo>
                    <a:pt x="205" y="264"/>
                  </a:lnTo>
                  <a:lnTo>
                    <a:pt x="190" y="252"/>
                  </a:lnTo>
                  <a:lnTo>
                    <a:pt x="185" y="246"/>
                  </a:lnTo>
                  <a:lnTo>
                    <a:pt x="185" y="236"/>
                  </a:lnTo>
                  <a:lnTo>
                    <a:pt x="183" y="230"/>
                  </a:lnTo>
                  <a:lnTo>
                    <a:pt x="177" y="227"/>
                  </a:lnTo>
                  <a:lnTo>
                    <a:pt x="173" y="222"/>
                  </a:lnTo>
                  <a:lnTo>
                    <a:pt x="173" y="217"/>
                  </a:lnTo>
                  <a:lnTo>
                    <a:pt x="173" y="215"/>
                  </a:lnTo>
                  <a:lnTo>
                    <a:pt x="181" y="222"/>
                  </a:lnTo>
                  <a:lnTo>
                    <a:pt x="183" y="222"/>
                  </a:lnTo>
                  <a:lnTo>
                    <a:pt x="185" y="215"/>
                  </a:lnTo>
                  <a:lnTo>
                    <a:pt x="193" y="211"/>
                  </a:lnTo>
                  <a:lnTo>
                    <a:pt x="203" y="208"/>
                  </a:lnTo>
                  <a:lnTo>
                    <a:pt x="211" y="204"/>
                  </a:lnTo>
                  <a:lnTo>
                    <a:pt x="215" y="198"/>
                  </a:lnTo>
                  <a:lnTo>
                    <a:pt x="235" y="191"/>
                  </a:lnTo>
                  <a:lnTo>
                    <a:pt x="237" y="179"/>
                  </a:lnTo>
                  <a:lnTo>
                    <a:pt x="242" y="181"/>
                  </a:lnTo>
                  <a:lnTo>
                    <a:pt x="245" y="187"/>
                  </a:lnTo>
                  <a:lnTo>
                    <a:pt x="249" y="192"/>
                  </a:lnTo>
                  <a:lnTo>
                    <a:pt x="253" y="192"/>
                  </a:lnTo>
                  <a:lnTo>
                    <a:pt x="255" y="187"/>
                  </a:lnTo>
                  <a:lnTo>
                    <a:pt x="257" y="178"/>
                  </a:lnTo>
                  <a:lnTo>
                    <a:pt x="257" y="167"/>
                  </a:lnTo>
                  <a:lnTo>
                    <a:pt x="257" y="165"/>
                  </a:lnTo>
                  <a:lnTo>
                    <a:pt x="248" y="155"/>
                  </a:lnTo>
                  <a:lnTo>
                    <a:pt x="247" y="143"/>
                  </a:lnTo>
                  <a:lnTo>
                    <a:pt x="247" y="137"/>
                  </a:lnTo>
                  <a:lnTo>
                    <a:pt x="246" y="129"/>
                  </a:lnTo>
                  <a:lnTo>
                    <a:pt x="245" y="124"/>
                  </a:lnTo>
                  <a:lnTo>
                    <a:pt x="244" y="111"/>
                  </a:lnTo>
                  <a:lnTo>
                    <a:pt x="243" y="107"/>
                  </a:lnTo>
                  <a:lnTo>
                    <a:pt x="235" y="101"/>
                  </a:lnTo>
                  <a:lnTo>
                    <a:pt x="235" y="98"/>
                  </a:lnTo>
                  <a:lnTo>
                    <a:pt x="237" y="91"/>
                  </a:lnTo>
                  <a:lnTo>
                    <a:pt x="240" y="85"/>
                  </a:lnTo>
                  <a:lnTo>
                    <a:pt x="241" y="78"/>
                  </a:lnTo>
                  <a:lnTo>
                    <a:pt x="241" y="69"/>
                  </a:lnTo>
                  <a:lnTo>
                    <a:pt x="237" y="61"/>
                  </a:lnTo>
                  <a:lnTo>
                    <a:pt x="236" y="56"/>
                  </a:lnTo>
                  <a:lnTo>
                    <a:pt x="224" y="52"/>
                  </a:lnTo>
                  <a:lnTo>
                    <a:pt x="223" y="45"/>
                  </a:lnTo>
                  <a:lnTo>
                    <a:pt x="218" y="38"/>
                  </a:lnTo>
                  <a:lnTo>
                    <a:pt x="213" y="39"/>
                  </a:lnTo>
                  <a:lnTo>
                    <a:pt x="210" y="36"/>
                  </a:lnTo>
                  <a:lnTo>
                    <a:pt x="208" y="36"/>
                  </a:lnTo>
                  <a:lnTo>
                    <a:pt x="207" y="32"/>
                  </a:lnTo>
                  <a:lnTo>
                    <a:pt x="203" y="29"/>
                  </a:lnTo>
                  <a:lnTo>
                    <a:pt x="200" y="26"/>
                  </a:lnTo>
                  <a:lnTo>
                    <a:pt x="192" y="27"/>
                  </a:lnTo>
                  <a:lnTo>
                    <a:pt x="188" y="29"/>
                  </a:lnTo>
                  <a:lnTo>
                    <a:pt x="184" y="31"/>
                  </a:lnTo>
                  <a:lnTo>
                    <a:pt x="185" y="29"/>
                  </a:lnTo>
                  <a:lnTo>
                    <a:pt x="188" y="26"/>
                  </a:lnTo>
                  <a:lnTo>
                    <a:pt x="193" y="22"/>
                  </a:lnTo>
                  <a:lnTo>
                    <a:pt x="190" y="22"/>
                  </a:lnTo>
                  <a:lnTo>
                    <a:pt x="185" y="23"/>
                  </a:lnTo>
                  <a:lnTo>
                    <a:pt x="178" y="31"/>
                  </a:lnTo>
                  <a:lnTo>
                    <a:pt x="176" y="36"/>
                  </a:lnTo>
                  <a:lnTo>
                    <a:pt x="174" y="38"/>
                  </a:lnTo>
                  <a:lnTo>
                    <a:pt x="174" y="35"/>
                  </a:lnTo>
                  <a:lnTo>
                    <a:pt x="164" y="37"/>
                  </a:lnTo>
                  <a:lnTo>
                    <a:pt x="156" y="44"/>
                  </a:lnTo>
                  <a:lnTo>
                    <a:pt x="157" y="47"/>
                  </a:lnTo>
                  <a:lnTo>
                    <a:pt x="152" y="47"/>
                  </a:lnTo>
                  <a:lnTo>
                    <a:pt x="146" y="45"/>
                  </a:lnTo>
                  <a:lnTo>
                    <a:pt x="139" y="49"/>
                  </a:lnTo>
                  <a:lnTo>
                    <a:pt x="138" y="46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05" name="Freeform 260"/>
            <p:cNvSpPr>
              <a:spLocks/>
            </p:cNvSpPr>
            <p:nvPr/>
          </p:nvSpPr>
          <p:spPr bwMode="auto">
            <a:xfrm>
              <a:off x="1965" y="2483"/>
              <a:ext cx="257" cy="344"/>
            </a:xfrm>
            <a:custGeom>
              <a:avLst/>
              <a:gdLst>
                <a:gd name="T0" fmla="*/ 142 w 257"/>
                <a:gd name="T1" fmla="*/ 36 h 344"/>
                <a:gd name="T2" fmla="*/ 134 w 257"/>
                <a:gd name="T3" fmla="*/ 29 h 344"/>
                <a:gd name="T4" fmla="*/ 120 w 257"/>
                <a:gd name="T5" fmla="*/ 26 h 344"/>
                <a:gd name="T6" fmla="*/ 111 w 257"/>
                <a:gd name="T7" fmla="*/ 21 h 344"/>
                <a:gd name="T8" fmla="*/ 103 w 257"/>
                <a:gd name="T9" fmla="*/ 3 h 344"/>
                <a:gd name="T10" fmla="*/ 83 w 257"/>
                <a:gd name="T11" fmla="*/ 0 h 344"/>
                <a:gd name="T12" fmla="*/ 86 w 257"/>
                <a:gd name="T13" fmla="*/ 17 h 344"/>
                <a:gd name="T14" fmla="*/ 78 w 257"/>
                <a:gd name="T15" fmla="*/ 29 h 344"/>
                <a:gd name="T16" fmla="*/ 84 w 257"/>
                <a:gd name="T17" fmla="*/ 37 h 344"/>
                <a:gd name="T18" fmla="*/ 83 w 257"/>
                <a:gd name="T19" fmla="*/ 46 h 344"/>
                <a:gd name="T20" fmla="*/ 76 w 257"/>
                <a:gd name="T21" fmla="*/ 56 h 344"/>
                <a:gd name="T22" fmla="*/ 75 w 257"/>
                <a:gd name="T23" fmla="*/ 74 h 344"/>
                <a:gd name="T24" fmla="*/ 64 w 257"/>
                <a:gd name="T25" fmla="*/ 72 h 344"/>
                <a:gd name="T26" fmla="*/ 38 w 257"/>
                <a:gd name="T27" fmla="*/ 62 h 344"/>
                <a:gd name="T28" fmla="*/ 33 w 257"/>
                <a:gd name="T29" fmla="*/ 73 h 344"/>
                <a:gd name="T30" fmla="*/ 45 w 257"/>
                <a:gd name="T31" fmla="*/ 84 h 344"/>
                <a:gd name="T32" fmla="*/ 28 w 257"/>
                <a:gd name="T33" fmla="*/ 105 h 344"/>
                <a:gd name="T34" fmla="*/ 30 w 257"/>
                <a:gd name="T35" fmla="*/ 125 h 344"/>
                <a:gd name="T36" fmla="*/ 18 w 257"/>
                <a:gd name="T37" fmla="*/ 145 h 344"/>
                <a:gd name="T38" fmla="*/ 1 w 257"/>
                <a:gd name="T39" fmla="*/ 148 h 344"/>
                <a:gd name="T40" fmla="*/ 3 w 257"/>
                <a:gd name="T41" fmla="*/ 177 h 344"/>
                <a:gd name="T42" fmla="*/ 2 w 257"/>
                <a:gd name="T43" fmla="*/ 197 h 344"/>
                <a:gd name="T44" fmla="*/ 9 w 257"/>
                <a:gd name="T45" fmla="*/ 214 h 344"/>
                <a:gd name="T46" fmla="*/ 6 w 257"/>
                <a:gd name="T47" fmla="*/ 233 h 344"/>
                <a:gd name="T48" fmla="*/ 9 w 257"/>
                <a:gd name="T49" fmla="*/ 250 h 344"/>
                <a:gd name="T50" fmla="*/ 32 w 257"/>
                <a:gd name="T51" fmla="*/ 266 h 344"/>
                <a:gd name="T52" fmla="*/ 50 w 257"/>
                <a:gd name="T53" fmla="*/ 293 h 344"/>
                <a:gd name="T54" fmla="*/ 45 w 257"/>
                <a:gd name="T55" fmla="*/ 332 h 344"/>
                <a:gd name="T56" fmla="*/ 82 w 257"/>
                <a:gd name="T57" fmla="*/ 331 h 344"/>
                <a:gd name="T58" fmla="*/ 112 w 257"/>
                <a:gd name="T59" fmla="*/ 336 h 344"/>
                <a:gd name="T60" fmla="*/ 127 w 257"/>
                <a:gd name="T61" fmla="*/ 343 h 344"/>
                <a:gd name="T62" fmla="*/ 145 w 257"/>
                <a:gd name="T63" fmla="*/ 340 h 344"/>
                <a:gd name="T64" fmla="*/ 182 w 257"/>
                <a:gd name="T65" fmla="*/ 329 h 344"/>
                <a:gd name="T66" fmla="*/ 202 w 257"/>
                <a:gd name="T67" fmla="*/ 333 h 344"/>
                <a:gd name="T68" fmla="*/ 200 w 257"/>
                <a:gd name="T69" fmla="*/ 306 h 344"/>
                <a:gd name="T70" fmla="*/ 225 w 257"/>
                <a:gd name="T71" fmla="*/ 289 h 344"/>
                <a:gd name="T72" fmla="*/ 205 w 257"/>
                <a:gd name="T73" fmla="*/ 264 h 344"/>
                <a:gd name="T74" fmla="*/ 183 w 257"/>
                <a:gd name="T75" fmla="*/ 230 h 344"/>
                <a:gd name="T76" fmla="*/ 173 w 257"/>
                <a:gd name="T77" fmla="*/ 215 h 344"/>
                <a:gd name="T78" fmla="*/ 193 w 257"/>
                <a:gd name="T79" fmla="*/ 211 h 344"/>
                <a:gd name="T80" fmla="*/ 235 w 257"/>
                <a:gd name="T81" fmla="*/ 191 h 344"/>
                <a:gd name="T82" fmla="*/ 249 w 257"/>
                <a:gd name="T83" fmla="*/ 192 h 344"/>
                <a:gd name="T84" fmla="*/ 257 w 257"/>
                <a:gd name="T85" fmla="*/ 167 h 344"/>
                <a:gd name="T86" fmla="*/ 247 w 257"/>
                <a:gd name="T87" fmla="*/ 137 h 344"/>
                <a:gd name="T88" fmla="*/ 243 w 257"/>
                <a:gd name="T89" fmla="*/ 107 h 344"/>
                <a:gd name="T90" fmla="*/ 240 w 257"/>
                <a:gd name="T91" fmla="*/ 85 h 344"/>
                <a:gd name="T92" fmla="*/ 236 w 257"/>
                <a:gd name="T93" fmla="*/ 56 h 344"/>
                <a:gd name="T94" fmla="*/ 213 w 257"/>
                <a:gd name="T95" fmla="*/ 39 h 344"/>
                <a:gd name="T96" fmla="*/ 203 w 257"/>
                <a:gd name="T97" fmla="*/ 29 h 344"/>
                <a:gd name="T98" fmla="*/ 184 w 257"/>
                <a:gd name="T99" fmla="*/ 31 h 344"/>
                <a:gd name="T100" fmla="*/ 190 w 257"/>
                <a:gd name="T101" fmla="*/ 22 h 344"/>
                <a:gd name="T102" fmla="*/ 174 w 257"/>
                <a:gd name="T103" fmla="*/ 38 h 344"/>
                <a:gd name="T104" fmla="*/ 157 w 257"/>
                <a:gd name="T105" fmla="*/ 47 h 344"/>
                <a:gd name="T106" fmla="*/ 138 w 257"/>
                <a:gd name="T107" fmla="*/ 46 h 34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57"/>
                <a:gd name="T163" fmla="*/ 0 h 344"/>
                <a:gd name="T164" fmla="*/ 257 w 257"/>
                <a:gd name="T165" fmla="*/ 344 h 34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57" h="344">
                  <a:moveTo>
                    <a:pt x="138" y="46"/>
                  </a:moveTo>
                  <a:lnTo>
                    <a:pt x="136" y="44"/>
                  </a:lnTo>
                  <a:lnTo>
                    <a:pt x="138" y="39"/>
                  </a:lnTo>
                  <a:lnTo>
                    <a:pt x="142" y="36"/>
                  </a:lnTo>
                  <a:lnTo>
                    <a:pt x="145" y="33"/>
                  </a:lnTo>
                  <a:lnTo>
                    <a:pt x="145" y="28"/>
                  </a:lnTo>
                  <a:lnTo>
                    <a:pt x="143" y="26"/>
                  </a:lnTo>
                  <a:lnTo>
                    <a:pt x="134" y="29"/>
                  </a:lnTo>
                  <a:lnTo>
                    <a:pt x="131" y="29"/>
                  </a:lnTo>
                  <a:lnTo>
                    <a:pt x="129" y="26"/>
                  </a:lnTo>
                  <a:lnTo>
                    <a:pt x="122" y="23"/>
                  </a:lnTo>
                  <a:lnTo>
                    <a:pt x="120" y="26"/>
                  </a:lnTo>
                  <a:lnTo>
                    <a:pt x="117" y="26"/>
                  </a:lnTo>
                  <a:lnTo>
                    <a:pt x="117" y="22"/>
                  </a:lnTo>
                  <a:lnTo>
                    <a:pt x="113" y="22"/>
                  </a:lnTo>
                  <a:lnTo>
                    <a:pt x="111" y="21"/>
                  </a:lnTo>
                  <a:lnTo>
                    <a:pt x="114" y="17"/>
                  </a:lnTo>
                  <a:lnTo>
                    <a:pt x="114" y="12"/>
                  </a:lnTo>
                  <a:lnTo>
                    <a:pt x="112" y="6"/>
                  </a:lnTo>
                  <a:lnTo>
                    <a:pt x="103" y="3"/>
                  </a:lnTo>
                  <a:lnTo>
                    <a:pt x="99" y="4"/>
                  </a:lnTo>
                  <a:lnTo>
                    <a:pt x="100" y="1"/>
                  </a:lnTo>
                  <a:lnTo>
                    <a:pt x="95" y="3"/>
                  </a:lnTo>
                  <a:lnTo>
                    <a:pt x="83" y="0"/>
                  </a:lnTo>
                  <a:lnTo>
                    <a:pt x="79" y="1"/>
                  </a:lnTo>
                  <a:lnTo>
                    <a:pt x="78" y="6"/>
                  </a:lnTo>
                  <a:lnTo>
                    <a:pt x="83" y="14"/>
                  </a:lnTo>
                  <a:lnTo>
                    <a:pt x="86" y="17"/>
                  </a:lnTo>
                  <a:lnTo>
                    <a:pt x="87" y="20"/>
                  </a:lnTo>
                  <a:lnTo>
                    <a:pt x="80" y="25"/>
                  </a:lnTo>
                  <a:lnTo>
                    <a:pt x="80" y="26"/>
                  </a:lnTo>
                  <a:lnTo>
                    <a:pt x="78" y="29"/>
                  </a:lnTo>
                  <a:lnTo>
                    <a:pt x="81" y="29"/>
                  </a:lnTo>
                  <a:lnTo>
                    <a:pt x="83" y="31"/>
                  </a:lnTo>
                  <a:lnTo>
                    <a:pt x="82" y="34"/>
                  </a:lnTo>
                  <a:lnTo>
                    <a:pt x="84" y="37"/>
                  </a:lnTo>
                  <a:lnTo>
                    <a:pt x="87" y="39"/>
                  </a:lnTo>
                  <a:lnTo>
                    <a:pt x="86" y="41"/>
                  </a:lnTo>
                  <a:lnTo>
                    <a:pt x="84" y="42"/>
                  </a:lnTo>
                  <a:lnTo>
                    <a:pt x="83" y="46"/>
                  </a:lnTo>
                  <a:lnTo>
                    <a:pt x="90" y="50"/>
                  </a:lnTo>
                  <a:lnTo>
                    <a:pt x="90" y="52"/>
                  </a:lnTo>
                  <a:lnTo>
                    <a:pt x="78" y="52"/>
                  </a:lnTo>
                  <a:lnTo>
                    <a:pt x="76" y="56"/>
                  </a:lnTo>
                  <a:lnTo>
                    <a:pt x="75" y="58"/>
                  </a:lnTo>
                  <a:lnTo>
                    <a:pt x="75" y="67"/>
                  </a:lnTo>
                  <a:lnTo>
                    <a:pt x="78" y="78"/>
                  </a:lnTo>
                  <a:lnTo>
                    <a:pt x="75" y="74"/>
                  </a:lnTo>
                  <a:lnTo>
                    <a:pt x="72" y="68"/>
                  </a:lnTo>
                  <a:lnTo>
                    <a:pt x="68" y="66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3" y="66"/>
                  </a:lnTo>
                  <a:lnTo>
                    <a:pt x="60" y="61"/>
                  </a:lnTo>
                  <a:lnTo>
                    <a:pt x="52" y="59"/>
                  </a:lnTo>
                  <a:lnTo>
                    <a:pt x="38" y="62"/>
                  </a:lnTo>
                  <a:lnTo>
                    <a:pt x="36" y="66"/>
                  </a:lnTo>
                  <a:lnTo>
                    <a:pt x="34" y="68"/>
                  </a:lnTo>
                  <a:lnTo>
                    <a:pt x="32" y="72"/>
                  </a:lnTo>
                  <a:lnTo>
                    <a:pt x="33" y="73"/>
                  </a:lnTo>
                  <a:lnTo>
                    <a:pt x="38" y="75"/>
                  </a:lnTo>
                  <a:lnTo>
                    <a:pt x="41" y="77"/>
                  </a:lnTo>
                  <a:lnTo>
                    <a:pt x="43" y="79"/>
                  </a:lnTo>
                  <a:lnTo>
                    <a:pt x="45" y="84"/>
                  </a:lnTo>
                  <a:lnTo>
                    <a:pt x="44" y="84"/>
                  </a:lnTo>
                  <a:lnTo>
                    <a:pt x="41" y="79"/>
                  </a:lnTo>
                  <a:lnTo>
                    <a:pt x="33" y="81"/>
                  </a:lnTo>
                  <a:lnTo>
                    <a:pt x="28" y="105"/>
                  </a:lnTo>
                  <a:lnTo>
                    <a:pt x="20" y="110"/>
                  </a:lnTo>
                  <a:lnTo>
                    <a:pt x="21" y="115"/>
                  </a:lnTo>
                  <a:lnTo>
                    <a:pt x="31" y="119"/>
                  </a:lnTo>
                  <a:lnTo>
                    <a:pt x="30" y="125"/>
                  </a:lnTo>
                  <a:lnTo>
                    <a:pt x="26" y="130"/>
                  </a:lnTo>
                  <a:lnTo>
                    <a:pt x="21" y="134"/>
                  </a:lnTo>
                  <a:lnTo>
                    <a:pt x="20" y="140"/>
                  </a:lnTo>
                  <a:lnTo>
                    <a:pt x="18" y="145"/>
                  </a:lnTo>
                  <a:lnTo>
                    <a:pt x="14" y="146"/>
                  </a:lnTo>
                  <a:lnTo>
                    <a:pt x="7" y="143"/>
                  </a:lnTo>
                  <a:lnTo>
                    <a:pt x="1" y="143"/>
                  </a:lnTo>
                  <a:lnTo>
                    <a:pt x="1" y="148"/>
                  </a:lnTo>
                  <a:lnTo>
                    <a:pt x="3" y="155"/>
                  </a:lnTo>
                  <a:lnTo>
                    <a:pt x="4" y="161"/>
                  </a:lnTo>
                  <a:lnTo>
                    <a:pt x="3" y="167"/>
                  </a:lnTo>
                  <a:lnTo>
                    <a:pt x="3" y="177"/>
                  </a:lnTo>
                  <a:lnTo>
                    <a:pt x="0" y="181"/>
                  </a:lnTo>
                  <a:lnTo>
                    <a:pt x="0" y="185"/>
                  </a:lnTo>
                  <a:lnTo>
                    <a:pt x="2" y="194"/>
                  </a:lnTo>
                  <a:lnTo>
                    <a:pt x="2" y="197"/>
                  </a:lnTo>
                  <a:lnTo>
                    <a:pt x="5" y="200"/>
                  </a:lnTo>
                  <a:lnTo>
                    <a:pt x="6" y="205"/>
                  </a:lnTo>
                  <a:lnTo>
                    <a:pt x="9" y="210"/>
                  </a:lnTo>
                  <a:lnTo>
                    <a:pt x="9" y="214"/>
                  </a:lnTo>
                  <a:lnTo>
                    <a:pt x="3" y="223"/>
                  </a:lnTo>
                  <a:lnTo>
                    <a:pt x="7" y="225"/>
                  </a:lnTo>
                  <a:lnTo>
                    <a:pt x="6" y="229"/>
                  </a:lnTo>
                  <a:lnTo>
                    <a:pt x="6" y="233"/>
                  </a:lnTo>
                  <a:lnTo>
                    <a:pt x="9" y="237"/>
                  </a:lnTo>
                  <a:lnTo>
                    <a:pt x="10" y="240"/>
                  </a:lnTo>
                  <a:lnTo>
                    <a:pt x="11" y="247"/>
                  </a:lnTo>
                  <a:lnTo>
                    <a:pt x="9" y="250"/>
                  </a:lnTo>
                  <a:lnTo>
                    <a:pt x="16" y="255"/>
                  </a:lnTo>
                  <a:lnTo>
                    <a:pt x="19" y="259"/>
                  </a:lnTo>
                  <a:lnTo>
                    <a:pt x="22" y="265"/>
                  </a:lnTo>
                  <a:lnTo>
                    <a:pt x="32" y="266"/>
                  </a:lnTo>
                  <a:lnTo>
                    <a:pt x="53" y="272"/>
                  </a:lnTo>
                  <a:lnTo>
                    <a:pt x="61" y="275"/>
                  </a:lnTo>
                  <a:lnTo>
                    <a:pt x="59" y="281"/>
                  </a:lnTo>
                  <a:lnTo>
                    <a:pt x="50" y="293"/>
                  </a:lnTo>
                  <a:lnTo>
                    <a:pt x="49" y="299"/>
                  </a:lnTo>
                  <a:lnTo>
                    <a:pt x="45" y="312"/>
                  </a:lnTo>
                  <a:lnTo>
                    <a:pt x="44" y="327"/>
                  </a:lnTo>
                  <a:lnTo>
                    <a:pt x="45" y="332"/>
                  </a:lnTo>
                  <a:lnTo>
                    <a:pt x="46" y="333"/>
                  </a:lnTo>
                  <a:lnTo>
                    <a:pt x="50" y="336"/>
                  </a:lnTo>
                  <a:lnTo>
                    <a:pt x="68" y="334"/>
                  </a:lnTo>
                  <a:lnTo>
                    <a:pt x="82" y="331"/>
                  </a:lnTo>
                  <a:lnTo>
                    <a:pt x="92" y="334"/>
                  </a:lnTo>
                  <a:lnTo>
                    <a:pt x="101" y="338"/>
                  </a:lnTo>
                  <a:lnTo>
                    <a:pt x="107" y="336"/>
                  </a:lnTo>
                  <a:lnTo>
                    <a:pt x="112" y="336"/>
                  </a:lnTo>
                  <a:lnTo>
                    <a:pt x="116" y="337"/>
                  </a:lnTo>
                  <a:lnTo>
                    <a:pt x="119" y="342"/>
                  </a:lnTo>
                  <a:lnTo>
                    <a:pt x="124" y="344"/>
                  </a:lnTo>
                  <a:lnTo>
                    <a:pt x="127" y="343"/>
                  </a:lnTo>
                  <a:lnTo>
                    <a:pt x="129" y="339"/>
                  </a:lnTo>
                  <a:lnTo>
                    <a:pt x="132" y="336"/>
                  </a:lnTo>
                  <a:lnTo>
                    <a:pt x="138" y="336"/>
                  </a:lnTo>
                  <a:lnTo>
                    <a:pt x="145" y="340"/>
                  </a:lnTo>
                  <a:lnTo>
                    <a:pt x="152" y="340"/>
                  </a:lnTo>
                  <a:lnTo>
                    <a:pt x="162" y="334"/>
                  </a:lnTo>
                  <a:lnTo>
                    <a:pt x="180" y="332"/>
                  </a:lnTo>
                  <a:lnTo>
                    <a:pt x="182" y="329"/>
                  </a:lnTo>
                  <a:lnTo>
                    <a:pt x="188" y="331"/>
                  </a:lnTo>
                  <a:lnTo>
                    <a:pt x="196" y="331"/>
                  </a:lnTo>
                  <a:lnTo>
                    <a:pt x="198" y="335"/>
                  </a:lnTo>
                  <a:lnTo>
                    <a:pt x="202" y="333"/>
                  </a:lnTo>
                  <a:lnTo>
                    <a:pt x="202" y="329"/>
                  </a:lnTo>
                  <a:lnTo>
                    <a:pt x="198" y="321"/>
                  </a:lnTo>
                  <a:lnTo>
                    <a:pt x="198" y="312"/>
                  </a:lnTo>
                  <a:lnTo>
                    <a:pt x="200" y="306"/>
                  </a:lnTo>
                  <a:lnTo>
                    <a:pt x="212" y="301"/>
                  </a:lnTo>
                  <a:lnTo>
                    <a:pt x="213" y="297"/>
                  </a:lnTo>
                  <a:lnTo>
                    <a:pt x="215" y="292"/>
                  </a:lnTo>
                  <a:lnTo>
                    <a:pt x="225" y="289"/>
                  </a:lnTo>
                  <a:lnTo>
                    <a:pt x="225" y="284"/>
                  </a:lnTo>
                  <a:lnTo>
                    <a:pt x="223" y="281"/>
                  </a:lnTo>
                  <a:lnTo>
                    <a:pt x="210" y="271"/>
                  </a:lnTo>
                  <a:lnTo>
                    <a:pt x="205" y="264"/>
                  </a:lnTo>
                  <a:lnTo>
                    <a:pt x="190" y="252"/>
                  </a:lnTo>
                  <a:lnTo>
                    <a:pt x="185" y="246"/>
                  </a:lnTo>
                  <a:lnTo>
                    <a:pt x="185" y="236"/>
                  </a:lnTo>
                  <a:lnTo>
                    <a:pt x="183" y="230"/>
                  </a:lnTo>
                  <a:lnTo>
                    <a:pt x="177" y="227"/>
                  </a:lnTo>
                  <a:lnTo>
                    <a:pt x="173" y="222"/>
                  </a:lnTo>
                  <a:lnTo>
                    <a:pt x="173" y="217"/>
                  </a:lnTo>
                  <a:lnTo>
                    <a:pt x="173" y="215"/>
                  </a:lnTo>
                  <a:lnTo>
                    <a:pt x="181" y="222"/>
                  </a:lnTo>
                  <a:lnTo>
                    <a:pt x="183" y="222"/>
                  </a:lnTo>
                  <a:lnTo>
                    <a:pt x="185" y="215"/>
                  </a:lnTo>
                  <a:lnTo>
                    <a:pt x="193" y="211"/>
                  </a:lnTo>
                  <a:lnTo>
                    <a:pt x="203" y="208"/>
                  </a:lnTo>
                  <a:lnTo>
                    <a:pt x="211" y="204"/>
                  </a:lnTo>
                  <a:lnTo>
                    <a:pt x="215" y="198"/>
                  </a:lnTo>
                  <a:lnTo>
                    <a:pt x="235" y="191"/>
                  </a:lnTo>
                  <a:lnTo>
                    <a:pt x="237" y="179"/>
                  </a:lnTo>
                  <a:lnTo>
                    <a:pt x="242" y="181"/>
                  </a:lnTo>
                  <a:lnTo>
                    <a:pt x="245" y="187"/>
                  </a:lnTo>
                  <a:lnTo>
                    <a:pt x="249" y="192"/>
                  </a:lnTo>
                  <a:lnTo>
                    <a:pt x="253" y="192"/>
                  </a:lnTo>
                  <a:lnTo>
                    <a:pt x="255" y="187"/>
                  </a:lnTo>
                  <a:lnTo>
                    <a:pt x="257" y="178"/>
                  </a:lnTo>
                  <a:lnTo>
                    <a:pt x="257" y="167"/>
                  </a:lnTo>
                  <a:lnTo>
                    <a:pt x="257" y="165"/>
                  </a:lnTo>
                  <a:lnTo>
                    <a:pt x="248" y="155"/>
                  </a:lnTo>
                  <a:lnTo>
                    <a:pt x="247" y="143"/>
                  </a:lnTo>
                  <a:lnTo>
                    <a:pt x="247" y="137"/>
                  </a:lnTo>
                  <a:lnTo>
                    <a:pt x="246" y="129"/>
                  </a:lnTo>
                  <a:lnTo>
                    <a:pt x="245" y="124"/>
                  </a:lnTo>
                  <a:lnTo>
                    <a:pt x="244" y="111"/>
                  </a:lnTo>
                  <a:lnTo>
                    <a:pt x="243" y="107"/>
                  </a:lnTo>
                  <a:lnTo>
                    <a:pt x="235" y="101"/>
                  </a:lnTo>
                  <a:lnTo>
                    <a:pt x="235" y="98"/>
                  </a:lnTo>
                  <a:lnTo>
                    <a:pt x="237" y="91"/>
                  </a:lnTo>
                  <a:lnTo>
                    <a:pt x="240" y="85"/>
                  </a:lnTo>
                  <a:lnTo>
                    <a:pt x="241" y="78"/>
                  </a:lnTo>
                  <a:lnTo>
                    <a:pt x="241" y="69"/>
                  </a:lnTo>
                  <a:lnTo>
                    <a:pt x="237" y="61"/>
                  </a:lnTo>
                  <a:lnTo>
                    <a:pt x="236" y="56"/>
                  </a:lnTo>
                  <a:lnTo>
                    <a:pt x="224" y="52"/>
                  </a:lnTo>
                  <a:lnTo>
                    <a:pt x="223" y="45"/>
                  </a:lnTo>
                  <a:lnTo>
                    <a:pt x="218" y="38"/>
                  </a:lnTo>
                  <a:lnTo>
                    <a:pt x="213" y="39"/>
                  </a:lnTo>
                  <a:lnTo>
                    <a:pt x="210" y="36"/>
                  </a:lnTo>
                  <a:lnTo>
                    <a:pt x="208" y="36"/>
                  </a:lnTo>
                  <a:lnTo>
                    <a:pt x="207" y="32"/>
                  </a:lnTo>
                  <a:lnTo>
                    <a:pt x="203" y="29"/>
                  </a:lnTo>
                  <a:lnTo>
                    <a:pt x="200" y="26"/>
                  </a:lnTo>
                  <a:lnTo>
                    <a:pt x="192" y="27"/>
                  </a:lnTo>
                  <a:lnTo>
                    <a:pt x="188" y="29"/>
                  </a:lnTo>
                  <a:lnTo>
                    <a:pt x="184" y="31"/>
                  </a:lnTo>
                  <a:lnTo>
                    <a:pt x="185" y="29"/>
                  </a:lnTo>
                  <a:lnTo>
                    <a:pt x="188" y="26"/>
                  </a:lnTo>
                  <a:lnTo>
                    <a:pt x="193" y="22"/>
                  </a:lnTo>
                  <a:lnTo>
                    <a:pt x="190" y="22"/>
                  </a:lnTo>
                  <a:lnTo>
                    <a:pt x="185" y="23"/>
                  </a:lnTo>
                  <a:lnTo>
                    <a:pt x="178" y="31"/>
                  </a:lnTo>
                  <a:lnTo>
                    <a:pt x="176" y="36"/>
                  </a:lnTo>
                  <a:lnTo>
                    <a:pt x="174" y="38"/>
                  </a:lnTo>
                  <a:lnTo>
                    <a:pt x="174" y="35"/>
                  </a:lnTo>
                  <a:lnTo>
                    <a:pt x="164" y="37"/>
                  </a:lnTo>
                  <a:lnTo>
                    <a:pt x="156" y="44"/>
                  </a:lnTo>
                  <a:lnTo>
                    <a:pt x="157" y="47"/>
                  </a:lnTo>
                  <a:lnTo>
                    <a:pt x="152" y="47"/>
                  </a:lnTo>
                  <a:lnTo>
                    <a:pt x="146" y="45"/>
                  </a:lnTo>
                  <a:lnTo>
                    <a:pt x="139" y="49"/>
                  </a:lnTo>
                  <a:lnTo>
                    <a:pt x="138" y="46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81" name="Group 264"/>
          <p:cNvGrpSpPr>
            <a:grpSpLocks/>
          </p:cNvGrpSpPr>
          <p:nvPr/>
        </p:nvGrpSpPr>
        <p:grpSpPr bwMode="auto">
          <a:xfrm>
            <a:off x="4648200" y="3960813"/>
            <a:ext cx="25400" cy="30162"/>
            <a:chOff x="2170" y="2495"/>
            <a:chExt cx="16" cy="19"/>
          </a:xfrm>
        </p:grpSpPr>
        <p:sp>
          <p:nvSpPr>
            <p:cNvPr id="34302" name="Freeform 262"/>
            <p:cNvSpPr>
              <a:spLocks/>
            </p:cNvSpPr>
            <p:nvPr/>
          </p:nvSpPr>
          <p:spPr bwMode="auto">
            <a:xfrm>
              <a:off x="2170" y="2495"/>
              <a:ext cx="16" cy="19"/>
            </a:xfrm>
            <a:custGeom>
              <a:avLst/>
              <a:gdLst>
                <a:gd name="T0" fmla="*/ 14 w 16"/>
                <a:gd name="T1" fmla="*/ 10 h 19"/>
                <a:gd name="T2" fmla="*/ 14 w 16"/>
                <a:gd name="T3" fmla="*/ 14 h 19"/>
                <a:gd name="T4" fmla="*/ 16 w 16"/>
                <a:gd name="T5" fmla="*/ 17 h 19"/>
                <a:gd name="T6" fmla="*/ 16 w 16"/>
                <a:gd name="T7" fmla="*/ 19 h 19"/>
                <a:gd name="T8" fmla="*/ 13 w 16"/>
                <a:gd name="T9" fmla="*/ 17 h 19"/>
                <a:gd name="T10" fmla="*/ 10 w 16"/>
                <a:gd name="T11" fmla="*/ 18 h 19"/>
                <a:gd name="T12" fmla="*/ 8 w 16"/>
                <a:gd name="T13" fmla="*/ 19 h 19"/>
                <a:gd name="T14" fmla="*/ 4 w 16"/>
                <a:gd name="T15" fmla="*/ 19 h 19"/>
                <a:gd name="T16" fmla="*/ 0 w 16"/>
                <a:gd name="T17" fmla="*/ 16 h 19"/>
                <a:gd name="T18" fmla="*/ 2 w 16"/>
                <a:gd name="T19" fmla="*/ 13 h 19"/>
                <a:gd name="T20" fmla="*/ 2 w 16"/>
                <a:gd name="T21" fmla="*/ 11 h 19"/>
                <a:gd name="T22" fmla="*/ 1 w 16"/>
                <a:gd name="T23" fmla="*/ 7 h 19"/>
                <a:gd name="T24" fmla="*/ 3 w 16"/>
                <a:gd name="T25" fmla="*/ 6 h 19"/>
                <a:gd name="T26" fmla="*/ 10 w 16"/>
                <a:gd name="T27" fmla="*/ 9 h 19"/>
                <a:gd name="T28" fmla="*/ 9 w 16"/>
                <a:gd name="T29" fmla="*/ 7 h 19"/>
                <a:gd name="T30" fmla="*/ 6 w 16"/>
                <a:gd name="T31" fmla="*/ 4 h 19"/>
                <a:gd name="T32" fmla="*/ 4 w 16"/>
                <a:gd name="T33" fmla="*/ 2 h 19"/>
                <a:gd name="T34" fmla="*/ 5 w 16"/>
                <a:gd name="T35" fmla="*/ 0 h 19"/>
                <a:gd name="T36" fmla="*/ 8 w 16"/>
                <a:gd name="T37" fmla="*/ 0 h 19"/>
                <a:gd name="T38" fmla="*/ 9 w 16"/>
                <a:gd name="T39" fmla="*/ 3 h 19"/>
                <a:gd name="T40" fmla="*/ 13 w 16"/>
                <a:gd name="T41" fmla="*/ 4 h 19"/>
                <a:gd name="T42" fmla="*/ 15 w 16"/>
                <a:gd name="T43" fmla="*/ 5 h 19"/>
                <a:gd name="T44" fmla="*/ 14 w 16"/>
                <a:gd name="T45" fmla="*/ 10 h 1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6"/>
                <a:gd name="T70" fmla="*/ 0 h 19"/>
                <a:gd name="T71" fmla="*/ 16 w 16"/>
                <a:gd name="T72" fmla="*/ 19 h 1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6" h="19">
                  <a:moveTo>
                    <a:pt x="14" y="10"/>
                  </a:moveTo>
                  <a:lnTo>
                    <a:pt x="14" y="14"/>
                  </a:lnTo>
                  <a:lnTo>
                    <a:pt x="16" y="17"/>
                  </a:lnTo>
                  <a:lnTo>
                    <a:pt x="16" y="19"/>
                  </a:lnTo>
                  <a:lnTo>
                    <a:pt x="13" y="17"/>
                  </a:lnTo>
                  <a:lnTo>
                    <a:pt x="10" y="18"/>
                  </a:lnTo>
                  <a:lnTo>
                    <a:pt x="8" y="19"/>
                  </a:lnTo>
                  <a:lnTo>
                    <a:pt x="4" y="19"/>
                  </a:lnTo>
                  <a:lnTo>
                    <a:pt x="0" y="16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1" y="7"/>
                  </a:lnTo>
                  <a:lnTo>
                    <a:pt x="3" y="6"/>
                  </a:lnTo>
                  <a:lnTo>
                    <a:pt x="10" y="9"/>
                  </a:lnTo>
                  <a:lnTo>
                    <a:pt x="9" y="7"/>
                  </a:lnTo>
                  <a:lnTo>
                    <a:pt x="6" y="4"/>
                  </a:lnTo>
                  <a:lnTo>
                    <a:pt x="4" y="2"/>
                  </a:lnTo>
                  <a:lnTo>
                    <a:pt x="5" y="0"/>
                  </a:lnTo>
                  <a:lnTo>
                    <a:pt x="8" y="0"/>
                  </a:lnTo>
                  <a:lnTo>
                    <a:pt x="9" y="3"/>
                  </a:lnTo>
                  <a:lnTo>
                    <a:pt x="13" y="4"/>
                  </a:lnTo>
                  <a:lnTo>
                    <a:pt x="15" y="5"/>
                  </a:lnTo>
                  <a:lnTo>
                    <a:pt x="14" y="10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03" name="Freeform 263"/>
            <p:cNvSpPr>
              <a:spLocks/>
            </p:cNvSpPr>
            <p:nvPr/>
          </p:nvSpPr>
          <p:spPr bwMode="auto">
            <a:xfrm>
              <a:off x="2170" y="2495"/>
              <a:ext cx="16" cy="19"/>
            </a:xfrm>
            <a:custGeom>
              <a:avLst/>
              <a:gdLst>
                <a:gd name="T0" fmla="*/ 14 w 16"/>
                <a:gd name="T1" fmla="*/ 10 h 19"/>
                <a:gd name="T2" fmla="*/ 14 w 16"/>
                <a:gd name="T3" fmla="*/ 14 h 19"/>
                <a:gd name="T4" fmla="*/ 16 w 16"/>
                <a:gd name="T5" fmla="*/ 17 h 19"/>
                <a:gd name="T6" fmla="*/ 16 w 16"/>
                <a:gd name="T7" fmla="*/ 19 h 19"/>
                <a:gd name="T8" fmla="*/ 13 w 16"/>
                <a:gd name="T9" fmla="*/ 17 h 19"/>
                <a:gd name="T10" fmla="*/ 10 w 16"/>
                <a:gd name="T11" fmla="*/ 18 h 19"/>
                <a:gd name="T12" fmla="*/ 8 w 16"/>
                <a:gd name="T13" fmla="*/ 19 h 19"/>
                <a:gd name="T14" fmla="*/ 4 w 16"/>
                <a:gd name="T15" fmla="*/ 19 h 19"/>
                <a:gd name="T16" fmla="*/ 0 w 16"/>
                <a:gd name="T17" fmla="*/ 16 h 19"/>
                <a:gd name="T18" fmla="*/ 2 w 16"/>
                <a:gd name="T19" fmla="*/ 13 h 19"/>
                <a:gd name="T20" fmla="*/ 2 w 16"/>
                <a:gd name="T21" fmla="*/ 11 h 19"/>
                <a:gd name="T22" fmla="*/ 1 w 16"/>
                <a:gd name="T23" fmla="*/ 7 h 19"/>
                <a:gd name="T24" fmla="*/ 3 w 16"/>
                <a:gd name="T25" fmla="*/ 6 h 19"/>
                <a:gd name="T26" fmla="*/ 10 w 16"/>
                <a:gd name="T27" fmla="*/ 9 h 19"/>
                <a:gd name="T28" fmla="*/ 9 w 16"/>
                <a:gd name="T29" fmla="*/ 7 h 19"/>
                <a:gd name="T30" fmla="*/ 6 w 16"/>
                <a:gd name="T31" fmla="*/ 4 h 19"/>
                <a:gd name="T32" fmla="*/ 4 w 16"/>
                <a:gd name="T33" fmla="*/ 2 h 19"/>
                <a:gd name="T34" fmla="*/ 5 w 16"/>
                <a:gd name="T35" fmla="*/ 0 h 19"/>
                <a:gd name="T36" fmla="*/ 8 w 16"/>
                <a:gd name="T37" fmla="*/ 0 h 19"/>
                <a:gd name="T38" fmla="*/ 9 w 16"/>
                <a:gd name="T39" fmla="*/ 3 h 19"/>
                <a:gd name="T40" fmla="*/ 13 w 16"/>
                <a:gd name="T41" fmla="*/ 4 h 19"/>
                <a:gd name="T42" fmla="*/ 15 w 16"/>
                <a:gd name="T43" fmla="*/ 5 h 19"/>
                <a:gd name="T44" fmla="*/ 14 w 16"/>
                <a:gd name="T45" fmla="*/ 10 h 1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6"/>
                <a:gd name="T70" fmla="*/ 0 h 19"/>
                <a:gd name="T71" fmla="*/ 16 w 16"/>
                <a:gd name="T72" fmla="*/ 19 h 1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6" h="19">
                  <a:moveTo>
                    <a:pt x="14" y="10"/>
                  </a:moveTo>
                  <a:lnTo>
                    <a:pt x="14" y="14"/>
                  </a:lnTo>
                  <a:lnTo>
                    <a:pt x="16" y="17"/>
                  </a:lnTo>
                  <a:lnTo>
                    <a:pt x="16" y="19"/>
                  </a:lnTo>
                  <a:lnTo>
                    <a:pt x="13" y="17"/>
                  </a:lnTo>
                  <a:lnTo>
                    <a:pt x="10" y="18"/>
                  </a:lnTo>
                  <a:lnTo>
                    <a:pt x="8" y="19"/>
                  </a:lnTo>
                  <a:lnTo>
                    <a:pt x="4" y="19"/>
                  </a:lnTo>
                  <a:lnTo>
                    <a:pt x="0" y="16"/>
                  </a:lnTo>
                  <a:lnTo>
                    <a:pt x="2" y="13"/>
                  </a:lnTo>
                  <a:lnTo>
                    <a:pt x="2" y="11"/>
                  </a:lnTo>
                  <a:lnTo>
                    <a:pt x="1" y="7"/>
                  </a:lnTo>
                  <a:lnTo>
                    <a:pt x="3" y="6"/>
                  </a:lnTo>
                  <a:lnTo>
                    <a:pt x="10" y="9"/>
                  </a:lnTo>
                  <a:lnTo>
                    <a:pt x="9" y="7"/>
                  </a:lnTo>
                  <a:lnTo>
                    <a:pt x="6" y="4"/>
                  </a:lnTo>
                  <a:lnTo>
                    <a:pt x="4" y="2"/>
                  </a:lnTo>
                  <a:lnTo>
                    <a:pt x="5" y="0"/>
                  </a:lnTo>
                  <a:lnTo>
                    <a:pt x="8" y="0"/>
                  </a:lnTo>
                  <a:lnTo>
                    <a:pt x="9" y="3"/>
                  </a:lnTo>
                  <a:lnTo>
                    <a:pt x="13" y="4"/>
                  </a:lnTo>
                  <a:lnTo>
                    <a:pt x="15" y="5"/>
                  </a:lnTo>
                  <a:lnTo>
                    <a:pt x="14" y="1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82" name="Group 267"/>
          <p:cNvGrpSpPr>
            <a:grpSpLocks/>
          </p:cNvGrpSpPr>
          <p:nvPr/>
        </p:nvGrpSpPr>
        <p:grpSpPr bwMode="auto">
          <a:xfrm>
            <a:off x="3709988" y="3313113"/>
            <a:ext cx="17462" cy="6350"/>
            <a:chOff x="1579" y="2087"/>
            <a:chExt cx="11" cy="4"/>
          </a:xfrm>
        </p:grpSpPr>
        <p:sp>
          <p:nvSpPr>
            <p:cNvPr id="34300" name="Freeform 265"/>
            <p:cNvSpPr>
              <a:spLocks/>
            </p:cNvSpPr>
            <p:nvPr/>
          </p:nvSpPr>
          <p:spPr bwMode="auto">
            <a:xfrm>
              <a:off x="1579" y="2087"/>
              <a:ext cx="11" cy="4"/>
            </a:xfrm>
            <a:custGeom>
              <a:avLst/>
              <a:gdLst>
                <a:gd name="T0" fmla="*/ 11 w 11"/>
                <a:gd name="T1" fmla="*/ 3 h 4"/>
                <a:gd name="T2" fmla="*/ 9 w 11"/>
                <a:gd name="T3" fmla="*/ 1 h 4"/>
                <a:gd name="T4" fmla="*/ 2 w 11"/>
                <a:gd name="T5" fmla="*/ 0 h 4"/>
                <a:gd name="T6" fmla="*/ 0 w 11"/>
                <a:gd name="T7" fmla="*/ 1 h 4"/>
                <a:gd name="T8" fmla="*/ 2 w 11"/>
                <a:gd name="T9" fmla="*/ 4 h 4"/>
                <a:gd name="T10" fmla="*/ 6 w 11"/>
                <a:gd name="T11" fmla="*/ 4 h 4"/>
                <a:gd name="T12" fmla="*/ 9 w 11"/>
                <a:gd name="T13" fmla="*/ 4 h 4"/>
                <a:gd name="T14" fmla="*/ 11 w 11"/>
                <a:gd name="T15" fmla="*/ 3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4"/>
                <a:gd name="T26" fmla="*/ 11 w 11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4">
                  <a:moveTo>
                    <a:pt x="11" y="3"/>
                  </a:moveTo>
                  <a:lnTo>
                    <a:pt x="9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4"/>
                  </a:lnTo>
                  <a:lnTo>
                    <a:pt x="6" y="4"/>
                  </a:lnTo>
                  <a:lnTo>
                    <a:pt x="9" y="4"/>
                  </a:lnTo>
                  <a:lnTo>
                    <a:pt x="11" y="3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301" name="Freeform 266"/>
            <p:cNvSpPr>
              <a:spLocks/>
            </p:cNvSpPr>
            <p:nvPr/>
          </p:nvSpPr>
          <p:spPr bwMode="auto">
            <a:xfrm>
              <a:off x="1579" y="2087"/>
              <a:ext cx="11" cy="4"/>
            </a:xfrm>
            <a:custGeom>
              <a:avLst/>
              <a:gdLst>
                <a:gd name="T0" fmla="*/ 11 w 11"/>
                <a:gd name="T1" fmla="*/ 3 h 4"/>
                <a:gd name="T2" fmla="*/ 9 w 11"/>
                <a:gd name="T3" fmla="*/ 1 h 4"/>
                <a:gd name="T4" fmla="*/ 2 w 11"/>
                <a:gd name="T5" fmla="*/ 0 h 4"/>
                <a:gd name="T6" fmla="*/ 0 w 11"/>
                <a:gd name="T7" fmla="*/ 1 h 4"/>
                <a:gd name="T8" fmla="*/ 2 w 11"/>
                <a:gd name="T9" fmla="*/ 4 h 4"/>
                <a:gd name="T10" fmla="*/ 6 w 11"/>
                <a:gd name="T11" fmla="*/ 4 h 4"/>
                <a:gd name="T12" fmla="*/ 9 w 11"/>
                <a:gd name="T13" fmla="*/ 4 h 4"/>
                <a:gd name="T14" fmla="*/ 11 w 11"/>
                <a:gd name="T15" fmla="*/ 3 h 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4"/>
                <a:gd name="T26" fmla="*/ 11 w 11"/>
                <a:gd name="T27" fmla="*/ 4 h 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4">
                  <a:moveTo>
                    <a:pt x="11" y="3"/>
                  </a:moveTo>
                  <a:lnTo>
                    <a:pt x="9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2" y="4"/>
                  </a:lnTo>
                  <a:lnTo>
                    <a:pt x="6" y="4"/>
                  </a:lnTo>
                  <a:lnTo>
                    <a:pt x="9" y="4"/>
                  </a:lnTo>
                  <a:lnTo>
                    <a:pt x="11" y="3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83" name="Group 270"/>
          <p:cNvGrpSpPr>
            <a:grpSpLocks/>
          </p:cNvGrpSpPr>
          <p:nvPr/>
        </p:nvGrpSpPr>
        <p:grpSpPr bwMode="auto">
          <a:xfrm>
            <a:off x="3719513" y="3297238"/>
            <a:ext cx="23812" cy="30162"/>
            <a:chOff x="1585" y="2077"/>
            <a:chExt cx="15" cy="19"/>
          </a:xfrm>
        </p:grpSpPr>
        <p:sp>
          <p:nvSpPr>
            <p:cNvPr id="34298" name="Freeform 268"/>
            <p:cNvSpPr>
              <a:spLocks/>
            </p:cNvSpPr>
            <p:nvPr/>
          </p:nvSpPr>
          <p:spPr bwMode="auto">
            <a:xfrm>
              <a:off x="1585" y="2077"/>
              <a:ext cx="15" cy="19"/>
            </a:xfrm>
            <a:custGeom>
              <a:avLst/>
              <a:gdLst>
                <a:gd name="T0" fmla="*/ 15 w 15"/>
                <a:gd name="T1" fmla="*/ 19 h 19"/>
                <a:gd name="T2" fmla="*/ 15 w 15"/>
                <a:gd name="T3" fmla="*/ 19 h 19"/>
                <a:gd name="T4" fmla="*/ 15 w 15"/>
                <a:gd name="T5" fmla="*/ 15 h 19"/>
                <a:gd name="T6" fmla="*/ 13 w 15"/>
                <a:gd name="T7" fmla="*/ 10 h 19"/>
                <a:gd name="T8" fmla="*/ 8 w 15"/>
                <a:gd name="T9" fmla="*/ 3 h 19"/>
                <a:gd name="T10" fmla="*/ 3 w 15"/>
                <a:gd name="T11" fmla="*/ 0 h 19"/>
                <a:gd name="T12" fmla="*/ 0 w 15"/>
                <a:gd name="T13" fmla="*/ 5 h 19"/>
                <a:gd name="T14" fmla="*/ 1 w 15"/>
                <a:gd name="T15" fmla="*/ 7 h 19"/>
                <a:gd name="T16" fmla="*/ 7 w 15"/>
                <a:gd name="T17" fmla="*/ 10 h 19"/>
                <a:gd name="T18" fmla="*/ 11 w 15"/>
                <a:gd name="T19" fmla="*/ 14 h 19"/>
                <a:gd name="T20" fmla="*/ 11 w 15"/>
                <a:gd name="T21" fmla="*/ 18 h 19"/>
                <a:gd name="T22" fmla="*/ 12 w 15"/>
                <a:gd name="T23" fmla="*/ 19 h 19"/>
                <a:gd name="T24" fmla="*/ 15 w 15"/>
                <a:gd name="T25" fmla="*/ 19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"/>
                <a:gd name="T40" fmla="*/ 0 h 19"/>
                <a:gd name="T41" fmla="*/ 15 w 15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" h="19">
                  <a:moveTo>
                    <a:pt x="15" y="19"/>
                  </a:moveTo>
                  <a:lnTo>
                    <a:pt x="15" y="19"/>
                  </a:lnTo>
                  <a:lnTo>
                    <a:pt x="15" y="15"/>
                  </a:lnTo>
                  <a:lnTo>
                    <a:pt x="13" y="10"/>
                  </a:lnTo>
                  <a:lnTo>
                    <a:pt x="8" y="3"/>
                  </a:lnTo>
                  <a:lnTo>
                    <a:pt x="3" y="0"/>
                  </a:lnTo>
                  <a:lnTo>
                    <a:pt x="0" y="5"/>
                  </a:lnTo>
                  <a:lnTo>
                    <a:pt x="1" y="7"/>
                  </a:lnTo>
                  <a:lnTo>
                    <a:pt x="7" y="10"/>
                  </a:lnTo>
                  <a:lnTo>
                    <a:pt x="11" y="14"/>
                  </a:lnTo>
                  <a:lnTo>
                    <a:pt x="11" y="18"/>
                  </a:lnTo>
                  <a:lnTo>
                    <a:pt x="12" y="19"/>
                  </a:lnTo>
                  <a:lnTo>
                    <a:pt x="15" y="19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99" name="Freeform 269"/>
            <p:cNvSpPr>
              <a:spLocks/>
            </p:cNvSpPr>
            <p:nvPr/>
          </p:nvSpPr>
          <p:spPr bwMode="auto">
            <a:xfrm>
              <a:off x="1585" y="2077"/>
              <a:ext cx="15" cy="19"/>
            </a:xfrm>
            <a:custGeom>
              <a:avLst/>
              <a:gdLst>
                <a:gd name="T0" fmla="*/ 15 w 15"/>
                <a:gd name="T1" fmla="*/ 19 h 19"/>
                <a:gd name="T2" fmla="*/ 15 w 15"/>
                <a:gd name="T3" fmla="*/ 19 h 19"/>
                <a:gd name="T4" fmla="*/ 15 w 15"/>
                <a:gd name="T5" fmla="*/ 15 h 19"/>
                <a:gd name="T6" fmla="*/ 13 w 15"/>
                <a:gd name="T7" fmla="*/ 10 h 19"/>
                <a:gd name="T8" fmla="*/ 8 w 15"/>
                <a:gd name="T9" fmla="*/ 3 h 19"/>
                <a:gd name="T10" fmla="*/ 3 w 15"/>
                <a:gd name="T11" fmla="*/ 0 h 19"/>
                <a:gd name="T12" fmla="*/ 0 w 15"/>
                <a:gd name="T13" fmla="*/ 5 h 19"/>
                <a:gd name="T14" fmla="*/ 1 w 15"/>
                <a:gd name="T15" fmla="*/ 7 h 19"/>
                <a:gd name="T16" fmla="*/ 7 w 15"/>
                <a:gd name="T17" fmla="*/ 10 h 19"/>
                <a:gd name="T18" fmla="*/ 11 w 15"/>
                <a:gd name="T19" fmla="*/ 14 h 19"/>
                <a:gd name="T20" fmla="*/ 11 w 15"/>
                <a:gd name="T21" fmla="*/ 18 h 19"/>
                <a:gd name="T22" fmla="*/ 12 w 15"/>
                <a:gd name="T23" fmla="*/ 19 h 19"/>
                <a:gd name="T24" fmla="*/ 15 w 15"/>
                <a:gd name="T25" fmla="*/ 19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"/>
                <a:gd name="T40" fmla="*/ 0 h 19"/>
                <a:gd name="T41" fmla="*/ 15 w 15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" h="19">
                  <a:moveTo>
                    <a:pt x="15" y="19"/>
                  </a:moveTo>
                  <a:lnTo>
                    <a:pt x="15" y="19"/>
                  </a:lnTo>
                  <a:lnTo>
                    <a:pt x="15" y="15"/>
                  </a:lnTo>
                  <a:lnTo>
                    <a:pt x="13" y="10"/>
                  </a:lnTo>
                  <a:lnTo>
                    <a:pt x="8" y="3"/>
                  </a:lnTo>
                  <a:lnTo>
                    <a:pt x="3" y="0"/>
                  </a:lnTo>
                  <a:lnTo>
                    <a:pt x="0" y="5"/>
                  </a:lnTo>
                  <a:lnTo>
                    <a:pt x="1" y="7"/>
                  </a:lnTo>
                  <a:lnTo>
                    <a:pt x="7" y="10"/>
                  </a:lnTo>
                  <a:lnTo>
                    <a:pt x="11" y="14"/>
                  </a:lnTo>
                  <a:lnTo>
                    <a:pt x="11" y="18"/>
                  </a:lnTo>
                  <a:lnTo>
                    <a:pt x="12" y="19"/>
                  </a:lnTo>
                  <a:lnTo>
                    <a:pt x="15" y="19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84" name="Group 273"/>
          <p:cNvGrpSpPr>
            <a:grpSpLocks/>
          </p:cNvGrpSpPr>
          <p:nvPr/>
        </p:nvGrpSpPr>
        <p:grpSpPr bwMode="auto">
          <a:xfrm>
            <a:off x="3732213" y="3295650"/>
            <a:ext cx="19050" cy="22225"/>
            <a:chOff x="1593" y="2076"/>
            <a:chExt cx="12" cy="14"/>
          </a:xfrm>
        </p:grpSpPr>
        <p:sp>
          <p:nvSpPr>
            <p:cNvPr id="34296" name="Freeform 271"/>
            <p:cNvSpPr>
              <a:spLocks/>
            </p:cNvSpPr>
            <p:nvPr/>
          </p:nvSpPr>
          <p:spPr bwMode="auto">
            <a:xfrm>
              <a:off x="1593" y="2076"/>
              <a:ext cx="12" cy="14"/>
            </a:xfrm>
            <a:custGeom>
              <a:avLst/>
              <a:gdLst>
                <a:gd name="T0" fmla="*/ 10 w 12"/>
                <a:gd name="T1" fmla="*/ 14 h 14"/>
                <a:gd name="T2" fmla="*/ 12 w 12"/>
                <a:gd name="T3" fmla="*/ 13 h 14"/>
                <a:gd name="T4" fmla="*/ 12 w 12"/>
                <a:gd name="T5" fmla="*/ 12 h 14"/>
                <a:gd name="T6" fmla="*/ 7 w 12"/>
                <a:gd name="T7" fmla="*/ 5 h 14"/>
                <a:gd name="T8" fmla="*/ 5 w 12"/>
                <a:gd name="T9" fmla="*/ 4 h 14"/>
                <a:gd name="T10" fmla="*/ 2 w 12"/>
                <a:gd name="T11" fmla="*/ 0 h 14"/>
                <a:gd name="T12" fmla="*/ 0 w 12"/>
                <a:gd name="T13" fmla="*/ 0 h 14"/>
                <a:gd name="T14" fmla="*/ 2 w 12"/>
                <a:gd name="T15" fmla="*/ 5 h 14"/>
                <a:gd name="T16" fmla="*/ 4 w 12"/>
                <a:gd name="T17" fmla="*/ 8 h 14"/>
                <a:gd name="T18" fmla="*/ 7 w 12"/>
                <a:gd name="T19" fmla="*/ 13 h 14"/>
                <a:gd name="T20" fmla="*/ 10 w 12"/>
                <a:gd name="T21" fmla="*/ 14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14"/>
                <a:gd name="T35" fmla="*/ 12 w 12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14">
                  <a:moveTo>
                    <a:pt x="10" y="14"/>
                  </a:moveTo>
                  <a:lnTo>
                    <a:pt x="12" y="13"/>
                  </a:lnTo>
                  <a:lnTo>
                    <a:pt x="12" y="12"/>
                  </a:lnTo>
                  <a:lnTo>
                    <a:pt x="7" y="5"/>
                  </a:lnTo>
                  <a:lnTo>
                    <a:pt x="5" y="4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5"/>
                  </a:lnTo>
                  <a:lnTo>
                    <a:pt x="4" y="8"/>
                  </a:lnTo>
                  <a:lnTo>
                    <a:pt x="7" y="13"/>
                  </a:lnTo>
                  <a:lnTo>
                    <a:pt x="10" y="14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97" name="Freeform 272"/>
            <p:cNvSpPr>
              <a:spLocks/>
            </p:cNvSpPr>
            <p:nvPr/>
          </p:nvSpPr>
          <p:spPr bwMode="auto">
            <a:xfrm>
              <a:off x="1593" y="2076"/>
              <a:ext cx="12" cy="14"/>
            </a:xfrm>
            <a:custGeom>
              <a:avLst/>
              <a:gdLst>
                <a:gd name="T0" fmla="*/ 10 w 12"/>
                <a:gd name="T1" fmla="*/ 14 h 14"/>
                <a:gd name="T2" fmla="*/ 12 w 12"/>
                <a:gd name="T3" fmla="*/ 13 h 14"/>
                <a:gd name="T4" fmla="*/ 12 w 12"/>
                <a:gd name="T5" fmla="*/ 12 h 14"/>
                <a:gd name="T6" fmla="*/ 7 w 12"/>
                <a:gd name="T7" fmla="*/ 5 h 14"/>
                <a:gd name="T8" fmla="*/ 5 w 12"/>
                <a:gd name="T9" fmla="*/ 4 h 14"/>
                <a:gd name="T10" fmla="*/ 2 w 12"/>
                <a:gd name="T11" fmla="*/ 0 h 14"/>
                <a:gd name="T12" fmla="*/ 0 w 12"/>
                <a:gd name="T13" fmla="*/ 0 h 14"/>
                <a:gd name="T14" fmla="*/ 2 w 12"/>
                <a:gd name="T15" fmla="*/ 5 h 14"/>
                <a:gd name="T16" fmla="*/ 4 w 12"/>
                <a:gd name="T17" fmla="*/ 8 h 14"/>
                <a:gd name="T18" fmla="*/ 7 w 12"/>
                <a:gd name="T19" fmla="*/ 13 h 14"/>
                <a:gd name="T20" fmla="*/ 10 w 12"/>
                <a:gd name="T21" fmla="*/ 14 h 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"/>
                <a:gd name="T34" fmla="*/ 0 h 14"/>
                <a:gd name="T35" fmla="*/ 12 w 12"/>
                <a:gd name="T36" fmla="*/ 14 h 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" h="14">
                  <a:moveTo>
                    <a:pt x="10" y="14"/>
                  </a:moveTo>
                  <a:lnTo>
                    <a:pt x="12" y="13"/>
                  </a:lnTo>
                  <a:lnTo>
                    <a:pt x="12" y="12"/>
                  </a:lnTo>
                  <a:lnTo>
                    <a:pt x="7" y="5"/>
                  </a:lnTo>
                  <a:lnTo>
                    <a:pt x="5" y="4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5"/>
                  </a:lnTo>
                  <a:lnTo>
                    <a:pt x="4" y="8"/>
                  </a:lnTo>
                  <a:lnTo>
                    <a:pt x="7" y="13"/>
                  </a:lnTo>
                  <a:lnTo>
                    <a:pt x="10" y="14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85" name="Group 276"/>
          <p:cNvGrpSpPr>
            <a:grpSpLocks/>
          </p:cNvGrpSpPr>
          <p:nvPr/>
        </p:nvGrpSpPr>
        <p:grpSpPr bwMode="auto">
          <a:xfrm>
            <a:off x="3746500" y="3295650"/>
            <a:ext cx="12700" cy="12700"/>
            <a:chOff x="1602" y="2076"/>
            <a:chExt cx="8" cy="8"/>
          </a:xfrm>
        </p:grpSpPr>
        <p:sp>
          <p:nvSpPr>
            <p:cNvPr id="34294" name="Freeform 274"/>
            <p:cNvSpPr>
              <a:spLocks/>
            </p:cNvSpPr>
            <p:nvPr/>
          </p:nvSpPr>
          <p:spPr bwMode="auto">
            <a:xfrm>
              <a:off x="1602" y="2076"/>
              <a:ext cx="8" cy="8"/>
            </a:xfrm>
            <a:custGeom>
              <a:avLst/>
              <a:gdLst>
                <a:gd name="T0" fmla="*/ 7 w 8"/>
                <a:gd name="T1" fmla="*/ 2 h 8"/>
                <a:gd name="T2" fmla="*/ 8 w 8"/>
                <a:gd name="T3" fmla="*/ 1 h 8"/>
                <a:gd name="T4" fmla="*/ 0 w 8"/>
                <a:gd name="T5" fmla="*/ 0 h 8"/>
                <a:gd name="T6" fmla="*/ 0 w 8"/>
                <a:gd name="T7" fmla="*/ 2 h 8"/>
                <a:gd name="T8" fmla="*/ 1 w 8"/>
                <a:gd name="T9" fmla="*/ 6 h 8"/>
                <a:gd name="T10" fmla="*/ 4 w 8"/>
                <a:gd name="T11" fmla="*/ 8 h 8"/>
                <a:gd name="T12" fmla="*/ 6 w 8"/>
                <a:gd name="T13" fmla="*/ 7 h 8"/>
                <a:gd name="T14" fmla="*/ 7 w 8"/>
                <a:gd name="T15" fmla="*/ 2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8"/>
                <a:gd name="T26" fmla="*/ 8 w 8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8">
                  <a:moveTo>
                    <a:pt x="7" y="2"/>
                  </a:moveTo>
                  <a:lnTo>
                    <a:pt x="8" y="1"/>
                  </a:lnTo>
                  <a:lnTo>
                    <a:pt x="0" y="0"/>
                  </a:lnTo>
                  <a:lnTo>
                    <a:pt x="0" y="2"/>
                  </a:lnTo>
                  <a:lnTo>
                    <a:pt x="1" y="6"/>
                  </a:lnTo>
                  <a:lnTo>
                    <a:pt x="4" y="8"/>
                  </a:lnTo>
                  <a:lnTo>
                    <a:pt x="6" y="7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95" name="Freeform 275"/>
            <p:cNvSpPr>
              <a:spLocks/>
            </p:cNvSpPr>
            <p:nvPr/>
          </p:nvSpPr>
          <p:spPr bwMode="auto">
            <a:xfrm>
              <a:off x="1602" y="2076"/>
              <a:ext cx="8" cy="8"/>
            </a:xfrm>
            <a:custGeom>
              <a:avLst/>
              <a:gdLst>
                <a:gd name="T0" fmla="*/ 7 w 8"/>
                <a:gd name="T1" fmla="*/ 2 h 8"/>
                <a:gd name="T2" fmla="*/ 8 w 8"/>
                <a:gd name="T3" fmla="*/ 1 h 8"/>
                <a:gd name="T4" fmla="*/ 0 w 8"/>
                <a:gd name="T5" fmla="*/ 0 h 8"/>
                <a:gd name="T6" fmla="*/ 0 w 8"/>
                <a:gd name="T7" fmla="*/ 2 h 8"/>
                <a:gd name="T8" fmla="*/ 1 w 8"/>
                <a:gd name="T9" fmla="*/ 6 h 8"/>
                <a:gd name="T10" fmla="*/ 4 w 8"/>
                <a:gd name="T11" fmla="*/ 8 h 8"/>
                <a:gd name="T12" fmla="*/ 6 w 8"/>
                <a:gd name="T13" fmla="*/ 7 h 8"/>
                <a:gd name="T14" fmla="*/ 7 w 8"/>
                <a:gd name="T15" fmla="*/ 2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"/>
                <a:gd name="T25" fmla="*/ 0 h 8"/>
                <a:gd name="T26" fmla="*/ 8 w 8"/>
                <a:gd name="T27" fmla="*/ 8 h 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" h="8">
                  <a:moveTo>
                    <a:pt x="7" y="2"/>
                  </a:moveTo>
                  <a:lnTo>
                    <a:pt x="8" y="1"/>
                  </a:lnTo>
                  <a:lnTo>
                    <a:pt x="0" y="0"/>
                  </a:lnTo>
                  <a:lnTo>
                    <a:pt x="0" y="2"/>
                  </a:lnTo>
                  <a:lnTo>
                    <a:pt x="1" y="6"/>
                  </a:lnTo>
                  <a:lnTo>
                    <a:pt x="4" y="8"/>
                  </a:lnTo>
                  <a:lnTo>
                    <a:pt x="6" y="7"/>
                  </a:lnTo>
                  <a:lnTo>
                    <a:pt x="7" y="2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86" name="Group 279"/>
          <p:cNvGrpSpPr>
            <a:grpSpLocks/>
          </p:cNvGrpSpPr>
          <p:nvPr/>
        </p:nvGrpSpPr>
        <p:grpSpPr bwMode="auto">
          <a:xfrm>
            <a:off x="3740150" y="3335338"/>
            <a:ext cx="11113" cy="14287"/>
            <a:chOff x="1598" y="2101"/>
            <a:chExt cx="7" cy="9"/>
          </a:xfrm>
        </p:grpSpPr>
        <p:sp>
          <p:nvSpPr>
            <p:cNvPr id="34292" name="Freeform 277"/>
            <p:cNvSpPr>
              <a:spLocks/>
            </p:cNvSpPr>
            <p:nvPr/>
          </p:nvSpPr>
          <p:spPr bwMode="auto">
            <a:xfrm>
              <a:off x="1598" y="2101"/>
              <a:ext cx="7" cy="9"/>
            </a:xfrm>
            <a:custGeom>
              <a:avLst/>
              <a:gdLst>
                <a:gd name="T0" fmla="*/ 7 w 7"/>
                <a:gd name="T1" fmla="*/ 8 h 9"/>
                <a:gd name="T2" fmla="*/ 7 w 7"/>
                <a:gd name="T3" fmla="*/ 4 h 9"/>
                <a:gd name="T4" fmla="*/ 6 w 7"/>
                <a:gd name="T5" fmla="*/ 1 h 9"/>
                <a:gd name="T6" fmla="*/ 2 w 7"/>
                <a:gd name="T7" fmla="*/ 0 h 9"/>
                <a:gd name="T8" fmla="*/ 0 w 7"/>
                <a:gd name="T9" fmla="*/ 1 h 9"/>
                <a:gd name="T10" fmla="*/ 0 w 7"/>
                <a:gd name="T11" fmla="*/ 4 h 9"/>
                <a:gd name="T12" fmla="*/ 2 w 7"/>
                <a:gd name="T13" fmla="*/ 5 h 9"/>
                <a:gd name="T14" fmla="*/ 4 w 7"/>
                <a:gd name="T15" fmla="*/ 8 h 9"/>
                <a:gd name="T16" fmla="*/ 6 w 7"/>
                <a:gd name="T17" fmla="*/ 9 h 9"/>
                <a:gd name="T18" fmla="*/ 7 w 7"/>
                <a:gd name="T19" fmla="*/ 8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8"/>
                  </a:moveTo>
                  <a:lnTo>
                    <a:pt x="7" y="4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2" y="5"/>
                  </a:lnTo>
                  <a:lnTo>
                    <a:pt x="4" y="8"/>
                  </a:lnTo>
                  <a:lnTo>
                    <a:pt x="6" y="9"/>
                  </a:lnTo>
                  <a:lnTo>
                    <a:pt x="7" y="8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93" name="Freeform 278"/>
            <p:cNvSpPr>
              <a:spLocks/>
            </p:cNvSpPr>
            <p:nvPr/>
          </p:nvSpPr>
          <p:spPr bwMode="auto">
            <a:xfrm>
              <a:off x="1598" y="2101"/>
              <a:ext cx="7" cy="9"/>
            </a:xfrm>
            <a:custGeom>
              <a:avLst/>
              <a:gdLst>
                <a:gd name="T0" fmla="*/ 7 w 7"/>
                <a:gd name="T1" fmla="*/ 8 h 9"/>
                <a:gd name="T2" fmla="*/ 7 w 7"/>
                <a:gd name="T3" fmla="*/ 4 h 9"/>
                <a:gd name="T4" fmla="*/ 6 w 7"/>
                <a:gd name="T5" fmla="*/ 1 h 9"/>
                <a:gd name="T6" fmla="*/ 2 w 7"/>
                <a:gd name="T7" fmla="*/ 0 h 9"/>
                <a:gd name="T8" fmla="*/ 0 w 7"/>
                <a:gd name="T9" fmla="*/ 1 h 9"/>
                <a:gd name="T10" fmla="*/ 0 w 7"/>
                <a:gd name="T11" fmla="*/ 4 h 9"/>
                <a:gd name="T12" fmla="*/ 2 w 7"/>
                <a:gd name="T13" fmla="*/ 5 h 9"/>
                <a:gd name="T14" fmla="*/ 4 w 7"/>
                <a:gd name="T15" fmla="*/ 8 h 9"/>
                <a:gd name="T16" fmla="*/ 6 w 7"/>
                <a:gd name="T17" fmla="*/ 9 h 9"/>
                <a:gd name="T18" fmla="*/ 7 w 7"/>
                <a:gd name="T19" fmla="*/ 8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8"/>
                  </a:moveTo>
                  <a:lnTo>
                    <a:pt x="7" y="4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1"/>
                  </a:lnTo>
                  <a:lnTo>
                    <a:pt x="0" y="4"/>
                  </a:lnTo>
                  <a:lnTo>
                    <a:pt x="2" y="5"/>
                  </a:lnTo>
                  <a:lnTo>
                    <a:pt x="4" y="8"/>
                  </a:lnTo>
                  <a:lnTo>
                    <a:pt x="6" y="9"/>
                  </a:lnTo>
                  <a:lnTo>
                    <a:pt x="7" y="8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87" name="Group 282"/>
          <p:cNvGrpSpPr>
            <a:grpSpLocks/>
          </p:cNvGrpSpPr>
          <p:nvPr/>
        </p:nvGrpSpPr>
        <p:grpSpPr bwMode="auto">
          <a:xfrm>
            <a:off x="3735388" y="3357563"/>
            <a:ext cx="9525" cy="25400"/>
            <a:chOff x="1595" y="2115"/>
            <a:chExt cx="6" cy="16"/>
          </a:xfrm>
        </p:grpSpPr>
        <p:sp>
          <p:nvSpPr>
            <p:cNvPr id="34290" name="Freeform 280"/>
            <p:cNvSpPr>
              <a:spLocks/>
            </p:cNvSpPr>
            <p:nvPr/>
          </p:nvSpPr>
          <p:spPr bwMode="auto">
            <a:xfrm>
              <a:off x="1595" y="2115"/>
              <a:ext cx="6" cy="16"/>
            </a:xfrm>
            <a:custGeom>
              <a:avLst/>
              <a:gdLst>
                <a:gd name="T0" fmla="*/ 2 w 6"/>
                <a:gd name="T1" fmla="*/ 2 h 16"/>
                <a:gd name="T2" fmla="*/ 1 w 6"/>
                <a:gd name="T3" fmla="*/ 0 h 16"/>
                <a:gd name="T4" fmla="*/ 0 w 6"/>
                <a:gd name="T5" fmla="*/ 3 h 16"/>
                <a:gd name="T6" fmla="*/ 1 w 6"/>
                <a:gd name="T7" fmla="*/ 12 h 16"/>
                <a:gd name="T8" fmla="*/ 3 w 6"/>
                <a:gd name="T9" fmla="*/ 15 h 16"/>
                <a:gd name="T10" fmla="*/ 4 w 6"/>
                <a:gd name="T11" fmla="*/ 16 h 16"/>
                <a:gd name="T12" fmla="*/ 6 w 6"/>
                <a:gd name="T13" fmla="*/ 14 h 16"/>
                <a:gd name="T14" fmla="*/ 6 w 6"/>
                <a:gd name="T15" fmla="*/ 11 h 16"/>
                <a:gd name="T16" fmla="*/ 6 w 6"/>
                <a:gd name="T17" fmla="*/ 8 h 16"/>
                <a:gd name="T18" fmla="*/ 2 w 6"/>
                <a:gd name="T19" fmla="*/ 2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2" y="2"/>
                  </a:moveTo>
                  <a:lnTo>
                    <a:pt x="1" y="0"/>
                  </a:lnTo>
                  <a:lnTo>
                    <a:pt x="0" y="3"/>
                  </a:lnTo>
                  <a:lnTo>
                    <a:pt x="1" y="12"/>
                  </a:lnTo>
                  <a:lnTo>
                    <a:pt x="3" y="15"/>
                  </a:lnTo>
                  <a:lnTo>
                    <a:pt x="4" y="16"/>
                  </a:lnTo>
                  <a:lnTo>
                    <a:pt x="6" y="14"/>
                  </a:lnTo>
                  <a:lnTo>
                    <a:pt x="6" y="11"/>
                  </a:lnTo>
                  <a:lnTo>
                    <a:pt x="6" y="8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91" name="Freeform 281"/>
            <p:cNvSpPr>
              <a:spLocks/>
            </p:cNvSpPr>
            <p:nvPr/>
          </p:nvSpPr>
          <p:spPr bwMode="auto">
            <a:xfrm>
              <a:off x="1595" y="2115"/>
              <a:ext cx="6" cy="16"/>
            </a:xfrm>
            <a:custGeom>
              <a:avLst/>
              <a:gdLst>
                <a:gd name="T0" fmla="*/ 2 w 6"/>
                <a:gd name="T1" fmla="*/ 2 h 16"/>
                <a:gd name="T2" fmla="*/ 1 w 6"/>
                <a:gd name="T3" fmla="*/ 0 h 16"/>
                <a:gd name="T4" fmla="*/ 0 w 6"/>
                <a:gd name="T5" fmla="*/ 3 h 16"/>
                <a:gd name="T6" fmla="*/ 1 w 6"/>
                <a:gd name="T7" fmla="*/ 12 h 16"/>
                <a:gd name="T8" fmla="*/ 3 w 6"/>
                <a:gd name="T9" fmla="*/ 15 h 16"/>
                <a:gd name="T10" fmla="*/ 4 w 6"/>
                <a:gd name="T11" fmla="*/ 16 h 16"/>
                <a:gd name="T12" fmla="*/ 6 w 6"/>
                <a:gd name="T13" fmla="*/ 14 h 16"/>
                <a:gd name="T14" fmla="*/ 6 w 6"/>
                <a:gd name="T15" fmla="*/ 11 h 16"/>
                <a:gd name="T16" fmla="*/ 6 w 6"/>
                <a:gd name="T17" fmla="*/ 8 h 16"/>
                <a:gd name="T18" fmla="*/ 2 w 6"/>
                <a:gd name="T19" fmla="*/ 2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2" y="2"/>
                  </a:moveTo>
                  <a:lnTo>
                    <a:pt x="1" y="0"/>
                  </a:lnTo>
                  <a:lnTo>
                    <a:pt x="0" y="3"/>
                  </a:lnTo>
                  <a:lnTo>
                    <a:pt x="1" y="12"/>
                  </a:lnTo>
                  <a:lnTo>
                    <a:pt x="3" y="15"/>
                  </a:lnTo>
                  <a:lnTo>
                    <a:pt x="4" y="16"/>
                  </a:lnTo>
                  <a:lnTo>
                    <a:pt x="6" y="14"/>
                  </a:lnTo>
                  <a:lnTo>
                    <a:pt x="6" y="11"/>
                  </a:lnTo>
                  <a:lnTo>
                    <a:pt x="6" y="8"/>
                  </a:lnTo>
                  <a:lnTo>
                    <a:pt x="2" y="2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88" name="Group 285"/>
          <p:cNvGrpSpPr>
            <a:grpSpLocks/>
          </p:cNvGrpSpPr>
          <p:nvPr/>
        </p:nvGrpSpPr>
        <p:grpSpPr bwMode="auto">
          <a:xfrm>
            <a:off x="4419600" y="3711575"/>
            <a:ext cx="127000" cy="234950"/>
            <a:chOff x="2026" y="2338"/>
            <a:chExt cx="80" cy="148"/>
          </a:xfrm>
        </p:grpSpPr>
        <p:sp>
          <p:nvSpPr>
            <p:cNvPr id="34288" name="Freeform 283"/>
            <p:cNvSpPr>
              <a:spLocks/>
            </p:cNvSpPr>
            <p:nvPr/>
          </p:nvSpPr>
          <p:spPr bwMode="auto">
            <a:xfrm>
              <a:off x="2026" y="2338"/>
              <a:ext cx="80" cy="148"/>
            </a:xfrm>
            <a:custGeom>
              <a:avLst/>
              <a:gdLst>
                <a:gd name="T0" fmla="*/ 23 w 80"/>
                <a:gd name="T1" fmla="*/ 145 h 148"/>
                <a:gd name="T2" fmla="*/ 39 w 80"/>
                <a:gd name="T3" fmla="*/ 146 h 148"/>
                <a:gd name="T4" fmla="*/ 42 w 80"/>
                <a:gd name="T5" fmla="*/ 144 h 148"/>
                <a:gd name="T6" fmla="*/ 44 w 80"/>
                <a:gd name="T7" fmla="*/ 145 h 148"/>
                <a:gd name="T8" fmla="*/ 46 w 80"/>
                <a:gd name="T9" fmla="*/ 144 h 148"/>
                <a:gd name="T10" fmla="*/ 43 w 80"/>
                <a:gd name="T11" fmla="*/ 139 h 148"/>
                <a:gd name="T12" fmla="*/ 39 w 80"/>
                <a:gd name="T13" fmla="*/ 136 h 148"/>
                <a:gd name="T14" fmla="*/ 44 w 80"/>
                <a:gd name="T15" fmla="*/ 129 h 148"/>
                <a:gd name="T16" fmla="*/ 43 w 80"/>
                <a:gd name="T17" fmla="*/ 127 h 148"/>
                <a:gd name="T18" fmla="*/ 44 w 80"/>
                <a:gd name="T19" fmla="*/ 117 h 148"/>
                <a:gd name="T20" fmla="*/ 47 w 80"/>
                <a:gd name="T21" fmla="*/ 110 h 148"/>
                <a:gd name="T22" fmla="*/ 44 w 80"/>
                <a:gd name="T23" fmla="*/ 104 h 148"/>
                <a:gd name="T24" fmla="*/ 53 w 80"/>
                <a:gd name="T25" fmla="*/ 104 h 148"/>
                <a:gd name="T26" fmla="*/ 51 w 80"/>
                <a:gd name="T27" fmla="*/ 96 h 148"/>
                <a:gd name="T28" fmla="*/ 60 w 80"/>
                <a:gd name="T29" fmla="*/ 95 h 148"/>
                <a:gd name="T30" fmla="*/ 61 w 80"/>
                <a:gd name="T31" fmla="*/ 85 h 148"/>
                <a:gd name="T32" fmla="*/ 66 w 80"/>
                <a:gd name="T33" fmla="*/ 78 h 148"/>
                <a:gd name="T34" fmla="*/ 68 w 80"/>
                <a:gd name="T35" fmla="*/ 84 h 148"/>
                <a:gd name="T36" fmla="*/ 72 w 80"/>
                <a:gd name="T37" fmla="*/ 81 h 148"/>
                <a:gd name="T38" fmla="*/ 80 w 80"/>
                <a:gd name="T39" fmla="*/ 69 h 148"/>
                <a:gd name="T40" fmla="*/ 76 w 80"/>
                <a:gd name="T41" fmla="*/ 64 h 148"/>
                <a:gd name="T42" fmla="*/ 68 w 80"/>
                <a:gd name="T43" fmla="*/ 66 h 148"/>
                <a:gd name="T44" fmla="*/ 62 w 80"/>
                <a:gd name="T45" fmla="*/ 63 h 148"/>
                <a:gd name="T46" fmla="*/ 58 w 80"/>
                <a:gd name="T47" fmla="*/ 64 h 148"/>
                <a:gd name="T48" fmla="*/ 62 w 80"/>
                <a:gd name="T49" fmla="*/ 57 h 148"/>
                <a:gd name="T50" fmla="*/ 57 w 80"/>
                <a:gd name="T51" fmla="*/ 57 h 148"/>
                <a:gd name="T52" fmla="*/ 61 w 80"/>
                <a:gd name="T53" fmla="*/ 53 h 148"/>
                <a:gd name="T54" fmla="*/ 62 w 80"/>
                <a:gd name="T55" fmla="*/ 48 h 148"/>
                <a:gd name="T56" fmla="*/ 63 w 80"/>
                <a:gd name="T57" fmla="*/ 34 h 148"/>
                <a:gd name="T58" fmla="*/ 68 w 80"/>
                <a:gd name="T59" fmla="*/ 20 h 148"/>
                <a:gd name="T60" fmla="*/ 67 w 80"/>
                <a:gd name="T61" fmla="*/ 4 h 148"/>
                <a:gd name="T62" fmla="*/ 67 w 80"/>
                <a:gd name="T63" fmla="*/ 0 h 148"/>
                <a:gd name="T64" fmla="*/ 53 w 80"/>
                <a:gd name="T65" fmla="*/ 8 h 148"/>
                <a:gd name="T66" fmla="*/ 43 w 80"/>
                <a:gd name="T67" fmla="*/ 23 h 148"/>
                <a:gd name="T68" fmla="*/ 15 w 80"/>
                <a:gd name="T69" fmla="*/ 32 h 148"/>
                <a:gd name="T70" fmla="*/ 8 w 80"/>
                <a:gd name="T71" fmla="*/ 42 h 148"/>
                <a:gd name="T72" fmla="*/ 4 w 80"/>
                <a:gd name="T73" fmla="*/ 62 h 148"/>
                <a:gd name="T74" fmla="*/ 0 w 80"/>
                <a:gd name="T75" fmla="*/ 76 h 148"/>
                <a:gd name="T76" fmla="*/ 4 w 80"/>
                <a:gd name="T77" fmla="*/ 96 h 148"/>
                <a:gd name="T78" fmla="*/ 2 w 80"/>
                <a:gd name="T79" fmla="*/ 112 h 148"/>
                <a:gd name="T80" fmla="*/ 7 w 80"/>
                <a:gd name="T81" fmla="*/ 111 h 148"/>
                <a:gd name="T82" fmla="*/ 15 w 80"/>
                <a:gd name="T83" fmla="*/ 118 h 148"/>
                <a:gd name="T84" fmla="*/ 18 w 80"/>
                <a:gd name="T85" fmla="*/ 140 h 14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0"/>
                <a:gd name="T130" fmla="*/ 0 h 148"/>
                <a:gd name="T131" fmla="*/ 80 w 80"/>
                <a:gd name="T132" fmla="*/ 148 h 14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0" h="148">
                  <a:moveTo>
                    <a:pt x="19" y="145"/>
                  </a:moveTo>
                  <a:lnTo>
                    <a:pt x="23" y="145"/>
                  </a:lnTo>
                  <a:lnTo>
                    <a:pt x="35" y="148"/>
                  </a:lnTo>
                  <a:lnTo>
                    <a:pt x="39" y="146"/>
                  </a:lnTo>
                  <a:lnTo>
                    <a:pt x="41" y="145"/>
                  </a:lnTo>
                  <a:lnTo>
                    <a:pt x="42" y="144"/>
                  </a:lnTo>
                  <a:lnTo>
                    <a:pt x="43" y="144"/>
                  </a:lnTo>
                  <a:lnTo>
                    <a:pt x="44" y="145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5" y="141"/>
                  </a:lnTo>
                  <a:lnTo>
                    <a:pt x="43" y="139"/>
                  </a:lnTo>
                  <a:lnTo>
                    <a:pt x="40" y="139"/>
                  </a:lnTo>
                  <a:lnTo>
                    <a:pt x="39" y="136"/>
                  </a:lnTo>
                  <a:lnTo>
                    <a:pt x="39" y="132"/>
                  </a:lnTo>
                  <a:lnTo>
                    <a:pt x="44" y="129"/>
                  </a:lnTo>
                  <a:lnTo>
                    <a:pt x="44" y="127"/>
                  </a:lnTo>
                  <a:lnTo>
                    <a:pt x="43" y="127"/>
                  </a:lnTo>
                  <a:lnTo>
                    <a:pt x="43" y="123"/>
                  </a:lnTo>
                  <a:lnTo>
                    <a:pt x="44" y="117"/>
                  </a:lnTo>
                  <a:lnTo>
                    <a:pt x="43" y="115"/>
                  </a:lnTo>
                  <a:lnTo>
                    <a:pt x="47" y="110"/>
                  </a:lnTo>
                  <a:lnTo>
                    <a:pt x="47" y="108"/>
                  </a:lnTo>
                  <a:lnTo>
                    <a:pt x="44" y="104"/>
                  </a:lnTo>
                  <a:lnTo>
                    <a:pt x="47" y="103"/>
                  </a:lnTo>
                  <a:lnTo>
                    <a:pt x="53" y="104"/>
                  </a:lnTo>
                  <a:lnTo>
                    <a:pt x="54" y="100"/>
                  </a:lnTo>
                  <a:lnTo>
                    <a:pt x="51" y="96"/>
                  </a:lnTo>
                  <a:lnTo>
                    <a:pt x="54" y="94"/>
                  </a:lnTo>
                  <a:lnTo>
                    <a:pt x="60" y="95"/>
                  </a:lnTo>
                  <a:lnTo>
                    <a:pt x="62" y="91"/>
                  </a:lnTo>
                  <a:lnTo>
                    <a:pt x="61" y="85"/>
                  </a:lnTo>
                  <a:lnTo>
                    <a:pt x="63" y="79"/>
                  </a:lnTo>
                  <a:lnTo>
                    <a:pt x="66" y="78"/>
                  </a:lnTo>
                  <a:lnTo>
                    <a:pt x="66" y="80"/>
                  </a:lnTo>
                  <a:lnTo>
                    <a:pt x="68" y="84"/>
                  </a:lnTo>
                  <a:lnTo>
                    <a:pt x="71" y="79"/>
                  </a:lnTo>
                  <a:lnTo>
                    <a:pt x="72" y="81"/>
                  </a:lnTo>
                  <a:lnTo>
                    <a:pt x="79" y="75"/>
                  </a:lnTo>
                  <a:lnTo>
                    <a:pt x="80" y="69"/>
                  </a:lnTo>
                  <a:lnTo>
                    <a:pt x="79" y="65"/>
                  </a:lnTo>
                  <a:lnTo>
                    <a:pt x="76" y="64"/>
                  </a:lnTo>
                  <a:lnTo>
                    <a:pt x="71" y="64"/>
                  </a:lnTo>
                  <a:lnTo>
                    <a:pt x="68" y="66"/>
                  </a:lnTo>
                  <a:lnTo>
                    <a:pt x="65" y="63"/>
                  </a:lnTo>
                  <a:lnTo>
                    <a:pt x="62" y="63"/>
                  </a:lnTo>
                  <a:lnTo>
                    <a:pt x="60" y="66"/>
                  </a:lnTo>
                  <a:lnTo>
                    <a:pt x="58" y="64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1" y="56"/>
                  </a:lnTo>
                  <a:lnTo>
                    <a:pt x="57" y="57"/>
                  </a:lnTo>
                  <a:lnTo>
                    <a:pt x="57" y="54"/>
                  </a:lnTo>
                  <a:lnTo>
                    <a:pt x="61" y="53"/>
                  </a:lnTo>
                  <a:lnTo>
                    <a:pt x="61" y="48"/>
                  </a:lnTo>
                  <a:lnTo>
                    <a:pt x="62" y="48"/>
                  </a:lnTo>
                  <a:lnTo>
                    <a:pt x="61" y="42"/>
                  </a:lnTo>
                  <a:lnTo>
                    <a:pt x="63" y="34"/>
                  </a:lnTo>
                  <a:lnTo>
                    <a:pt x="68" y="25"/>
                  </a:lnTo>
                  <a:lnTo>
                    <a:pt x="68" y="20"/>
                  </a:lnTo>
                  <a:lnTo>
                    <a:pt x="66" y="10"/>
                  </a:lnTo>
                  <a:lnTo>
                    <a:pt x="67" y="4"/>
                  </a:lnTo>
                  <a:lnTo>
                    <a:pt x="68" y="1"/>
                  </a:lnTo>
                  <a:lnTo>
                    <a:pt x="67" y="0"/>
                  </a:lnTo>
                  <a:lnTo>
                    <a:pt x="64" y="3"/>
                  </a:lnTo>
                  <a:lnTo>
                    <a:pt x="53" y="8"/>
                  </a:lnTo>
                  <a:lnTo>
                    <a:pt x="44" y="18"/>
                  </a:lnTo>
                  <a:lnTo>
                    <a:pt x="43" y="23"/>
                  </a:lnTo>
                  <a:lnTo>
                    <a:pt x="37" y="28"/>
                  </a:lnTo>
                  <a:lnTo>
                    <a:pt x="15" y="32"/>
                  </a:lnTo>
                  <a:lnTo>
                    <a:pt x="11" y="37"/>
                  </a:lnTo>
                  <a:lnTo>
                    <a:pt x="8" y="42"/>
                  </a:lnTo>
                  <a:lnTo>
                    <a:pt x="4" y="56"/>
                  </a:lnTo>
                  <a:lnTo>
                    <a:pt x="4" y="62"/>
                  </a:lnTo>
                  <a:lnTo>
                    <a:pt x="1" y="70"/>
                  </a:lnTo>
                  <a:lnTo>
                    <a:pt x="0" y="76"/>
                  </a:lnTo>
                  <a:lnTo>
                    <a:pt x="2" y="91"/>
                  </a:lnTo>
                  <a:lnTo>
                    <a:pt x="4" y="96"/>
                  </a:lnTo>
                  <a:lnTo>
                    <a:pt x="4" y="104"/>
                  </a:lnTo>
                  <a:lnTo>
                    <a:pt x="2" y="112"/>
                  </a:lnTo>
                  <a:lnTo>
                    <a:pt x="5" y="112"/>
                  </a:lnTo>
                  <a:lnTo>
                    <a:pt x="7" y="111"/>
                  </a:lnTo>
                  <a:lnTo>
                    <a:pt x="12" y="114"/>
                  </a:lnTo>
                  <a:lnTo>
                    <a:pt x="15" y="118"/>
                  </a:lnTo>
                  <a:lnTo>
                    <a:pt x="18" y="123"/>
                  </a:lnTo>
                  <a:lnTo>
                    <a:pt x="18" y="140"/>
                  </a:lnTo>
                  <a:lnTo>
                    <a:pt x="19" y="145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89" name="Freeform 284"/>
            <p:cNvSpPr>
              <a:spLocks/>
            </p:cNvSpPr>
            <p:nvPr/>
          </p:nvSpPr>
          <p:spPr bwMode="auto">
            <a:xfrm>
              <a:off x="2026" y="2338"/>
              <a:ext cx="80" cy="148"/>
            </a:xfrm>
            <a:custGeom>
              <a:avLst/>
              <a:gdLst>
                <a:gd name="T0" fmla="*/ 23 w 80"/>
                <a:gd name="T1" fmla="*/ 145 h 148"/>
                <a:gd name="T2" fmla="*/ 39 w 80"/>
                <a:gd name="T3" fmla="*/ 146 h 148"/>
                <a:gd name="T4" fmla="*/ 42 w 80"/>
                <a:gd name="T5" fmla="*/ 144 h 148"/>
                <a:gd name="T6" fmla="*/ 44 w 80"/>
                <a:gd name="T7" fmla="*/ 145 h 148"/>
                <a:gd name="T8" fmla="*/ 46 w 80"/>
                <a:gd name="T9" fmla="*/ 144 h 148"/>
                <a:gd name="T10" fmla="*/ 43 w 80"/>
                <a:gd name="T11" fmla="*/ 139 h 148"/>
                <a:gd name="T12" fmla="*/ 39 w 80"/>
                <a:gd name="T13" fmla="*/ 136 h 148"/>
                <a:gd name="T14" fmla="*/ 44 w 80"/>
                <a:gd name="T15" fmla="*/ 129 h 148"/>
                <a:gd name="T16" fmla="*/ 43 w 80"/>
                <a:gd name="T17" fmla="*/ 127 h 148"/>
                <a:gd name="T18" fmla="*/ 44 w 80"/>
                <a:gd name="T19" fmla="*/ 117 h 148"/>
                <a:gd name="T20" fmla="*/ 47 w 80"/>
                <a:gd name="T21" fmla="*/ 110 h 148"/>
                <a:gd name="T22" fmla="*/ 44 w 80"/>
                <a:gd name="T23" fmla="*/ 104 h 148"/>
                <a:gd name="T24" fmla="*/ 53 w 80"/>
                <a:gd name="T25" fmla="*/ 104 h 148"/>
                <a:gd name="T26" fmla="*/ 51 w 80"/>
                <a:gd name="T27" fmla="*/ 96 h 148"/>
                <a:gd name="T28" fmla="*/ 60 w 80"/>
                <a:gd name="T29" fmla="*/ 95 h 148"/>
                <a:gd name="T30" fmla="*/ 61 w 80"/>
                <a:gd name="T31" fmla="*/ 85 h 148"/>
                <a:gd name="T32" fmla="*/ 66 w 80"/>
                <a:gd name="T33" fmla="*/ 78 h 148"/>
                <a:gd name="T34" fmla="*/ 68 w 80"/>
                <a:gd name="T35" fmla="*/ 84 h 148"/>
                <a:gd name="T36" fmla="*/ 72 w 80"/>
                <a:gd name="T37" fmla="*/ 81 h 148"/>
                <a:gd name="T38" fmla="*/ 80 w 80"/>
                <a:gd name="T39" fmla="*/ 69 h 148"/>
                <a:gd name="T40" fmla="*/ 76 w 80"/>
                <a:gd name="T41" fmla="*/ 64 h 148"/>
                <a:gd name="T42" fmla="*/ 68 w 80"/>
                <a:gd name="T43" fmla="*/ 66 h 148"/>
                <a:gd name="T44" fmla="*/ 62 w 80"/>
                <a:gd name="T45" fmla="*/ 63 h 148"/>
                <a:gd name="T46" fmla="*/ 58 w 80"/>
                <a:gd name="T47" fmla="*/ 64 h 148"/>
                <a:gd name="T48" fmla="*/ 62 w 80"/>
                <a:gd name="T49" fmla="*/ 57 h 148"/>
                <a:gd name="T50" fmla="*/ 57 w 80"/>
                <a:gd name="T51" fmla="*/ 57 h 148"/>
                <a:gd name="T52" fmla="*/ 61 w 80"/>
                <a:gd name="T53" fmla="*/ 53 h 148"/>
                <a:gd name="T54" fmla="*/ 62 w 80"/>
                <a:gd name="T55" fmla="*/ 48 h 148"/>
                <a:gd name="T56" fmla="*/ 63 w 80"/>
                <a:gd name="T57" fmla="*/ 34 h 148"/>
                <a:gd name="T58" fmla="*/ 68 w 80"/>
                <a:gd name="T59" fmla="*/ 20 h 148"/>
                <a:gd name="T60" fmla="*/ 67 w 80"/>
                <a:gd name="T61" fmla="*/ 4 h 148"/>
                <a:gd name="T62" fmla="*/ 67 w 80"/>
                <a:gd name="T63" fmla="*/ 0 h 148"/>
                <a:gd name="T64" fmla="*/ 53 w 80"/>
                <a:gd name="T65" fmla="*/ 8 h 148"/>
                <a:gd name="T66" fmla="*/ 43 w 80"/>
                <a:gd name="T67" fmla="*/ 23 h 148"/>
                <a:gd name="T68" fmla="*/ 15 w 80"/>
                <a:gd name="T69" fmla="*/ 32 h 148"/>
                <a:gd name="T70" fmla="*/ 8 w 80"/>
                <a:gd name="T71" fmla="*/ 42 h 148"/>
                <a:gd name="T72" fmla="*/ 4 w 80"/>
                <a:gd name="T73" fmla="*/ 62 h 148"/>
                <a:gd name="T74" fmla="*/ 0 w 80"/>
                <a:gd name="T75" fmla="*/ 76 h 148"/>
                <a:gd name="T76" fmla="*/ 4 w 80"/>
                <a:gd name="T77" fmla="*/ 96 h 148"/>
                <a:gd name="T78" fmla="*/ 2 w 80"/>
                <a:gd name="T79" fmla="*/ 112 h 148"/>
                <a:gd name="T80" fmla="*/ 7 w 80"/>
                <a:gd name="T81" fmla="*/ 111 h 148"/>
                <a:gd name="T82" fmla="*/ 15 w 80"/>
                <a:gd name="T83" fmla="*/ 118 h 148"/>
                <a:gd name="T84" fmla="*/ 18 w 80"/>
                <a:gd name="T85" fmla="*/ 140 h 14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0"/>
                <a:gd name="T130" fmla="*/ 0 h 148"/>
                <a:gd name="T131" fmla="*/ 80 w 80"/>
                <a:gd name="T132" fmla="*/ 148 h 14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0" h="148">
                  <a:moveTo>
                    <a:pt x="19" y="145"/>
                  </a:moveTo>
                  <a:lnTo>
                    <a:pt x="23" y="145"/>
                  </a:lnTo>
                  <a:lnTo>
                    <a:pt x="35" y="148"/>
                  </a:lnTo>
                  <a:lnTo>
                    <a:pt x="39" y="146"/>
                  </a:lnTo>
                  <a:lnTo>
                    <a:pt x="41" y="145"/>
                  </a:lnTo>
                  <a:lnTo>
                    <a:pt x="42" y="144"/>
                  </a:lnTo>
                  <a:lnTo>
                    <a:pt x="43" y="144"/>
                  </a:lnTo>
                  <a:lnTo>
                    <a:pt x="44" y="145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5" y="141"/>
                  </a:lnTo>
                  <a:lnTo>
                    <a:pt x="43" y="139"/>
                  </a:lnTo>
                  <a:lnTo>
                    <a:pt x="40" y="139"/>
                  </a:lnTo>
                  <a:lnTo>
                    <a:pt x="39" y="136"/>
                  </a:lnTo>
                  <a:lnTo>
                    <a:pt x="39" y="132"/>
                  </a:lnTo>
                  <a:lnTo>
                    <a:pt x="44" y="129"/>
                  </a:lnTo>
                  <a:lnTo>
                    <a:pt x="44" y="127"/>
                  </a:lnTo>
                  <a:lnTo>
                    <a:pt x="43" y="127"/>
                  </a:lnTo>
                  <a:lnTo>
                    <a:pt x="43" y="123"/>
                  </a:lnTo>
                  <a:lnTo>
                    <a:pt x="44" y="117"/>
                  </a:lnTo>
                  <a:lnTo>
                    <a:pt x="43" y="115"/>
                  </a:lnTo>
                  <a:lnTo>
                    <a:pt x="47" y="110"/>
                  </a:lnTo>
                  <a:lnTo>
                    <a:pt x="47" y="108"/>
                  </a:lnTo>
                  <a:lnTo>
                    <a:pt x="44" y="104"/>
                  </a:lnTo>
                  <a:lnTo>
                    <a:pt x="47" y="103"/>
                  </a:lnTo>
                  <a:lnTo>
                    <a:pt x="53" y="104"/>
                  </a:lnTo>
                  <a:lnTo>
                    <a:pt x="54" y="100"/>
                  </a:lnTo>
                  <a:lnTo>
                    <a:pt x="51" y="96"/>
                  </a:lnTo>
                  <a:lnTo>
                    <a:pt x="54" y="94"/>
                  </a:lnTo>
                  <a:lnTo>
                    <a:pt x="60" y="95"/>
                  </a:lnTo>
                  <a:lnTo>
                    <a:pt x="62" y="91"/>
                  </a:lnTo>
                  <a:lnTo>
                    <a:pt x="61" y="85"/>
                  </a:lnTo>
                  <a:lnTo>
                    <a:pt x="63" y="79"/>
                  </a:lnTo>
                  <a:lnTo>
                    <a:pt x="66" y="78"/>
                  </a:lnTo>
                  <a:lnTo>
                    <a:pt x="66" y="80"/>
                  </a:lnTo>
                  <a:lnTo>
                    <a:pt x="68" y="84"/>
                  </a:lnTo>
                  <a:lnTo>
                    <a:pt x="71" y="79"/>
                  </a:lnTo>
                  <a:lnTo>
                    <a:pt x="72" y="81"/>
                  </a:lnTo>
                  <a:lnTo>
                    <a:pt x="79" y="75"/>
                  </a:lnTo>
                  <a:lnTo>
                    <a:pt x="80" y="69"/>
                  </a:lnTo>
                  <a:lnTo>
                    <a:pt x="79" y="65"/>
                  </a:lnTo>
                  <a:lnTo>
                    <a:pt x="76" y="64"/>
                  </a:lnTo>
                  <a:lnTo>
                    <a:pt x="71" y="64"/>
                  </a:lnTo>
                  <a:lnTo>
                    <a:pt x="68" y="66"/>
                  </a:lnTo>
                  <a:lnTo>
                    <a:pt x="65" y="63"/>
                  </a:lnTo>
                  <a:lnTo>
                    <a:pt x="62" y="63"/>
                  </a:lnTo>
                  <a:lnTo>
                    <a:pt x="60" y="66"/>
                  </a:lnTo>
                  <a:lnTo>
                    <a:pt x="58" y="64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1" y="56"/>
                  </a:lnTo>
                  <a:lnTo>
                    <a:pt x="57" y="57"/>
                  </a:lnTo>
                  <a:lnTo>
                    <a:pt x="57" y="54"/>
                  </a:lnTo>
                  <a:lnTo>
                    <a:pt x="61" y="53"/>
                  </a:lnTo>
                  <a:lnTo>
                    <a:pt x="61" y="48"/>
                  </a:lnTo>
                  <a:lnTo>
                    <a:pt x="62" y="48"/>
                  </a:lnTo>
                  <a:lnTo>
                    <a:pt x="61" y="42"/>
                  </a:lnTo>
                  <a:lnTo>
                    <a:pt x="63" y="34"/>
                  </a:lnTo>
                  <a:lnTo>
                    <a:pt x="68" y="25"/>
                  </a:lnTo>
                  <a:lnTo>
                    <a:pt x="68" y="20"/>
                  </a:lnTo>
                  <a:lnTo>
                    <a:pt x="66" y="10"/>
                  </a:lnTo>
                  <a:lnTo>
                    <a:pt x="67" y="4"/>
                  </a:lnTo>
                  <a:lnTo>
                    <a:pt x="68" y="1"/>
                  </a:lnTo>
                  <a:lnTo>
                    <a:pt x="67" y="0"/>
                  </a:lnTo>
                  <a:lnTo>
                    <a:pt x="64" y="3"/>
                  </a:lnTo>
                  <a:lnTo>
                    <a:pt x="53" y="8"/>
                  </a:lnTo>
                  <a:lnTo>
                    <a:pt x="44" y="18"/>
                  </a:lnTo>
                  <a:lnTo>
                    <a:pt x="43" y="23"/>
                  </a:lnTo>
                  <a:lnTo>
                    <a:pt x="37" y="28"/>
                  </a:lnTo>
                  <a:lnTo>
                    <a:pt x="15" y="32"/>
                  </a:lnTo>
                  <a:lnTo>
                    <a:pt x="11" y="37"/>
                  </a:lnTo>
                  <a:lnTo>
                    <a:pt x="8" y="42"/>
                  </a:lnTo>
                  <a:lnTo>
                    <a:pt x="4" y="56"/>
                  </a:lnTo>
                  <a:lnTo>
                    <a:pt x="4" y="62"/>
                  </a:lnTo>
                  <a:lnTo>
                    <a:pt x="1" y="70"/>
                  </a:lnTo>
                  <a:lnTo>
                    <a:pt x="0" y="76"/>
                  </a:lnTo>
                  <a:lnTo>
                    <a:pt x="2" y="91"/>
                  </a:lnTo>
                  <a:lnTo>
                    <a:pt x="4" y="96"/>
                  </a:lnTo>
                  <a:lnTo>
                    <a:pt x="4" y="104"/>
                  </a:lnTo>
                  <a:lnTo>
                    <a:pt x="2" y="112"/>
                  </a:lnTo>
                  <a:lnTo>
                    <a:pt x="5" y="112"/>
                  </a:lnTo>
                  <a:lnTo>
                    <a:pt x="7" y="111"/>
                  </a:lnTo>
                  <a:lnTo>
                    <a:pt x="12" y="114"/>
                  </a:lnTo>
                  <a:lnTo>
                    <a:pt x="15" y="118"/>
                  </a:lnTo>
                  <a:lnTo>
                    <a:pt x="18" y="123"/>
                  </a:lnTo>
                  <a:lnTo>
                    <a:pt x="18" y="140"/>
                  </a:lnTo>
                  <a:lnTo>
                    <a:pt x="19" y="145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89" name="Group 288"/>
          <p:cNvGrpSpPr>
            <a:grpSpLocks/>
          </p:cNvGrpSpPr>
          <p:nvPr/>
        </p:nvGrpSpPr>
        <p:grpSpPr bwMode="auto">
          <a:xfrm>
            <a:off x="4591050" y="3935413"/>
            <a:ext cx="17463" cy="31750"/>
            <a:chOff x="2134" y="2479"/>
            <a:chExt cx="11" cy="20"/>
          </a:xfrm>
        </p:grpSpPr>
        <p:sp>
          <p:nvSpPr>
            <p:cNvPr id="34286" name="Freeform 286"/>
            <p:cNvSpPr>
              <a:spLocks/>
            </p:cNvSpPr>
            <p:nvPr/>
          </p:nvSpPr>
          <p:spPr bwMode="auto">
            <a:xfrm>
              <a:off x="2134" y="2479"/>
              <a:ext cx="11" cy="20"/>
            </a:xfrm>
            <a:custGeom>
              <a:avLst/>
              <a:gdLst>
                <a:gd name="T0" fmla="*/ 2 w 11"/>
                <a:gd name="T1" fmla="*/ 1 h 20"/>
                <a:gd name="T2" fmla="*/ 3 w 11"/>
                <a:gd name="T3" fmla="*/ 0 h 20"/>
                <a:gd name="T4" fmla="*/ 5 w 11"/>
                <a:gd name="T5" fmla="*/ 1 h 20"/>
                <a:gd name="T6" fmla="*/ 6 w 11"/>
                <a:gd name="T7" fmla="*/ 3 h 20"/>
                <a:gd name="T8" fmla="*/ 10 w 11"/>
                <a:gd name="T9" fmla="*/ 5 h 20"/>
                <a:gd name="T10" fmla="*/ 11 w 11"/>
                <a:gd name="T11" fmla="*/ 9 h 20"/>
                <a:gd name="T12" fmla="*/ 8 w 11"/>
                <a:gd name="T13" fmla="*/ 11 h 20"/>
                <a:gd name="T14" fmla="*/ 8 w 11"/>
                <a:gd name="T15" fmla="*/ 12 h 20"/>
                <a:gd name="T16" fmla="*/ 7 w 11"/>
                <a:gd name="T17" fmla="*/ 20 h 20"/>
                <a:gd name="T18" fmla="*/ 5 w 11"/>
                <a:gd name="T19" fmla="*/ 18 h 20"/>
                <a:gd name="T20" fmla="*/ 5 w 11"/>
                <a:gd name="T21" fmla="*/ 11 h 20"/>
                <a:gd name="T22" fmla="*/ 4 w 11"/>
                <a:gd name="T23" fmla="*/ 10 h 20"/>
                <a:gd name="T24" fmla="*/ 3 w 11"/>
                <a:gd name="T25" fmla="*/ 6 h 20"/>
                <a:gd name="T26" fmla="*/ 2 w 11"/>
                <a:gd name="T27" fmla="*/ 5 h 20"/>
                <a:gd name="T28" fmla="*/ 0 w 11"/>
                <a:gd name="T29" fmla="*/ 2 h 20"/>
                <a:gd name="T30" fmla="*/ 0 w 11"/>
                <a:gd name="T31" fmla="*/ 1 h 20"/>
                <a:gd name="T32" fmla="*/ 2 w 11"/>
                <a:gd name="T33" fmla="*/ 1 h 2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"/>
                <a:gd name="T52" fmla="*/ 0 h 20"/>
                <a:gd name="T53" fmla="*/ 11 w 11"/>
                <a:gd name="T54" fmla="*/ 20 h 2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" h="20">
                  <a:moveTo>
                    <a:pt x="2" y="1"/>
                  </a:moveTo>
                  <a:lnTo>
                    <a:pt x="3" y="0"/>
                  </a:lnTo>
                  <a:lnTo>
                    <a:pt x="5" y="1"/>
                  </a:lnTo>
                  <a:lnTo>
                    <a:pt x="6" y="3"/>
                  </a:lnTo>
                  <a:lnTo>
                    <a:pt x="10" y="5"/>
                  </a:lnTo>
                  <a:lnTo>
                    <a:pt x="11" y="9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7" y="20"/>
                  </a:lnTo>
                  <a:lnTo>
                    <a:pt x="5" y="18"/>
                  </a:lnTo>
                  <a:lnTo>
                    <a:pt x="5" y="11"/>
                  </a:lnTo>
                  <a:lnTo>
                    <a:pt x="4" y="10"/>
                  </a:lnTo>
                  <a:lnTo>
                    <a:pt x="3" y="6"/>
                  </a:lnTo>
                  <a:lnTo>
                    <a:pt x="2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87" name="Freeform 287"/>
            <p:cNvSpPr>
              <a:spLocks/>
            </p:cNvSpPr>
            <p:nvPr/>
          </p:nvSpPr>
          <p:spPr bwMode="auto">
            <a:xfrm>
              <a:off x="2134" y="2479"/>
              <a:ext cx="11" cy="20"/>
            </a:xfrm>
            <a:custGeom>
              <a:avLst/>
              <a:gdLst>
                <a:gd name="T0" fmla="*/ 2 w 11"/>
                <a:gd name="T1" fmla="*/ 1 h 20"/>
                <a:gd name="T2" fmla="*/ 3 w 11"/>
                <a:gd name="T3" fmla="*/ 0 h 20"/>
                <a:gd name="T4" fmla="*/ 5 w 11"/>
                <a:gd name="T5" fmla="*/ 1 h 20"/>
                <a:gd name="T6" fmla="*/ 6 w 11"/>
                <a:gd name="T7" fmla="*/ 3 h 20"/>
                <a:gd name="T8" fmla="*/ 10 w 11"/>
                <a:gd name="T9" fmla="*/ 5 h 20"/>
                <a:gd name="T10" fmla="*/ 11 w 11"/>
                <a:gd name="T11" fmla="*/ 9 h 20"/>
                <a:gd name="T12" fmla="*/ 8 w 11"/>
                <a:gd name="T13" fmla="*/ 11 h 20"/>
                <a:gd name="T14" fmla="*/ 8 w 11"/>
                <a:gd name="T15" fmla="*/ 12 h 20"/>
                <a:gd name="T16" fmla="*/ 7 w 11"/>
                <a:gd name="T17" fmla="*/ 20 h 20"/>
                <a:gd name="T18" fmla="*/ 5 w 11"/>
                <a:gd name="T19" fmla="*/ 18 h 20"/>
                <a:gd name="T20" fmla="*/ 5 w 11"/>
                <a:gd name="T21" fmla="*/ 11 h 20"/>
                <a:gd name="T22" fmla="*/ 4 w 11"/>
                <a:gd name="T23" fmla="*/ 10 h 20"/>
                <a:gd name="T24" fmla="*/ 3 w 11"/>
                <a:gd name="T25" fmla="*/ 6 h 20"/>
                <a:gd name="T26" fmla="*/ 2 w 11"/>
                <a:gd name="T27" fmla="*/ 5 h 20"/>
                <a:gd name="T28" fmla="*/ 0 w 11"/>
                <a:gd name="T29" fmla="*/ 2 h 20"/>
                <a:gd name="T30" fmla="*/ 0 w 11"/>
                <a:gd name="T31" fmla="*/ 1 h 20"/>
                <a:gd name="T32" fmla="*/ 2 w 11"/>
                <a:gd name="T33" fmla="*/ 1 h 2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"/>
                <a:gd name="T52" fmla="*/ 0 h 20"/>
                <a:gd name="T53" fmla="*/ 11 w 11"/>
                <a:gd name="T54" fmla="*/ 20 h 2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" h="20">
                  <a:moveTo>
                    <a:pt x="2" y="1"/>
                  </a:moveTo>
                  <a:lnTo>
                    <a:pt x="3" y="0"/>
                  </a:lnTo>
                  <a:lnTo>
                    <a:pt x="5" y="1"/>
                  </a:lnTo>
                  <a:lnTo>
                    <a:pt x="6" y="3"/>
                  </a:lnTo>
                  <a:lnTo>
                    <a:pt x="10" y="5"/>
                  </a:lnTo>
                  <a:lnTo>
                    <a:pt x="11" y="9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7" y="20"/>
                  </a:lnTo>
                  <a:lnTo>
                    <a:pt x="5" y="18"/>
                  </a:lnTo>
                  <a:lnTo>
                    <a:pt x="5" y="11"/>
                  </a:lnTo>
                  <a:lnTo>
                    <a:pt x="4" y="10"/>
                  </a:lnTo>
                  <a:lnTo>
                    <a:pt x="3" y="6"/>
                  </a:lnTo>
                  <a:lnTo>
                    <a:pt x="2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2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90" name="Group 291"/>
          <p:cNvGrpSpPr>
            <a:grpSpLocks/>
          </p:cNvGrpSpPr>
          <p:nvPr/>
        </p:nvGrpSpPr>
        <p:grpSpPr bwMode="auto">
          <a:xfrm>
            <a:off x="4557713" y="3935413"/>
            <a:ext cx="36512" cy="26987"/>
            <a:chOff x="2113" y="2479"/>
            <a:chExt cx="23" cy="17"/>
          </a:xfrm>
        </p:grpSpPr>
        <p:sp>
          <p:nvSpPr>
            <p:cNvPr id="34284" name="Freeform 289"/>
            <p:cNvSpPr>
              <a:spLocks/>
            </p:cNvSpPr>
            <p:nvPr/>
          </p:nvSpPr>
          <p:spPr bwMode="auto">
            <a:xfrm>
              <a:off x="2113" y="2479"/>
              <a:ext cx="23" cy="17"/>
            </a:xfrm>
            <a:custGeom>
              <a:avLst/>
              <a:gdLst>
                <a:gd name="T0" fmla="*/ 7 w 23"/>
                <a:gd name="T1" fmla="*/ 0 h 17"/>
                <a:gd name="T2" fmla="*/ 8 w 23"/>
                <a:gd name="T3" fmla="*/ 1 h 17"/>
                <a:gd name="T4" fmla="*/ 9 w 23"/>
                <a:gd name="T5" fmla="*/ 3 h 17"/>
                <a:gd name="T6" fmla="*/ 11 w 23"/>
                <a:gd name="T7" fmla="*/ 4 h 17"/>
                <a:gd name="T8" fmla="*/ 13 w 23"/>
                <a:gd name="T9" fmla="*/ 6 h 17"/>
                <a:gd name="T10" fmla="*/ 15 w 23"/>
                <a:gd name="T11" fmla="*/ 6 h 17"/>
                <a:gd name="T12" fmla="*/ 15 w 23"/>
                <a:gd name="T13" fmla="*/ 5 h 17"/>
                <a:gd name="T14" fmla="*/ 17 w 23"/>
                <a:gd name="T15" fmla="*/ 5 h 17"/>
                <a:gd name="T16" fmla="*/ 17 w 23"/>
                <a:gd name="T17" fmla="*/ 4 h 17"/>
                <a:gd name="T18" fmla="*/ 19 w 23"/>
                <a:gd name="T19" fmla="*/ 4 h 17"/>
                <a:gd name="T20" fmla="*/ 19 w 23"/>
                <a:gd name="T21" fmla="*/ 6 h 17"/>
                <a:gd name="T22" fmla="*/ 21 w 23"/>
                <a:gd name="T23" fmla="*/ 8 h 17"/>
                <a:gd name="T24" fmla="*/ 23 w 23"/>
                <a:gd name="T25" fmla="*/ 15 h 17"/>
                <a:gd name="T26" fmla="*/ 21 w 23"/>
                <a:gd name="T27" fmla="*/ 16 h 17"/>
                <a:gd name="T28" fmla="*/ 16 w 23"/>
                <a:gd name="T29" fmla="*/ 14 h 17"/>
                <a:gd name="T30" fmla="*/ 15 w 23"/>
                <a:gd name="T31" fmla="*/ 16 h 17"/>
                <a:gd name="T32" fmla="*/ 12 w 23"/>
                <a:gd name="T33" fmla="*/ 17 h 17"/>
                <a:gd name="T34" fmla="*/ 6 w 23"/>
                <a:gd name="T35" fmla="*/ 12 h 17"/>
                <a:gd name="T36" fmla="*/ 1 w 23"/>
                <a:gd name="T37" fmla="*/ 10 h 17"/>
                <a:gd name="T38" fmla="*/ 0 w 23"/>
                <a:gd name="T39" fmla="*/ 8 h 17"/>
                <a:gd name="T40" fmla="*/ 1 w 23"/>
                <a:gd name="T41" fmla="*/ 8 h 17"/>
                <a:gd name="T42" fmla="*/ 3 w 23"/>
                <a:gd name="T43" fmla="*/ 5 h 17"/>
                <a:gd name="T44" fmla="*/ 1 w 23"/>
                <a:gd name="T45" fmla="*/ 5 h 17"/>
                <a:gd name="T46" fmla="*/ 0 w 23"/>
                <a:gd name="T47" fmla="*/ 3 h 17"/>
                <a:gd name="T48" fmla="*/ 2 w 23"/>
                <a:gd name="T49" fmla="*/ 1 h 17"/>
                <a:gd name="T50" fmla="*/ 6 w 23"/>
                <a:gd name="T51" fmla="*/ 1 h 17"/>
                <a:gd name="T52" fmla="*/ 7 w 23"/>
                <a:gd name="T53" fmla="*/ 0 h 1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"/>
                <a:gd name="T82" fmla="*/ 0 h 17"/>
                <a:gd name="T83" fmla="*/ 23 w 23"/>
                <a:gd name="T84" fmla="*/ 17 h 1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" h="17">
                  <a:moveTo>
                    <a:pt x="7" y="0"/>
                  </a:moveTo>
                  <a:lnTo>
                    <a:pt x="8" y="1"/>
                  </a:lnTo>
                  <a:lnTo>
                    <a:pt x="9" y="3"/>
                  </a:lnTo>
                  <a:lnTo>
                    <a:pt x="11" y="4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21" y="8"/>
                  </a:lnTo>
                  <a:lnTo>
                    <a:pt x="23" y="15"/>
                  </a:lnTo>
                  <a:lnTo>
                    <a:pt x="21" y="16"/>
                  </a:lnTo>
                  <a:lnTo>
                    <a:pt x="16" y="14"/>
                  </a:lnTo>
                  <a:lnTo>
                    <a:pt x="15" y="16"/>
                  </a:lnTo>
                  <a:lnTo>
                    <a:pt x="12" y="17"/>
                  </a:lnTo>
                  <a:lnTo>
                    <a:pt x="6" y="12"/>
                  </a:lnTo>
                  <a:lnTo>
                    <a:pt x="1" y="10"/>
                  </a:lnTo>
                  <a:lnTo>
                    <a:pt x="0" y="8"/>
                  </a:lnTo>
                  <a:lnTo>
                    <a:pt x="1" y="8"/>
                  </a:lnTo>
                  <a:lnTo>
                    <a:pt x="3" y="5"/>
                  </a:lnTo>
                  <a:lnTo>
                    <a:pt x="1" y="5"/>
                  </a:lnTo>
                  <a:lnTo>
                    <a:pt x="0" y="3"/>
                  </a:lnTo>
                  <a:lnTo>
                    <a:pt x="2" y="1"/>
                  </a:lnTo>
                  <a:lnTo>
                    <a:pt x="6" y="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85" name="Freeform 290"/>
            <p:cNvSpPr>
              <a:spLocks/>
            </p:cNvSpPr>
            <p:nvPr/>
          </p:nvSpPr>
          <p:spPr bwMode="auto">
            <a:xfrm>
              <a:off x="2113" y="2479"/>
              <a:ext cx="23" cy="17"/>
            </a:xfrm>
            <a:custGeom>
              <a:avLst/>
              <a:gdLst>
                <a:gd name="T0" fmla="*/ 7 w 23"/>
                <a:gd name="T1" fmla="*/ 0 h 17"/>
                <a:gd name="T2" fmla="*/ 8 w 23"/>
                <a:gd name="T3" fmla="*/ 1 h 17"/>
                <a:gd name="T4" fmla="*/ 9 w 23"/>
                <a:gd name="T5" fmla="*/ 3 h 17"/>
                <a:gd name="T6" fmla="*/ 11 w 23"/>
                <a:gd name="T7" fmla="*/ 4 h 17"/>
                <a:gd name="T8" fmla="*/ 13 w 23"/>
                <a:gd name="T9" fmla="*/ 6 h 17"/>
                <a:gd name="T10" fmla="*/ 15 w 23"/>
                <a:gd name="T11" fmla="*/ 6 h 17"/>
                <a:gd name="T12" fmla="*/ 15 w 23"/>
                <a:gd name="T13" fmla="*/ 5 h 17"/>
                <a:gd name="T14" fmla="*/ 17 w 23"/>
                <a:gd name="T15" fmla="*/ 5 h 17"/>
                <a:gd name="T16" fmla="*/ 17 w 23"/>
                <a:gd name="T17" fmla="*/ 4 h 17"/>
                <a:gd name="T18" fmla="*/ 19 w 23"/>
                <a:gd name="T19" fmla="*/ 4 h 17"/>
                <a:gd name="T20" fmla="*/ 19 w 23"/>
                <a:gd name="T21" fmla="*/ 6 h 17"/>
                <a:gd name="T22" fmla="*/ 21 w 23"/>
                <a:gd name="T23" fmla="*/ 8 h 17"/>
                <a:gd name="T24" fmla="*/ 23 w 23"/>
                <a:gd name="T25" fmla="*/ 15 h 17"/>
                <a:gd name="T26" fmla="*/ 21 w 23"/>
                <a:gd name="T27" fmla="*/ 16 h 17"/>
                <a:gd name="T28" fmla="*/ 16 w 23"/>
                <a:gd name="T29" fmla="*/ 14 h 17"/>
                <a:gd name="T30" fmla="*/ 15 w 23"/>
                <a:gd name="T31" fmla="*/ 16 h 17"/>
                <a:gd name="T32" fmla="*/ 12 w 23"/>
                <a:gd name="T33" fmla="*/ 17 h 17"/>
                <a:gd name="T34" fmla="*/ 6 w 23"/>
                <a:gd name="T35" fmla="*/ 12 h 17"/>
                <a:gd name="T36" fmla="*/ 1 w 23"/>
                <a:gd name="T37" fmla="*/ 10 h 17"/>
                <a:gd name="T38" fmla="*/ 0 w 23"/>
                <a:gd name="T39" fmla="*/ 8 h 17"/>
                <a:gd name="T40" fmla="*/ 1 w 23"/>
                <a:gd name="T41" fmla="*/ 8 h 17"/>
                <a:gd name="T42" fmla="*/ 3 w 23"/>
                <a:gd name="T43" fmla="*/ 5 h 17"/>
                <a:gd name="T44" fmla="*/ 1 w 23"/>
                <a:gd name="T45" fmla="*/ 5 h 17"/>
                <a:gd name="T46" fmla="*/ 0 w 23"/>
                <a:gd name="T47" fmla="*/ 3 h 17"/>
                <a:gd name="T48" fmla="*/ 2 w 23"/>
                <a:gd name="T49" fmla="*/ 1 h 17"/>
                <a:gd name="T50" fmla="*/ 6 w 23"/>
                <a:gd name="T51" fmla="*/ 1 h 17"/>
                <a:gd name="T52" fmla="*/ 7 w 23"/>
                <a:gd name="T53" fmla="*/ 0 h 1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"/>
                <a:gd name="T82" fmla="*/ 0 h 17"/>
                <a:gd name="T83" fmla="*/ 23 w 23"/>
                <a:gd name="T84" fmla="*/ 17 h 1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" h="17">
                  <a:moveTo>
                    <a:pt x="7" y="0"/>
                  </a:moveTo>
                  <a:lnTo>
                    <a:pt x="8" y="1"/>
                  </a:lnTo>
                  <a:lnTo>
                    <a:pt x="9" y="3"/>
                  </a:lnTo>
                  <a:lnTo>
                    <a:pt x="11" y="4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21" y="8"/>
                  </a:lnTo>
                  <a:lnTo>
                    <a:pt x="23" y="15"/>
                  </a:lnTo>
                  <a:lnTo>
                    <a:pt x="21" y="16"/>
                  </a:lnTo>
                  <a:lnTo>
                    <a:pt x="16" y="14"/>
                  </a:lnTo>
                  <a:lnTo>
                    <a:pt x="15" y="16"/>
                  </a:lnTo>
                  <a:lnTo>
                    <a:pt x="12" y="17"/>
                  </a:lnTo>
                  <a:lnTo>
                    <a:pt x="6" y="12"/>
                  </a:lnTo>
                  <a:lnTo>
                    <a:pt x="1" y="10"/>
                  </a:lnTo>
                  <a:lnTo>
                    <a:pt x="0" y="8"/>
                  </a:lnTo>
                  <a:lnTo>
                    <a:pt x="1" y="8"/>
                  </a:lnTo>
                  <a:lnTo>
                    <a:pt x="3" y="5"/>
                  </a:lnTo>
                  <a:lnTo>
                    <a:pt x="1" y="5"/>
                  </a:lnTo>
                  <a:lnTo>
                    <a:pt x="0" y="3"/>
                  </a:lnTo>
                  <a:lnTo>
                    <a:pt x="2" y="1"/>
                  </a:lnTo>
                  <a:lnTo>
                    <a:pt x="6" y="1"/>
                  </a:lnTo>
                  <a:lnTo>
                    <a:pt x="7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91" name="Group 294"/>
          <p:cNvGrpSpPr>
            <a:grpSpLocks/>
          </p:cNvGrpSpPr>
          <p:nvPr/>
        </p:nvGrpSpPr>
        <p:grpSpPr bwMode="auto">
          <a:xfrm>
            <a:off x="4497388" y="3884613"/>
            <a:ext cx="53975" cy="46037"/>
            <a:chOff x="2075" y="2447"/>
            <a:chExt cx="34" cy="29"/>
          </a:xfrm>
        </p:grpSpPr>
        <p:sp>
          <p:nvSpPr>
            <p:cNvPr id="34282" name="Freeform 292"/>
            <p:cNvSpPr>
              <a:spLocks/>
            </p:cNvSpPr>
            <p:nvPr/>
          </p:nvSpPr>
          <p:spPr bwMode="auto">
            <a:xfrm>
              <a:off x="2075" y="2447"/>
              <a:ext cx="34" cy="29"/>
            </a:xfrm>
            <a:custGeom>
              <a:avLst/>
              <a:gdLst>
                <a:gd name="T0" fmla="*/ 9 w 34"/>
                <a:gd name="T1" fmla="*/ 4 h 29"/>
                <a:gd name="T2" fmla="*/ 11 w 34"/>
                <a:gd name="T3" fmla="*/ 3 h 29"/>
                <a:gd name="T4" fmla="*/ 19 w 34"/>
                <a:gd name="T5" fmla="*/ 2 h 29"/>
                <a:gd name="T6" fmla="*/ 23 w 34"/>
                <a:gd name="T7" fmla="*/ 5 h 29"/>
                <a:gd name="T8" fmla="*/ 24 w 34"/>
                <a:gd name="T9" fmla="*/ 5 h 29"/>
                <a:gd name="T10" fmla="*/ 24 w 34"/>
                <a:gd name="T11" fmla="*/ 1 h 29"/>
                <a:gd name="T12" fmla="*/ 25 w 34"/>
                <a:gd name="T13" fmla="*/ 0 h 29"/>
                <a:gd name="T14" fmla="*/ 29 w 34"/>
                <a:gd name="T15" fmla="*/ 7 h 29"/>
                <a:gd name="T16" fmla="*/ 29 w 34"/>
                <a:gd name="T17" fmla="*/ 11 h 29"/>
                <a:gd name="T18" fmla="*/ 30 w 34"/>
                <a:gd name="T19" fmla="*/ 14 h 29"/>
                <a:gd name="T20" fmla="*/ 31 w 34"/>
                <a:gd name="T21" fmla="*/ 16 h 29"/>
                <a:gd name="T22" fmla="*/ 34 w 34"/>
                <a:gd name="T23" fmla="*/ 17 h 29"/>
                <a:gd name="T24" fmla="*/ 34 w 34"/>
                <a:gd name="T25" fmla="*/ 18 h 29"/>
                <a:gd name="T26" fmla="*/ 32 w 34"/>
                <a:gd name="T27" fmla="*/ 17 h 29"/>
                <a:gd name="T28" fmla="*/ 32 w 34"/>
                <a:gd name="T29" fmla="*/ 22 h 29"/>
                <a:gd name="T30" fmla="*/ 31 w 34"/>
                <a:gd name="T31" fmla="*/ 27 h 29"/>
                <a:gd name="T32" fmla="*/ 27 w 34"/>
                <a:gd name="T33" fmla="*/ 28 h 29"/>
                <a:gd name="T34" fmla="*/ 24 w 34"/>
                <a:gd name="T35" fmla="*/ 29 h 29"/>
                <a:gd name="T36" fmla="*/ 21 w 34"/>
                <a:gd name="T37" fmla="*/ 29 h 29"/>
                <a:gd name="T38" fmla="*/ 17 w 34"/>
                <a:gd name="T39" fmla="*/ 26 h 29"/>
                <a:gd name="T40" fmla="*/ 11 w 34"/>
                <a:gd name="T41" fmla="*/ 28 h 29"/>
                <a:gd name="T42" fmla="*/ 11 w 34"/>
                <a:gd name="T43" fmla="*/ 26 h 29"/>
                <a:gd name="T44" fmla="*/ 13 w 34"/>
                <a:gd name="T45" fmla="*/ 23 h 29"/>
                <a:gd name="T46" fmla="*/ 11 w 34"/>
                <a:gd name="T47" fmla="*/ 23 h 29"/>
                <a:gd name="T48" fmla="*/ 5 w 34"/>
                <a:gd name="T49" fmla="*/ 21 h 29"/>
                <a:gd name="T50" fmla="*/ 5 w 34"/>
                <a:gd name="T51" fmla="*/ 17 h 29"/>
                <a:gd name="T52" fmla="*/ 2 w 34"/>
                <a:gd name="T53" fmla="*/ 14 h 29"/>
                <a:gd name="T54" fmla="*/ 3 w 34"/>
                <a:gd name="T55" fmla="*/ 12 h 29"/>
                <a:gd name="T56" fmla="*/ 1 w 34"/>
                <a:gd name="T57" fmla="*/ 10 h 29"/>
                <a:gd name="T58" fmla="*/ 2 w 34"/>
                <a:gd name="T59" fmla="*/ 10 h 29"/>
                <a:gd name="T60" fmla="*/ 2 w 34"/>
                <a:gd name="T61" fmla="*/ 9 h 29"/>
                <a:gd name="T62" fmla="*/ 0 w 34"/>
                <a:gd name="T63" fmla="*/ 7 h 29"/>
                <a:gd name="T64" fmla="*/ 0 w 34"/>
                <a:gd name="T65" fmla="*/ 5 h 29"/>
                <a:gd name="T66" fmla="*/ 3 w 34"/>
                <a:gd name="T67" fmla="*/ 5 h 29"/>
                <a:gd name="T68" fmla="*/ 6 w 34"/>
                <a:gd name="T69" fmla="*/ 7 h 29"/>
                <a:gd name="T70" fmla="*/ 9 w 34"/>
                <a:gd name="T71" fmla="*/ 4 h 2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"/>
                <a:gd name="T109" fmla="*/ 0 h 29"/>
                <a:gd name="T110" fmla="*/ 34 w 34"/>
                <a:gd name="T111" fmla="*/ 29 h 2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" h="29">
                  <a:moveTo>
                    <a:pt x="9" y="4"/>
                  </a:moveTo>
                  <a:lnTo>
                    <a:pt x="11" y="3"/>
                  </a:lnTo>
                  <a:lnTo>
                    <a:pt x="19" y="2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1"/>
                  </a:lnTo>
                  <a:lnTo>
                    <a:pt x="25" y="0"/>
                  </a:lnTo>
                  <a:lnTo>
                    <a:pt x="29" y="7"/>
                  </a:lnTo>
                  <a:lnTo>
                    <a:pt x="29" y="11"/>
                  </a:lnTo>
                  <a:lnTo>
                    <a:pt x="30" y="14"/>
                  </a:lnTo>
                  <a:lnTo>
                    <a:pt x="31" y="16"/>
                  </a:lnTo>
                  <a:lnTo>
                    <a:pt x="34" y="17"/>
                  </a:lnTo>
                  <a:lnTo>
                    <a:pt x="34" y="18"/>
                  </a:lnTo>
                  <a:lnTo>
                    <a:pt x="32" y="17"/>
                  </a:lnTo>
                  <a:lnTo>
                    <a:pt x="32" y="22"/>
                  </a:lnTo>
                  <a:lnTo>
                    <a:pt x="31" y="27"/>
                  </a:lnTo>
                  <a:lnTo>
                    <a:pt x="27" y="28"/>
                  </a:lnTo>
                  <a:lnTo>
                    <a:pt x="24" y="29"/>
                  </a:lnTo>
                  <a:lnTo>
                    <a:pt x="21" y="29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13" y="23"/>
                  </a:lnTo>
                  <a:lnTo>
                    <a:pt x="11" y="23"/>
                  </a:lnTo>
                  <a:lnTo>
                    <a:pt x="5" y="21"/>
                  </a:lnTo>
                  <a:lnTo>
                    <a:pt x="5" y="17"/>
                  </a:lnTo>
                  <a:lnTo>
                    <a:pt x="2" y="14"/>
                  </a:lnTo>
                  <a:lnTo>
                    <a:pt x="3" y="12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3" y="5"/>
                  </a:lnTo>
                  <a:lnTo>
                    <a:pt x="6" y="7"/>
                  </a:lnTo>
                  <a:lnTo>
                    <a:pt x="9" y="4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83" name="Freeform 293"/>
            <p:cNvSpPr>
              <a:spLocks/>
            </p:cNvSpPr>
            <p:nvPr/>
          </p:nvSpPr>
          <p:spPr bwMode="auto">
            <a:xfrm>
              <a:off x="2075" y="2447"/>
              <a:ext cx="34" cy="29"/>
            </a:xfrm>
            <a:custGeom>
              <a:avLst/>
              <a:gdLst>
                <a:gd name="T0" fmla="*/ 9 w 34"/>
                <a:gd name="T1" fmla="*/ 4 h 29"/>
                <a:gd name="T2" fmla="*/ 11 w 34"/>
                <a:gd name="T3" fmla="*/ 3 h 29"/>
                <a:gd name="T4" fmla="*/ 19 w 34"/>
                <a:gd name="T5" fmla="*/ 2 h 29"/>
                <a:gd name="T6" fmla="*/ 23 w 34"/>
                <a:gd name="T7" fmla="*/ 5 h 29"/>
                <a:gd name="T8" fmla="*/ 24 w 34"/>
                <a:gd name="T9" fmla="*/ 5 h 29"/>
                <a:gd name="T10" fmla="*/ 24 w 34"/>
                <a:gd name="T11" fmla="*/ 1 h 29"/>
                <a:gd name="T12" fmla="*/ 25 w 34"/>
                <a:gd name="T13" fmla="*/ 0 h 29"/>
                <a:gd name="T14" fmla="*/ 29 w 34"/>
                <a:gd name="T15" fmla="*/ 7 h 29"/>
                <a:gd name="T16" fmla="*/ 29 w 34"/>
                <a:gd name="T17" fmla="*/ 11 h 29"/>
                <a:gd name="T18" fmla="*/ 30 w 34"/>
                <a:gd name="T19" fmla="*/ 14 h 29"/>
                <a:gd name="T20" fmla="*/ 31 w 34"/>
                <a:gd name="T21" fmla="*/ 16 h 29"/>
                <a:gd name="T22" fmla="*/ 34 w 34"/>
                <a:gd name="T23" fmla="*/ 17 h 29"/>
                <a:gd name="T24" fmla="*/ 34 w 34"/>
                <a:gd name="T25" fmla="*/ 18 h 29"/>
                <a:gd name="T26" fmla="*/ 32 w 34"/>
                <a:gd name="T27" fmla="*/ 17 h 29"/>
                <a:gd name="T28" fmla="*/ 32 w 34"/>
                <a:gd name="T29" fmla="*/ 22 h 29"/>
                <a:gd name="T30" fmla="*/ 31 w 34"/>
                <a:gd name="T31" fmla="*/ 27 h 29"/>
                <a:gd name="T32" fmla="*/ 27 w 34"/>
                <a:gd name="T33" fmla="*/ 28 h 29"/>
                <a:gd name="T34" fmla="*/ 24 w 34"/>
                <a:gd name="T35" fmla="*/ 29 h 29"/>
                <a:gd name="T36" fmla="*/ 21 w 34"/>
                <a:gd name="T37" fmla="*/ 29 h 29"/>
                <a:gd name="T38" fmla="*/ 17 w 34"/>
                <a:gd name="T39" fmla="*/ 26 h 29"/>
                <a:gd name="T40" fmla="*/ 11 w 34"/>
                <a:gd name="T41" fmla="*/ 28 h 29"/>
                <a:gd name="T42" fmla="*/ 11 w 34"/>
                <a:gd name="T43" fmla="*/ 26 h 29"/>
                <a:gd name="T44" fmla="*/ 13 w 34"/>
                <a:gd name="T45" fmla="*/ 23 h 29"/>
                <a:gd name="T46" fmla="*/ 11 w 34"/>
                <a:gd name="T47" fmla="*/ 23 h 29"/>
                <a:gd name="T48" fmla="*/ 5 w 34"/>
                <a:gd name="T49" fmla="*/ 21 h 29"/>
                <a:gd name="T50" fmla="*/ 5 w 34"/>
                <a:gd name="T51" fmla="*/ 17 h 29"/>
                <a:gd name="T52" fmla="*/ 2 w 34"/>
                <a:gd name="T53" fmla="*/ 14 h 29"/>
                <a:gd name="T54" fmla="*/ 3 w 34"/>
                <a:gd name="T55" fmla="*/ 12 h 29"/>
                <a:gd name="T56" fmla="*/ 1 w 34"/>
                <a:gd name="T57" fmla="*/ 10 h 29"/>
                <a:gd name="T58" fmla="*/ 2 w 34"/>
                <a:gd name="T59" fmla="*/ 10 h 29"/>
                <a:gd name="T60" fmla="*/ 2 w 34"/>
                <a:gd name="T61" fmla="*/ 9 h 29"/>
                <a:gd name="T62" fmla="*/ 0 w 34"/>
                <a:gd name="T63" fmla="*/ 7 h 29"/>
                <a:gd name="T64" fmla="*/ 0 w 34"/>
                <a:gd name="T65" fmla="*/ 5 h 29"/>
                <a:gd name="T66" fmla="*/ 3 w 34"/>
                <a:gd name="T67" fmla="*/ 5 h 29"/>
                <a:gd name="T68" fmla="*/ 6 w 34"/>
                <a:gd name="T69" fmla="*/ 7 h 29"/>
                <a:gd name="T70" fmla="*/ 9 w 34"/>
                <a:gd name="T71" fmla="*/ 4 h 2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"/>
                <a:gd name="T109" fmla="*/ 0 h 29"/>
                <a:gd name="T110" fmla="*/ 34 w 34"/>
                <a:gd name="T111" fmla="*/ 29 h 2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" h="29">
                  <a:moveTo>
                    <a:pt x="9" y="4"/>
                  </a:moveTo>
                  <a:lnTo>
                    <a:pt x="11" y="3"/>
                  </a:lnTo>
                  <a:lnTo>
                    <a:pt x="19" y="2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1"/>
                  </a:lnTo>
                  <a:lnTo>
                    <a:pt x="25" y="0"/>
                  </a:lnTo>
                  <a:lnTo>
                    <a:pt x="29" y="7"/>
                  </a:lnTo>
                  <a:lnTo>
                    <a:pt x="29" y="11"/>
                  </a:lnTo>
                  <a:lnTo>
                    <a:pt x="30" y="14"/>
                  </a:lnTo>
                  <a:lnTo>
                    <a:pt x="31" y="16"/>
                  </a:lnTo>
                  <a:lnTo>
                    <a:pt x="34" y="17"/>
                  </a:lnTo>
                  <a:lnTo>
                    <a:pt x="34" y="18"/>
                  </a:lnTo>
                  <a:lnTo>
                    <a:pt x="32" y="17"/>
                  </a:lnTo>
                  <a:lnTo>
                    <a:pt x="32" y="22"/>
                  </a:lnTo>
                  <a:lnTo>
                    <a:pt x="31" y="27"/>
                  </a:lnTo>
                  <a:lnTo>
                    <a:pt x="27" y="28"/>
                  </a:lnTo>
                  <a:lnTo>
                    <a:pt x="24" y="29"/>
                  </a:lnTo>
                  <a:lnTo>
                    <a:pt x="21" y="29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13" y="23"/>
                  </a:lnTo>
                  <a:lnTo>
                    <a:pt x="11" y="23"/>
                  </a:lnTo>
                  <a:lnTo>
                    <a:pt x="5" y="21"/>
                  </a:lnTo>
                  <a:lnTo>
                    <a:pt x="5" y="17"/>
                  </a:lnTo>
                  <a:lnTo>
                    <a:pt x="2" y="14"/>
                  </a:lnTo>
                  <a:lnTo>
                    <a:pt x="3" y="12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3" y="5"/>
                  </a:lnTo>
                  <a:lnTo>
                    <a:pt x="6" y="7"/>
                  </a:lnTo>
                  <a:lnTo>
                    <a:pt x="9" y="4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92" name="Group 297"/>
          <p:cNvGrpSpPr>
            <a:grpSpLocks/>
          </p:cNvGrpSpPr>
          <p:nvPr/>
        </p:nvGrpSpPr>
        <p:grpSpPr bwMode="auto">
          <a:xfrm>
            <a:off x="4541838" y="3921125"/>
            <a:ext cx="14287" cy="34925"/>
            <a:chOff x="2103" y="2470"/>
            <a:chExt cx="9" cy="22"/>
          </a:xfrm>
        </p:grpSpPr>
        <p:sp>
          <p:nvSpPr>
            <p:cNvPr id="34280" name="Freeform 295"/>
            <p:cNvSpPr>
              <a:spLocks/>
            </p:cNvSpPr>
            <p:nvPr/>
          </p:nvSpPr>
          <p:spPr bwMode="auto">
            <a:xfrm>
              <a:off x="2103" y="2470"/>
              <a:ext cx="9" cy="22"/>
            </a:xfrm>
            <a:custGeom>
              <a:avLst/>
              <a:gdLst>
                <a:gd name="T0" fmla="*/ 6 w 9"/>
                <a:gd name="T1" fmla="*/ 5 h 22"/>
                <a:gd name="T2" fmla="*/ 6 w 9"/>
                <a:gd name="T3" fmla="*/ 1 h 22"/>
                <a:gd name="T4" fmla="*/ 7 w 9"/>
                <a:gd name="T5" fmla="*/ 0 h 22"/>
                <a:gd name="T6" fmla="*/ 8 w 9"/>
                <a:gd name="T7" fmla="*/ 0 h 22"/>
                <a:gd name="T8" fmla="*/ 9 w 9"/>
                <a:gd name="T9" fmla="*/ 7 h 22"/>
                <a:gd name="T10" fmla="*/ 6 w 9"/>
                <a:gd name="T11" fmla="*/ 12 h 22"/>
                <a:gd name="T12" fmla="*/ 6 w 9"/>
                <a:gd name="T13" fmla="*/ 15 h 22"/>
                <a:gd name="T14" fmla="*/ 4 w 9"/>
                <a:gd name="T15" fmla="*/ 17 h 22"/>
                <a:gd name="T16" fmla="*/ 3 w 9"/>
                <a:gd name="T17" fmla="*/ 21 h 22"/>
                <a:gd name="T18" fmla="*/ 2 w 9"/>
                <a:gd name="T19" fmla="*/ 22 h 22"/>
                <a:gd name="T20" fmla="*/ 1 w 9"/>
                <a:gd name="T21" fmla="*/ 18 h 22"/>
                <a:gd name="T22" fmla="*/ 0 w 9"/>
                <a:gd name="T23" fmla="*/ 15 h 22"/>
                <a:gd name="T24" fmla="*/ 1 w 9"/>
                <a:gd name="T25" fmla="*/ 14 h 22"/>
                <a:gd name="T26" fmla="*/ 2 w 9"/>
                <a:gd name="T27" fmla="*/ 9 h 22"/>
                <a:gd name="T28" fmla="*/ 4 w 9"/>
                <a:gd name="T29" fmla="*/ 6 h 22"/>
                <a:gd name="T30" fmla="*/ 6 w 9"/>
                <a:gd name="T31" fmla="*/ 5 h 2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"/>
                <a:gd name="T49" fmla="*/ 0 h 22"/>
                <a:gd name="T50" fmla="*/ 9 w 9"/>
                <a:gd name="T51" fmla="*/ 22 h 2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" h="22">
                  <a:moveTo>
                    <a:pt x="6" y="5"/>
                  </a:moveTo>
                  <a:lnTo>
                    <a:pt x="6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9" y="7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4" y="17"/>
                  </a:lnTo>
                  <a:lnTo>
                    <a:pt x="3" y="21"/>
                  </a:lnTo>
                  <a:lnTo>
                    <a:pt x="2" y="22"/>
                  </a:lnTo>
                  <a:lnTo>
                    <a:pt x="1" y="18"/>
                  </a:lnTo>
                  <a:lnTo>
                    <a:pt x="0" y="15"/>
                  </a:lnTo>
                  <a:lnTo>
                    <a:pt x="1" y="14"/>
                  </a:lnTo>
                  <a:lnTo>
                    <a:pt x="2" y="9"/>
                  </a:lnTo>
                  <a:lnTo>
                    <a:pt x="4" y="6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81" name="Freeform 296"/>
            <p:cNvSpPr>
              <a:spLocks/>
            </p:cNvSpPr>
            <p:nvPr/>
          </p:nvSpPr>
          <p:spPr bwMode="auto">
            <a:xfrm>
              <a:off x="2103" y="2470"/>
              <a:ext cx="9" cy="22"/>
            </a:xfrm>
            <a:custGeom>
              <a:avLst/>
              <a:gdLst>
                <a:gd name="T0" fmla="*/ 6 w 9"/>
                <a:gd name="T1" fmla="*/ 5 h 22"/>
                <a:gd name="T2" fmla="*/ 6 w 9"/>
                <a:gd name="T3" fmla="*/ 1 h 22"/>
                <a:gd name="T4" fmla="*/ 7 w 9"/>
                <a:gd name="T5" fmla="*/ 0 h 22"/>
                <a:gd name="T6" fmla="*/ 8 w 9"/>
                <a:gd name="T7" fmla="*/ 0 h 22"/>
                <a:gd name="T8" fmla="*/ 9 w 9"/>
                <a:gd name="T9" fmla="*/ 7 h 22"/>
                <a:gd name="T10" fmla="*/ 6 w 9"/>
                <a:gd name="T11" fmla="*/ 12 h 22"/>
                <a:gd name="T12" fmla="*/ 6 w 9"/>
                <a:gd name="T13" fmla="*/ 15 h 22"/>
                <a:gd name="T14" fmla="*/ 4 w 9"/>
                <a:gd name="T15" fmla="*/ 17 h 22"/>
                <a:gd name="T16" fmla="*/ 3 w 9"/>
                <a:gd name="T17" fmla="*/ 21 h 22"/>
                <a:gd name="T18" fmla="*/ 2 w 9"/>
                <a:gd name="T19" fmla="*/ 22 h 22"/>
                <a:gd name="T20" fmla="*/ 1 w 9"/>
                <a:gd name="T21" fmla="*/ 18 h 22"/>
                <a:gd name="T22" fmla="*/ 0 w 9"/>
                <a:gd name="T23" fmla="*/ 15 h 22"/>
                <a:gd name="T24" fmla="*/ 1 w 9"/>
                <a:gd name="T25" fmla="*/ 14 h 22"/>
                <a:gd name="T26" fmla="*/ 2 w 9"/>
                <a:gd name="T27" fmla="*/ 9 h 22"/>
                <a:gd name="T28" fmla="*/ 4 w 9"/>
                <a:gd name="T29" fmla="*/ 6 h 22"/>
                <a:gd name="T30" fmla="*/ 6 w 9"/>
                <a:gd name="T31" fmla="*/ 5 h 2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"/>
                <a:gd name="T49" fmla="*/ 0 h 22"/>
                <a:gd name="T50" fmla="*/ 9 w 9"/>
                <a:gd name="T51" fmla="*/ 22 h 2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" h="22">
                  <a:moveTo>
                    <a:pt x="6" y="5"/>
                  </a:moveTo>
                  <a:lnTo>
                    <a:pt x="6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9" y="7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4" y="17"/>
                  </a:lnTo>
                  <a:lnTo>
                    <a:pt x="3" y="21"/>
                  </a:lnTo>
                  <a:lnTo>
                    <a:pt x="2" y="22"/>
                  </a:lnTo>
                  <a:lnTo>
                    <a:pt x="1" y="18"/>
                  </a:lnTo>
                  <a:lnTo>
                    <a:pt x="0" y="15"/>
                  </a:lnTo>
                  <a:lnTo>
                    <a:pt x="1" y="14"/>
                  </a:lnTo>
                  <a:lnTo>
                    <a:pt x="2" y="9"/>
                  </a:lnTo>
                  <a:lnTo>
                    <a:pt x="4" y="6"/>
                  </a:lnTo>
                  <a:lnTo>
                    <a:pt x="6" y="5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93" name="Group 300"/>
          <p:cNvGrpSpPr>
            <a:grpSpLocks/>
          </p:cNvGrpSpPr>
          <p:nvPr/>
        </p:nvGrpSpPr>
        <p:grpSpPr bwMode="auto">
          <a:xfrm>
            <a:off x="4554538" y="3841750"/>
            <a:ext cx="80962" cy="92075"/>
            <a:chOff x="2111" y="2420"/>
            <a:chExt cx="51" cy="58"/>
          </a:xfrm>
        </p:grpSpPr>
        <p:sp>
          <p:nvSpPr>
            <p:cNvPr id="34278" name="Freeform 298"/>
            <p:cNvSpPr>
              <a:spLocks/>
            </p:cNvSpPr>
            <p:nvPr/>
          </p:nvSpPr>
          <p:spPr bwMode="auto">
            <a:xfrm>
              <a:off x="2111" y="2420"/>
              <a:ext cx="51" cy="58"/>
            </a:xfrm>
            <a:custGeom>
              <a:avLst/>
              <a:gdLst>
                <a:gd name="T0" fmla="*/ 18 w 51"/>
                <a:gd name="T1" fmla="*/ 9 h 58"/>
                <a:gd name="T2" fmla="*/ 25 w 51"/>
                <a:gd name="T3" fmla="*/ 11 h 58"/>
                <a:gd name="T4" fmla="*/ 23 w 51"/>
                <a:gd name="T5" fmla="*/ 16 h 58"/>
                <a:gd name="T6" fmla="*/ 22 w 51"/>
                <a:gd name="T7" fmla="*/ 18 h 58"/>
                <a:gd name="T8" fmla="*/ 24 w 51"/>
                <a:gd name="T9" fmla="*/ 21 h 58"/>
                <a:gd name="T10" fmla="*/ 26 w 51"/>
                <a:gd name="T11" fmla="*/ 21 h 58"/>
                <a:gd name="T12" fmla="*/ 28 w 51"/>
                <a:gd name="T13" fmla="*/ 16 h 58"/>
                <a:gd name="T14" fmla="*/ 28 w 51"/>
                <a:gd name="T15" fmla="*/ 13 h 58"/>
                <a:gd name="T16" fmla="*/ 29 w 51"/>
                <a:gd name="T17" fmla="*/ 12 h 58"/>
                <a:gd name="T18" fmla="*/ 31 w 51"/>
                <a:gd name="T19" fmla="*/ 20 h 58"/>
                <a:gd name="T20" fmla="*/ 30 w 51"/>
                <a:gd name="T21" fmla="*/ 22 h 58"/>
                <a:gd name="T22" fmla="*/ 31 w 51"/>
                <a:gd name="T23" fmla="*/ 23 h 58"/>
                <a:gd name="T24" fmla="*/ 33 w 51"/>
                <a:gd name="T25" fmla="*/ 11 h 58"/>
                <a:gd name="T26" fmla="*/ 29 w 51"/>
                <a:gd name="T27" fmla="*/ 9 h 58"/>
                <a:gd name="T28" fmla="*/ 32 w 51"/>
                <a:gd name="T29" fmla="*/ 3 h 58"/>
                <a:gd name="T30" fmla="*/ 38 w 51"/>
                <a:gd name="T31" fmla="*/ 0 h 58"/>
                <a:gd name="T32" fmla="*/ 44 w 51"/>
                <a:gd name="T33" fmla="*/ 3 h 58"/>
                <a:gd name="T34" fmla="*/ 48 w 51"/>
                <a:gd name="T35" fmla="*/ 10 h 58"/>
                <a:gd name="T36" fmla="*/ 48 w 51"/>
                <a:gd name="T37" fmla="*/ 15 h 58"/>
                <a:gd name="T38" fmla="*/ 49 w 51"/>
                <a:gd name="T39" fmla="*/ 19 h 58"/>
                <a:gd name="T40" fmla="*/ 47 w 51"/>
                <a:gd name="T41" fmla="*/ 24 h 58"/>
                <a:gd name="T42" fmla="*/ 42 w 51"/>
                <a:gd name="T43" fmla="*/ 26 h 58"/>
                <a:gd name="T44" fmla="*/ 38 w 51"/>
                <a:gd name="T45" fmla="*/ 32 h 58"/>
                <a:gd name="T46" fmla="*/ 41 w 51"/>
                <a:gd name="T47" fmla="*/ 36 h 58"/>
                <a:gd name="T48" fmla="*/ 44 w 51"/>
                <a:gd name="T49" fmla="*/ 45 h 58"/>
                <a:gd name="T50" fmla="*/ 35 w 51"/>
                <a:gd name="T51" fmla="*/ 48 h 58"/>
                <a:gd name="T52" fmla="*/ 36 w 51"/>
                <a:gd name="T53" fmla="*/ 50 h 58"/>
                <a:gd name="T54" fmla="*/ 36 w 51"/>
                <a:gd name="T55" fmla="*/ 53 h 58"/>
                <a:gd name="T56" fmla="*/ 35 w 51"/>
                <a:gd name="T57" fmla="*/ 58 h 58"/>
                <a:gd name="T58" fmla="*/ 31 w 51"/>
                <a:gd name="T59" fmla="*/ 56 h 58"/>
                <a:gd name="T60" fmla="*/ 21 w 51"/>
                <a:gd name="T61" fmla="*/ 54 h 58"/>
                <a:gd name="T62" fmla="*/ 23 w 51"/>
                <a:gd name="T63" fmla="*/ 54 h 58"/>
                <a:gd name="T64" fmla="*/ 24 w 51"/>
                <a:gd name="T65" fmla="*/ 51 h 58"/>
                <a:gd name="T66" fmla="*/ 17 w 51"/>
                <a:gd name="T67" fmla="*/ 47 h 58"/>
                <a:gd name="T68" fmla="*/ 10 w 51"/>
                <a:gd name="T69" fmla="*/ 43 h 58"/>
                <a:gd name="T70" fmla="*/ 5 w 51"/>
                <a:gd name="T71" fmla="*/ 40 h 58"/>
                <a:gd name="T72" fmla="*/ 6 w 51"/>
                <a:gd name="T73" fmla="*/ 39 h 58"/>
                <a:gd name="T74" fmla="*/ 7 w 51"/>
                <a:gd name="T75" fmla="*/ 27 h 58"/>
                <a:gd name="T76" fmla="*/ 2 w 51"/>
                <a:gd name="T77" fmla="*/ 25 h 58"/>
                <a:gd name="T78" fmla="*/ 3 w 51"/>
                <a:gd name="T79" fmla="*/ 23 h 58"/>
                <a:gd name="T80" fmla="*/ 0 w 51"/>
                <a:gd name="T81" fmla="*/ 21 h 58"/>
                <a:gd name="T82" fmla="*/ 9 w 51"/>
                <a:gd name="T83" fmla="*/ 20 h 58"/>
                <a:gd name="T84" fmla="*/ 13 w 51"/>
                <a:gd name="T85" fmla="*/ 15 h 58"/>
                <a:gd name="T86" fmla="*/ 17 w 51"/>
                <a:gd name="T87" fmla="*/ 14 h 58"/>
                <a:gd name="T88" fmla="*/ 13 w 51"/>
                <a:gd name="T89" fmla="*/ 8 h 5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1"/>
                <a:gd name="T136" fmla="*/ 0 h 58"/>
                <a:gd name="T137" fmla="*/ 51 w 51"/>
                <a:gd name="T138" fmla="*/ 58 h 5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1" h="58">
                  <a:moveTo>
                    <a:pt x="13" y="8"/>
                  </a:moveTo>
                  <a:lnTo>
                    <a:pt x="18" y="9"/>
                  </a:lnTo>
                  <a:lnTo>
                    <a:pt x="25" y="8"/>
                  </a:lnTo>
                  <a:lnTo>
                    <a:pt x="25" y="11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3" y="17"/>
                  </a:lnTo>
                  <a:lnTo>
                    <a:pt x="24" y="21"/>
                  </a:lnTo>
                  <a:lnTo>
                    <a:pt x="24" y="24"/>
                  </a:lnTo>
                  <a:lnTo>
                    <a:pt x="26" y="21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8" y="13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32" y="18"/>
                  </a:lnTo>
                  <a:lnTo>
                    <a:pt x="31" y="20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3"/>
                  </a:lnTo>
                  <a:lnTo>
                    <a:pt x="32" y="23"/>
                  </a:lnTo>
                  <a:lnTo>
                    <a:pt x="33" y="11"/>
                  </a:lnTo>
                  <a:lnTo>
                    <a:pt x="31" y="9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32" y="3"/>
                  </a:lnTo>
                  <a:lnTo>
                    <a:pt x="37" y="1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3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47" y="13"/>
                  </a:lnTo>
                  <a:lnTo>
                    <a:pt x="48" y="15"/>
                  </a:lnTo>
                  <a:lnTo>
                    <a:pt x="49" y="16"/>
                  </a:lnTo>
                  <a:lnTo>
                    <a:pt x="49" y="19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5" y="26"/>
                  </a:lnTo>
                  <a:lnTo>
                    <a:pt x="42" y="26"/>
                  </a:lnTo>
                  <a:lnTo>
                    <a:pt x="40" y="29"/>
                  </a:lnTo>
                  <a:lnTo>
                    <a:pt x="38" y="32"/>
                  </a:lnTo>
                  <a:lnTo>
                    <a:pt x="38" y="36"/>
                  </a:lnTo>
                  <a:lnTo>
                    <a:pt x="41" y="36"/>
                  </a:lnTo>
                  <a:lnTo>
                    <a:pt x="44" y="40"/>
                  </a:lnTo>
                  <a:lnTo>
                    <a:pt x="44" y="45"/>
                  </a:lnTo>
                  <a:lnTo>
                    <a:pt x="36" y="47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6" y="50"/>
                  </a:lnTo>
                  <a:lnTo>
                    <a:pt x="37" y="53"/>
                  </a:lnTo>
                  <a:lnTo>
                    <a:pt x="36" y="53"/>
                  </a:lnTo>
                  <a:lnTo>
                    <a:pt x="35" y="54"/>
                  </a:lnTo>
                  <a:lnTo>
                    <a:pt x="35" y="58"/>
                  </a:lnTo>
                  <a:lnTo>
                    <a:pt x="32" y="58"/>
                  </a:lnTo>
                  <a:lnTo>
                    <a:pt x="31" y="56"/>
                  </a:lnTo>
                  <a:lnTo>
                    <a:pt x="23" y="55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3" y="54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4" y="49"/>
                  </a:lnTo>
                  <a:lnTo>
                    <a:pt x="17" y="47"/>
                  </a:lnTo>
                  <a:lnTo>
                    <a:pt x="10" y="47"/>
                  </a:lnTo>
                  <a:lnTo>
                    <a:pt x="10" y="43"/>
                  </a:lnTo>
                  <a:lnTo>
                    <a:pt x="6" y="42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7" y="36"/>
                  </a:lnTo>
                  <a:lnTo>
                    <a:pt x="7" y="27"/>
                  </a:lnTo>
                  <a:lnTo>
                    <a:pt x="6" y="26"/>
                  </a:lnTo>
                  <a:lnTo>
                    <a:pt x="2" y="25"/>
                  </a:lnTo>
                  <a:lnTo>
                    <a:pt x="1" y="24"/>
                  </a:lnTo>
                  <a:lnTo>
                    <a:pt x="3" y="23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1" y="20"/>
                  </a:lnTo>
                  <a:lnTo>
                    <a:pt x="9" y="20"/>
                  </a:lnTo>
                  <a:lnTo>
                    <a:pt x="12" y="19"/>
                  </a:lnTo>
                  <a:lnTo>
                    <a:pt x="13" y="15"/>
                  </a:lnTo>
                  <a:lnTo>
                    <a:pt x="16" y="15"/>
                  </a:lnTo>
                  <a:lnTo>
                    <a:pt x="17" y="14"/>
                  </a:lnTo>
                  <a:lnTo>
                    <a:pt x="17" y="11"/>
                  </a:lnTo>
                  <a:lnTo>
                    <a:pt x="13" y="8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79" name="Freeform 299"/>
            <p:cNvSpPr>
              <a:spLocks/>
            </p:cNvSpPr>
            <p:nvPr/>
          </p:nvSpPr>
          <p:spPr bwMode="auto">
            <a:xfrm>
              <a:off x="2111" y="2420"/>
              <a:ext cx="51" cy="58"/>
            </a:xfrm>
            <a:custGeom>
              <a:avLst/>
              <a:gdLst>
                <a:gd name="T0" fmla="*/ 18 w 51"/>
                <a:gd name="T1" fmla="*/ 9 h 58"/>
                <a:gd name="T2" fmla="*/ 25 w 51"/>
                <a:gd name="T3" fmla="*/ 11 h 58"/>
                <a:gd name="T4" fmla="*/ 23 w 51"/>
                <a:gd name="T5" fmla="*/ 16 h 58"/>
                <a:gd name="T6" fmla="*/ 22 w 51"/>
                <a:gd name="T7" fmla="*/ 18 h 58"/>
                <a:gd name="T8" fmla="*/ 24 w 51"/>
                <a:gd name="T9" fmla="*/ 21 h 58"/>
                <a:gd name="T10" fmla="*/ 26 w 51"/>
                <a:gd name="T11" fmla="*/ 21 h 58"/>
                <a:gd name="T12" fmla="*/ 28 w 51"/>
                <a:gd name="T13" fmla="*/ 16 h 58"/>
                <a:gd name="T14" fmla="*/ 28 w 51"/>
                <a:gd name="T15" fmla="*/ 13 h 58"/>
                <a:gd name="T16" fmla="*/ 29 w 51"/>
                <a:gd name="T17" fmla="*/ 12 h 58"/>
                <a:gd name="T18" fmla="*/ 31 w 51"/>
                <a:gd name="T19" fmla="*/ 20 h 58"/>
                <a:gd name="T20" fmla="*/ 30 w 51"/>
                <a:gd name="T21" fmla="*/ 22 h 58"/>
                <a:gd name="T22" fmla="*/ 31 w 51"/>
                <a:gd name="T23" fmla="*/ 23 h 58"/>
                <a:gd name="T24" fmla="*/ 33 w 51"/>
                <a:gd name="T25" fmla="*/ 11 h 58"/>
                <a:gd name="T26" fmla="*/ 29 w 51"/>
                <a:gd name="T27" fmla="*/ 9 h 58"/>
                <a:gd name="T28" fmla="*/ 32 w 51"/>
                <a:gd name="T29" fmla="*/ 3 h 58"/>
                <a:gd name="T30" fmla="*/ 38 w 51"/>
                <a:gd name="T31" fmla="*/ 0 h 58"/>
                <a:gd name="T32" fmla="*/ 44 w 51"/>
                <a:gd name="T33" fmla="*/ 3 h 58"/>
                <a:gd name="T34" fmla="*/ 48 w 51"/>
                <a:gd name="T35" fmla="*/ 10 h 58"/>
                <a:gd name="T36" fmla="*/ 48 w 51"/>
                <a:gd name="T37" fmla="*/ 15 h 58"/>
                <a:gd name="T38" fmla="*/ 49 w 51"/>
                <a:gd name="T39" fmla="*/ 19 h 58"/>
                <a:gd name="T40" fmla="*/ 47 w 51"/>
                <a:gd name="T41" fmla="*/ 24 h 58"/>
                <a:gd name="T42" fmla="*/ 42 w 51"/>
                <a:gd name="T43" fmla="*/ 26 h 58"/>
                <a:gd name="T44" fmla="*/ 38 w 51"/>
                <a:gd name="T45" fmla="*/ 32 h 58"/>
                <a:gd name="T46" fmla="*/ 41 w 51"/>
                <a:gd name="T47" fmla="*/ 36 h 58"/>
                <a:gd name="T48" fmla="*/ 44 w 51"/>
                <a:gd name="T49" fmla="*/ 45 h 58"/>
                <a:gd name="T50" fmla="*/ 35 w 51"/>
                <a:gd name="T51" fmla="*/ 48 h 58"/>
                <a:gd name="T52" fmla="*/ 36 w 51"/>
                <a:gd name="T53" fmla="*/ 50 h 58"/>
                <a:gd name="T54" fmla="*/ 36 w 51"/>
                <a:gd name="T55" fmla="*/ 53 h 58"/>
                <a:gd name="T56" fmla="*/ 35 w 51"/>
                <a:gd name="T57" fmla="*/ 58 h 58"/>
                <a:gd name="T58" fmla="*/ 31 w 51"/>
                <a:gd name="T59" fmla="*/ 56 h 58"/>
                <a:gd name="T60" fmla="*/ 21 w 51"/>
                <a:gd name="T61" fmla="*/ 54 h 58"/>
                <a:gd name="T62" fmla="*/ 23 w 51"/>
                <a:gd name="T63" fmla="*/ 54 h 58"/>
                <a:gd name="T64" fmla="*/ 24 w 51"/>
                <a:gd name="T65" fmla="*/ 51 h 58"/>
                <a:gd name="T66" fmla="*/ 17 w 51"/>
                <a:gd name="T67" fmla="*/ 47 h 58"/>
                <a:gd name="T68" fmla="*/ 10 w 51"/>
                <a:gd name="T69" fmla="*/ 43 h 58"/>
                <a:gd name="T70" fmla="*/ 5 w 51"/>
                <a:gd name="T71" fmla="*/ 40 h 58"/>
                <a:gd name="T72" fmla="*/ 6 w 51"/>
                <a:gd name="T73" fmla="*/ 39 h 58"/>
                <a:gd name="T74" fmla="*/ 7 w 51"/>
                <a:gd name="T75" fmla="*/ 27 h 58"/>
                <a:gd name="T76" fmla="*/ 2 w 51"/>
                <a:gd name="T77" fmla="*/ 25 h 58"/>
                <a:gd name="T78" fmla="*/ 3 w 51"/>
                <a:gd name="T79" fmla="*/ 23 h 58"/>
                <a:gd name="T80" fmla="*/ 0 w 51"/>
                <a:gd name="T81" fmla="*/ 21 h 58"/>
                <a:gd name="T82" fmla="*/ 9 w 51"/>
                <a:gd name="T83" fmla="*/ 20 h 58"/>
                <a:gd name="T84" fmla="*/ 13 w 51"/>
                <a:gd name="T85" fmla="*/ 15 h 58"/>
                <a:gd name="T86" fmla="*/ 17 w 51"/>
                <a:gd name="T87" fmla="*/ 14 h 58"/>
                <a:gd name="T88" fmla="*/ 13 w 51"/>
                <a:gd name="T89" fmla="*/ 8 h 5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1"/>
                <a:gd name="T136" fmla="*/ 0 h 58"/>
                <a:gd name="T137" fmla="*/ 51 w 51"/>
                <a:gd name="T138" fmla="*/ 58 h 5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1" h="58">
                  <a:moveTo>
                    <a:pt x="13" y="8"/>
                  </a:moveTo>
                  <a:lnTo>
                    <a:pt x="18" y="9"/>
                  </a:lnTo>
                  <a:lnTo>
                    <a:pt x="25" y="8"/>
                  </a:lnTo>
                  <a:lnTo>
                    <a:pt x="25" y="11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3" y="17"/>
                  </a:lnTo>
                  <a:lnTo>
                    <a:pt x="24" y="21"/>
                  </a:lnTo>
                  <a:lnTo>
                    <a:pt x="24" y="24"/>
                  </a:lnTo>
                  <a:lnTo>
                    <a:pt x="26" y="21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8" y="13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32" y="18"/>
                  </a:lnTo>
                  <a:lnTo>
                    <a:pt x="31" y="20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3"/>
                  </a:lnTo>
                  <a:lnTo>
                    <a:pt x="32" y="23"/>
                  </a:lnTo>
                  <a:lnTo>
                    <a:pt x="33" y="11"/>
                  </a:lnTo>
                  <a:lnTo>
                    <a:pt x="31" y="9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32" y="3"/>
                  </a:lnTo>
                  <a:lnTo>
                    <a:pt x="37" y="1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3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47" y="13"/>
                  </a:lnTo>
                  <a:lnTo>
                    <a:pt x="48" y="15"/>
                  </a:lnTo>
                  <a:lnTo>
                    <a:pt x="49" y="16"/>
                  </a:lnTo>
                  <a:lnTo>
                    <a:pt x="49" y="19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5" y="26"/>
                  </a:lnTo>
                  <a:lnTo>
                    <a:pt x="42" y="26"/>
                  </a:lnTo>
                  <a:lnTo>
                    <a:pt x="40" y="29"/>
                  </a:lnTo>
                  <a:lnTo>
                    <a:pt x="38" y="32"/>
                  </a:lnTo>
                  <a:lnTo>
                    <a:pt x="38" y="36"/>
                  </a:lnTo>
                  <a:lnTo>
                    <a:pt x="41" y="36"/>
                  </a:lnTo>
                  <a:lnTo>
                    <a:pt x="44" y="40"/>
                  </a:lnTo>
                  <a:lnTo>
                    <a:pt x="44" y="45"/>
                  </a:lnTo>
                  <a:lnTo>
                    <a:pt x="36" y="47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6" y="50"/>
                  </a:lnTo>
                  <a:lnTo>
                    <a:pt x="37" y="53"/>
                  </a:lnTo>
                  <a:lnTo>
                    <a:pt x="36" y="53"/>
                  </a:lnTo>
                  <a:lnTo>
                    <a:pt x="35" y="54"/>
                  </a:lnTo>
                  <a:lnTo>
                    <a:pt x="35" y="58"/>
                  </a:lnTo>
                  <a:lnTo>
                    <a:pt x="32" y="58"/>
                  </a:lnTo>
                  <a:lnTo>
                    <a:pt x="31" y="56"/>
                  </a:lnTo>
                  <a:lnTo>
                    <a:pt x="23" y="55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3" y="54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4" y="49"/>
                  </a:lnTo>
                  <a:lnTo>
                    <a:pt x="17" y="47"/>
                  </a:lnTo>
                  <a:lnTo>
                    <a:pt x="10" y="47"/>
                  </a:lnTo>
                  <a:lnTo>
                    <a:pt x="10" y="43"/>
                  </a:lnTo>
                  <a:lnTo>
                    <a:pt x="6" y="42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7" y="36"/>
                  </a:lnTo>
                  <a:lnTo>
                    <a:pt x="7" y="27"/>
                  </a:lnTo>
                  <a:lnTo>
                    <a:pt x="6" y="26"/>
                  </a:lnTo>
                  <a:lnTo>
                    <a:pt x="2" y="25"/>
                  </a:lnTo>
                  <a:lnTo>
                    <a:pt x="1" y="24"/>
                  </a:lnTo>
                  <a:lnTo>
                    <a:pt x="3" y="23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1" y="20"/>
                  </a:lnTo>
                  <a:lnTo>
                    <a:pt x="9" y="20"/>
                  </a:lnTo>
                  <a:lnTo>
                    <a:pt x="12" y="19"/>
                  </a:lnTo>
                  <a:lnTo>
                    <a:pt x="13" y="15"/>
                  </a:lnTo>
                  <a:lnTo>
                    <a:pt x="16" y="15"/>
                  </a:lnTo>
                  <a:lnTo>
                    <a:pt x="17" y="14"/>
                  </a:lnTo>
                  <a:lnTo>
                    <a:pt x="17" y="11"/>
                  </a:lnTo>
                  <a:lnTo>
                    <a:pt x="13" y="8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94" name="Group 303"/>
          <p:cNvGrpSpPr>
            <a:grpSpLocks/>
          </p:cNvGrpSpPr>
          <p:nvPr/>
        </p:nvGrpSpPr>
        <p:grpSpPr bwMode="auto">
          <a:xfrm>
            <a:off x="4719638" y="3913188"/>
            <a:ext cx="17462" cy="19050"/>
            <a:chOff x="2215" y="2465"/>
            <a:chExt cx="11" cy="12"/>
          </a:xfrm>
        </p:grpSpPr>
        <p:sp>
          <p:nvSpPr>
            <p:cNvPr id="34276" name="Freeform 301"/>
            <p:cNvSpPr>
              <a:spLocks/>
            </p:cNvSpPr>
            <p:nvPr/>
          </p:nvSpPr>
          <p:spPr bwMode="auto">
            <a:xfrm>
              <a:off x="2215" y="2465"/>
              <a:ext cx="11" cy="12"/>
            </a:xfrm>
            <a:custGeom>
              <a:avLst/>
              <a:gdLst>
                <a:gd name="T0" fmla="*/ 11 w 11"/>
                <a:gd name="T1" fmla="*/ 12 h 12"/>
                <a:gd name="T2" fmla="*/ 10 w 11"/>
                <a:gd name="T3" fmla="*/ 5 h 12"/>
                <a:gd name="T4" fmla="*/ 6 w 11"/>
                <a:gd name="T5" fmla="*/ 1 h 12"/>
                <a:gd name="T6" fmla="*/ 2 w 11"/>
                <a:gd name="T7" fmla="*/ 0 h 12"/>
                <a:gd name="T8" fmla="*/ 0 w 11"/>
                <a:gd name="T9" fmla="*/ 8 h 12"/>
                <a:gd name="T10" fmla="*/ 3 w 11"/>
                <a:gd name="T11" fmla="*/ 11 h 12"/>
                <a:gd name="T12" fmla="*/ 6 w 11"/>
                <a:gd name="T13" fmla="*/ 12 h 12"/>
                <a:gd name="T14" fmla="*/ 11 w 11"/>
                <a:gd name="T15" fmla="*/ 12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2"/>
                <a:gd name="T26" fmla="*/ 11 w 11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2">
                  <a:moveTo>
                    <a:pt x="11" y="12"/>
                  </a:moveTo>
                  <a:lnTo>
                    <a:pt x="10" y="5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2"/>
                  </a:lnTo>
                  <a:lnTo>
                    <a:pt x="11" y="12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77" name="Freeform 302"/>
            <p:cNvSpPr>
              <a:spLocks/>
            </p:cNvSpPr>
            <p:nvPr/>
          </p:nvSpPr>
          <p:spPr bwMode="auto">
            <a:xfrm>
              <a:off x="2215" y="2465"/>
              <a:ext cx="11" cy="12"/>
            </a:xfrm>
            <a:custGeom>
              <a:avLst/>
              <a:gdLst>
                <a:gd name="T0" fmla="*/ 11 w 11"/>
                <a:gd name="T1" fmla="*/ 12 h 12"/>
                <a:gd name="T2" fmla="*/ 10 w 11"/>
                <a:gd name="T3" fmla="*/ 5 h 12"/>
                <a:gd name="T4" fmla="*/ 6 w 11"/>
                <a:gd name="T5" fmla="*/ 1 h 12"/>
                <a:gd name="T6" fmla="*/ 2 w 11"/>
                <a:gd name="T7" fmla="*/ 0 h 12"/>
                <a:gd name="T8" fmla="*/ 0 w 11"/>
                <a:gd name="T9" fmla="*/ 8 h 12"/>
                <a:gd name="T10" fmla="*/ 3 w 11"/>
                <a:gd name="T11" fmla="*/ 11 h 12"/>
                <a:gd name="T12" fmla="*/ 6 w 11"/>
                <a:gd name="T13" fmla="*/ 12 h 12"/>
                <a:gd name="T14" fmla="*/ 11 w 11"/>
                <a:gd name="T15" fmla="*/ 12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2"/>
                <a:gd name="T26" fmla="*/ 11 w 11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2">
                  <a:moveTo>
                    <a:pt x="11" y="12"/>
                  </a:moveTo>
                  <a:lnTo>
                    <a:pt x="10" y="5"/>
                  </a:lnTo>
                  <a:lnTo>
                    <a:pt x="6" y="1"/>
                  </a:lnTo>
                  <a:lnTo>
                    <a:pt x="2" y="0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2"/>
                  </a:lnTo>
                  <a:lnTo>
                    <a:pt x="11" y="12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95" name="Group 306"/>
          <p:cNvGrpSpPr>
            <a:grpSpLocks/>
          </p:cNvGrpSpPr>
          <p:nvPr/>
        </p:nvGrpSpPr>
        <p:grpSpPr bwMode="auto">
          <a:xfrm>
            <a:off x="4591050" y="3935413"/>
            <a:ext cx="17463" cy="31750"/>
            <a:chOff x="2134" y="2479"/>
            <a:chExt cx="11" cy="20"/>
          </a:xfrm>
        </p:grpSpPr>
        <p:sp>
          <p:nvSpPr>
            <p:cNvPr id="34274" name="Freeform 304"/>
            <p:cNvSpPr>
              <a:spLocks/>
            </p:cNvSpPr>
            <p:nvPr/>
          </p:nvSpPr>
          <p:spPr bwMode="auto">
            <a:xfrm>
              <a:off x="2134" y="2479"/>
              <a:ext cx="11" cy="20"/>
            </a:xfrm>
            <a:custGeom>
              <a:avLst/>
              <a:gdLst>
                <a:gd name="T0" fmla="*/ 2 w 11"/>
                <a:gd name="T1" fmla="*/ 1 h 20"/>
                <a:gd name="T2" fmla="*/ 3 w 11"/>
                <a:gd name="T3" fmla="*/ 0 h 20"/>
                <a:gd name="T4" fmla="*/ 5 w 11"/>
                <a:gd name="T5" fmla="*/ 1 h 20"/>
                <a:gd name="T6" fmla="*/ 6 w 11"/>
                <a:gd name="T7" fmla="*/ 3 h 20"/>
                <a:gd name="T8" fmla="*/ 10 w 11"/>
                <a:gd name="T9" fmla="*/ 5 h 20"/>
                <a:gd name="T10" fmla="*/ 11 w 11"/>
                <a:gd name="T11" fmla="*/ 9 h 20"/>
                <a:gd name="T12" fmla="*/ 8 w 11"/>
                <a:gd name="T13" fmla="*/ 11 h 20"/>
                <a:gd name="T14" fmla="*/ 8 w 11"/>
                <a:gd name="T15" fmla="*/ 12 h 20"/>
                <a:gd name="T16" fmla="*/ 7 w 11"/>
                <a:gd name="T17" fmla="*/ 20 h 20"/>
                <a:gd name="T18" fmla="*/ 5 w 11"/>
                <a:gd name="T19" fmla="*/ 18 h 20"/>
                <a:gd name="T20" fmla="*/ 5 w 11"/>
                <a:gd name="T21" fmla="*/ 11 h 20"/>
                <a:gd name="T22" fmla="*/ 4 w 11"/>
                <a:gd name="T23" fmla="*/ 10 h 20"/>
                <a:gd name="T24" fmla="*/ 3 w 11"/>
                <a:gd name="T25" fmla="*/ 6 h 20"/>
                <a:gd name="T26" fmla="*/ 2 w 11"/>
                <a:gd name="T27" fmla="*/ 5 h 20"/>
                <a:gd name="T28" fmla="*/ 0 w 11"/>
                <a:gd name="T29" fmla="*/ 2 h 20"/>
                <a:gd name="T30" fmla="*/ 0 w 11"/>
                <a:gd name="T31" fmla="*/ 1 h 20"/>
                <a:gd name="T32" fmla="*/ 2 w 11"/>
                <a:gd name="T33" fmla="*/ 1 h 2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"/>
                <a:gd name="T52" fmla="*/ 0 h 20"/>
                <a:gd name="T53" fmla="*/ 11 w 11"/>
                <a:gd name="T54" fmla="*/ 20 h 2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" h="20">
                  <a:moveTo>
                    <a:pt x="2" y="1"/>
                  </a:moveTo>
                  <a:lnTo>
                    <a:pt x="3" y="0"/>
                  </a:lnTo>
                  <a:lnTo>
                    <a:pt x="5" y="1"/>
                  </a:lnTo>
                  <a:lnTo>
                    <a:pt x="6" y="3"/>
                  </a:lnTo>
                  <a:lnTo>
                    <a:pt x="10" y="5"/>
                  </a:lnTo>
                  <a:lnTo>
                    <a:pt x="11" y="9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7" y="20"/>
                  </a:lnTo>
                  <a:lnTo>
                    <a:pt x="5" y="18"/>
                  </a:lnTo>
                  <a:lnTo>
                    <a:pt x="5" y="11"/>
                  </a:lnTo>
                  <a:lnTo>
                    <a:pt x="4" y="10"/>
                  </a:lnTo>
                  <a:lnTo>
                    <a:pt x="3" y="6"/>
                  </a:lnTo>
                  <a:lnTo>
                    <a:pt x="2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2" y="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75" name="Freeform 305"/>
            <p:cNvSpPr>
              <a:spLocks/>
            </p:cNvSpPr>
            <p:nvPr/>
          </p:nvSpPr>
          <p:spPr bwMode="auto">
            <a:xfrm>
              <a:off x="2134" y="2479"/>
              <a:ext cx="11" cy="20"/>
            </a:xfrm>
            <a:custGeom>
              <a:avLst/>
              <a:gdLst>
                <a:gd name="T0" fmla="*/ 2 w 11"/>
                <a:gd name="T1" fmla="*/ 1 h 20"/>
                <a:gd name="T2" fmla="*/ 3 w 11"/>
                <a:gd name="T3" fmla="*/ 0 h 20"/>
                <a:gd name="T4" fmla="*/ 5 w 11"/>
                <a:gd name="T5" fmla="*/ 1 h 20"/>
                <a:gd name="T6" fmla="*/ 6 w 11"/>
                <a:gd name="T7" fmla="*/ 3 h 20"/>
                <a:gd name="T8" fmla="*/ 10 w 11"/>
                <a:gd name="T9" fmla="*/ 5 h 20"/>
                <a:gd name="T10" fmla="*/ 11 w 11"/>
                <a:gd name="T11" fmla="*/ 9 h 20"/>
                <a:gd name="T12" fmla="*/ 8 w 11"/>
                <a:gd name="T13" fmla="*/ 11 h 20"/>
                <a:gd name="T14" fmla="*/ 8 w 11"/>
                <a:gd name="T15" fmla="*/ 12 h 20"/>
                <a:gd name="T16" fmla="*/ 7 w 11"/>
                <a:gd name="T17" fmla="*/ 20 h 20"/>
                <a:gd name="T18" fmla="*/ 5 w 11"/>
                <a:gd name="T19" fmla="*/ 18 h 20"/>
                <a:gd name="T20" fmla="*/ 5 w 11"/>
                <a:gd name="T21" fmla="*/ 11 h 20"/>
                <a:gd name="T22" fmla="*/ 4 w 11"/>
                <a:gd name="T23" fmla="*/ 10 h 20"/>
                <a:gd name="T24" fmla="*/ 3 w 11"/>
                <a:gd name="T25" fmla="*/ 6 h 20"/>
                <a:gd name="T26" fmla="*/ 2 w 11"/>
                <a:gd name="T27" fmla="*/ 5 h 20"/>
                <a:gd name="T28" fmla="*/ 0 w 11"/>
                <a:gd name="T29" fmla="*/ 2 h 20"/>
                <a:gd name="T30" fmla="*/ 0 w 11"/>
                <a:gd name="T31" fmla="*/ 1 h 20"/>
                <a:gd name="T32" fmla="*/ 2 w 11"/>
                <a:gd name="T33" fmla="*/ 1 h 2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1"/>
                <a:gd name="T52" fmla="*/ 0 h 20"/>
                <a:gd name="T53" fmla="*/ 11 w 11"/>
                <a:gd name="T54" fmla="*/ 20 h 2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1" h="20">
                  <a:moveTo>
                    <a:pt x="2" y="1"/>
                  </a:moveTo>
                  <a:lnTo>
                    <a:pt x="3" y="0"/>
                  </a:lnTo>
                  <a:lnTo>
                    <a:pt x="5" y="1"/>
                  </a:lnTo>
                  <a:lnTo>
                    <a:pt x="6" y="3"/>
                  </a:lnTo>
                  <a:lnTo>
                    <a:pt x="10" y="5"/>
                  </a:lnTo>
                  <a:lnTo>
                    <a:pt x="11" y="9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7" y="20"/>
                  </a:lnTo>
                  <a:lnTo>
                    <a:pt x="5" y="18"/>
                  </a:lnTo>
                  <a:lnTo>
                    <a:pt x="5" y="11"/>
                  </a:lnTo>
                  <a:lnTo>
                    <a:pt x="4" y="10"/>
                  </a:lnTo>
                  <a:lnTo>
                    <a:pt x="3" y="6"/>
                  </a:lnTo>
                  <a:lnTo>
                    <a:pt x="2" y="5"/>
                  </a:lnTo>
                  <a:lnTo>
                    <a:pt x="0" y="2"/>
                  </a:lnTo>
                  <a:lnTo>
                    <a:pt x="0" y="1"/>
                  </a:lnTo>
                  <a:lnTo>
                    <a:pt x="2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96" name="Group 309"/>
          <p:cNvGrpSpPr>
            <a:grpSpLocks/>
          </p:cNvGrpSpPr>
          <p:nvPr/>
        </p:nvGrpSpPr>
        <p:grpSpPr bwMode="auto">
          <a:xfrm>
            <a:off x="4557713" y="3935413"/>
            <a:ext cx="36512" cy="26987"/>
            <a:chOff x="2113" y="2479"/>
            <a:chExt cx="23" cy="17"/>
          </a:xfrm>
        </p:grpSpPr>
        <p:sp>
          <p:nvSpPr>
            <p:cNvPr id="34272" name="Freeform 307"/>
            <p:cNvSpPr>
              <a:spLocks/>
            </p:cNvSpPr>
            <p:nvPr/>
          </p:nvSpPr>
          <p:spPr bwMode="auto">
            <a:xfrm>
              <a:off x="2113" y="2479"/>
              <a:ext cx="23" cy="17"/>
            </a:xfrm>
            <a:custGeom>
              <a:avLst/>
              <a:gdLst>
                <a:gd name="T0" fmla="*/ 7 w 23"/>
                <a:gd name="T1" fmla="*/ 0 h 17"/>
                <a:gd name="T2" fmla="*/ 8 w 23"/>
                <a:gd name="T3" fmla="*/ 1 h 17"/>
                <a:gd name="T4" fmla="*/ 9 w 23"/>
                <a:gd name="T5" fmla="*/ 3 h 17"/>
                <a:gd name="T6" fmla="*/ 11 w 23"/>
                <a:gd name="T7" fmla="*/ 4 h 17"/>
                <a:gd name="T8" fmla="*/ 13 w 23"/>
                <a:gd name="T9" fmla="*/ 6 h 17"/>
                <a:gd name="T10" fmla="*/ 15 w 23"/>
                <a:gd name="T11" fmla="*/ 6 h 17"/>
                <a:gd name="T12" fmla="*/ 15 w 23"/>
                <a:gd name="T13" fmla="*/ 5 h 17"/>
                <a:gd name="T14" fmla="*/ 17 w 23"/>
                <a:gd name="T15" fmla="*/ 5 h 17"/>
                <a:gd name="T16" fmla="*/ 17 w 23"/>
                <a:gd name="T17" fmla="*/ 4 h 17"/>
                <a:gd name="T18" fmla="*/ 19 w 23"/>
                <a:gd name="T19" fmla="*/ 4 h 17"/>
                <a:gd name="T20" fmla="*/ 19 w 23"/>
                <a:gd name="T21" fmla="*/ 6 h 17"/>
                <a:gd name="T22" fmla="*/ 21 w 23"/>
                <a:gd name="T23" fmla="*/ 8 h 17"/>
                <a:gd name="T24" fmla="*/ 23 w 23"/>
                <a:gd name="T25" fmla="*/ 15 h 17"/>
                <a:gd name="T26" fmla="*/ 21 w 23"/>
                <a:gd name="T27" fmla="*/ 16 h 17"/>
                <a:gd name="T28" fmla="*/ 16 w 23"/>
                <a:gd name="T29" fmla="*/ 14 h 17"/>
                <a:gd name="T30" fmla="*/ 15 w 23"/>
                <a:gd name="T31" fmla="*/ 16 h 17"/>
                <a:gd name="T32" fmla="*/ 12 w 23"/>
                <a:gd name="T33" fmla="*/ 17 h 17"/>
                <a:gd name="T34" fmla="*/ 6 w 23"/>
                <a:gd name="T35" fmla="*/ 12 h 17"/>
                <a:gd name="T36" fmla="*/ 1 w 23"/>
                <a:gd name="T37" fmla="*/ 10 h 17"/>
                <a:gd name="T38" fmla="*/ 0 w 23"/>
                <a:gd name="T39" fmla="*/ 8 h 17"/>
                <a:gd name="T40" fmla="*/ 1 w 23"/>
                <a:gd name="T41" fmla="*/ 8 h 17"/>
                <a:gd name="T42" fmla="*/ 3 w 23"/>
                <a:gd name="T43" fmla="*/ 5 h 17"/>
                <a:gd name="T44" fmla="*/ 1 w 23"/>
                <a:gd name="T45" fmla="*/ 5 h 17"/>
                <a:gd name="T46" fmla="*/ 0 w 23"/>
                <a:gd name="T47" fmla="*/ 3 h 17"/>
                <a:gd name="T48" fmla="*/ 2 w 23"/>
                <a:gd name="T49" fmla="*/ 1 h 17"/>
                <a:gd name="T50" fmla="*/ 6 w 23"/>
                <a:gd name="T51" fmla="*/ 1 h 17"/>
                <a:gd name="T52" fmla="*/ 7 w 23"/>
                <a:gd name="T53" fmla="*/ 0 h 1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"/>
                <a:gd name="T82" fmla="*/ 0 h 17"/>
                <a:gd name="T83" fmla="*/ 23 w 23"/>
                <a:gd name="T84" fmla="*/ 17 h 1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" h="17">
                  <a:moveTo>
                    <a:pt x="7" y="0"/>
                  </a:moveTo>
                  <a:lnTo>
                    <a:pt x="8" y="1"/>
                  </a:lnTo>
                  <a:lnTo>
                    <a:pt x="9" y="3"/>
                  </a:lnTo>
                  <a:lnTo>
                    <a:pt x="11" y="4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21" y="8"/>
                  </a:lnTo>
                  <a:lnTo>
                    <a:pt x="23" y="15"/>
                  </a:lnTo>
                  <a:lnTo>
                    <a:pt x="21" y="16"/>
                  </a:lnTo>
                  <a:lnTo>
                    <a:pt x="16" y="14"/>
                  </a:lnTo>
                  <a:lnTo>
                    <a:pt x="15" y="16"/>
                  </a:lnTo>
                  <a:lnTo>
                    <a:pt x="12" y="17"/>
                  </a:lnTo>
                  <a:lnTo>
                    <a:pt x="6" y="12"/>
                  </a:lnTo>
                  <a:lnTo>
                    <a:pt x="1" y="10"/>
                  </a:lnTo>
                  <a:lnTo>
                    <a:pt x="0" y="8"/>
                  </a:lnTo>
                  <a:lnTo>
                    <a:pt x="1" y="8"/>
                  </a:lnTo>
                  <a:lnTo>
                    <a:pt x="3" y="5"/>
                  </a:lnTo>
                  <a:lnTo>
                    <a:pt x="1" y="5"/>
                  </a:lnTo>
                  <a:lnTo>
                    <a:pt x="0" y="3"/>
                  </a:lnTo>
                  <a:lnTo>
                    <a:pt x="2" y="1"/>
                  </a:lnTo>
                  <a:lnTo>
                    <a:pt x="6" y="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73" name="Freeform 308"/>
            <p:cNvSpPr>
              <a:spLocks/>
            </p:cNvSpPr>
            <p:nvPr/>
          </p:nvSpPr>
          <p:spPr bwMode="auto">
            <a:xfrm>
              <a:off x="2113" y="2479"/>
              <a:ext cx="23" cy="17"/>
            </a:xfrm>
            <a:custGeom>
              <a:avLst/>
              <a:gdLst>
                <a:gd name="T0" fmla="*/ 7 w 23"/>
                <a:gd name="T1" fmla="*/ 0 h 17"/>
                <a:gd name="T2" fmla="*/ 8 w 23"/>
                <a:gd name="T3" fmla="*/ 1 h 17"/>
                <a:gd name="T4" fmla="*/ 9 w 23"/>
                <a:gd name="T5" fmla="*/ 3 h 17"/>
                <a:gd name="T6" fmla="*/ 11 w 23"/>
                <a:gd name="T7" fmla="*/ 4 h 17"/>
                <a:gd name="T8" fmla="*/ 13 w 23"/>
                <a:gd name="T9" fmla="*/ 6 h 17"/>
                <a:gd name="T10" fmla="*/ 15 w 23"/>
                <a:gd name="T11" fmla="*/ 6 h 17"/>
                <a:gd name="T12" fmla="*/ 15 w 23"/>
                <a:gd name="T13" fmla="*/ 5 h 17"/>
                <a:gd name="T14" fmla="*/ 17 w 23"/>
                <a:gd name="T15" fmla="*/ 5 h 17"/>
                <a:gd name="T16" fmla="*/ 17 w 23"/>
                <a:gd name="T17" fmla="*/ 4 h 17"/>
                <a:gd name="T18" fmla="*/ 19 w 23"/>
                <a:gd name="T19" fmla="*/ 4 h 17"/>
                <a:gd name="T20" fmla="*/ 19 w 23"/>
                <a:gd name="T21" fmla="*/ 6 h 17"/>
                <a:gd name="T22" fmla="*/ 21 w 23"/>
                <a:gd name="T23" fmla="*/ 8 h 17"/>
                <a:gd name="T24" fmla="*/ 23 w 23"/>
                <a:gd name="T25" fmla="*/ 15 h 17"/>
                <a:gd name="T26" fmla="*/ 21 w 23"/>
                <a:gd name="T27" fmla="*/ 16 h 17"/>
                <a:gd name="T28" fmla="*/ 16 w 23"/>
                <a:gd name="T29" fmla="*/ 14 h 17"/>
                <a:gd name="T30" fmla="*/ 15 w 23"/>
                <a:gd name="T31" fmla="*/ 16 h 17"/>
                <a:gd name="T32" fmla="*/ 12 w 23"/>
                <a:gd name="T33" fmla="*/ 17 h 17"/>
                <a:gd name="T34" fmla="*/ 6 w 23"/>
                <a:gd name="T35" fmla="*/ 12 h 17"/>
                <a:gd name="T36" fmla="*/ 1 w 23"/>
                <a:gd name="T37" fmla="*/ 10 h 17"/>
                <a:gd name="T38" fmla="*/ 0 w 23"/>
                <a:gd name="T39" fmla="*/ 8 h 17"/>
                <a:gd name="T40" fmla="*/ 1 w 23"/>
                <a:gd name="T41" fmla="*/ 8 h 17"/>
                <a:gd name="T42" fmla="*/ 3 w 23"/>
                <a:gd name="T43" fmla="*/ 5 h 17"/>
                <a:gd name="T44" fmla="*/ 1 w 23"/>
                <a:gd name="T45" fmla="*/ 5 h 17"/>
                <a:gd name="T46" fmla="*/ 0 w 23"/>
                <a:gd name="T47" fmla="*/ 3 h 17"/>
                <a:gd name="T48" fmla="*/ 2 w 23"/>
                <a:gd name="T49" fmla="*/ 1 h 17"/>
                <a:gd name="T50" fmla="*/ 6 w 23"/>
                <a:gd name="T51" fmla="*/ 1 h 17"/>
                <a:gd name="T52" fmla="*/ 7 w 23"/>
                <a:gd name="T53" fmla="*/ 0 h 17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3"/>
                <a:gd name="T82" fmla="*/ 0 h 17"/>
                <a:gd name="T83" fmla="*/ 23 w 23"/>
                <a:gd name="T84" fmla="*/ 17 h 17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3" h="17">
                  <a:moveTo>
                    <a:pt x="7" y="0"/>
                  </a:moveTo>
                  <a:lnTo>
                    <a:pt x="8" y="1"/>
                  </a:lnTo>
                  <a:lnTo>
                    <a:pt x="9" y="3"/>
                  </a:lnTo>
                  <a:lnTo>
                    <a:pt x="11" y="4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21" y="8"/>
                  </a:lnTo>
                  <a:lnTo>
                    <a:pt x="23" y="15"/>
                  </a:lnTo>
                  <a:lnTo>
                    <a:pt x="21" y="16"/>
                  </a:lnTo>
                  <a:lnTo>
                    <a:pt x="16" y="14"/>
                  </a:lnTo>
                  <a:lnTo>
                    <a:pt x="15" y="16"/>
                  </a:lnTo>
                  <a:lnTo>
                    <a:pt x="12" y="17"/>
                  </a:lnTo>
                  <a:lnTo>
                    <a:pt x="6" y="12"/>
                  </a:lnTo>
                  <a:lnTo>
                    <a:pt x="1" y="10"/>
                  </a:lnTo>
                  <a:lnTo>
                    <a:pt x="0" y="8"/>
                  </a:lnTo>
                  <a:lnTo>
                    <a:pt x="1" y="8"/>
                  </a:lnTo>
                  <a:lnTo>
                    <a:pt x="3" y="5"/>
                  </a:lnTo>
                  <a:lnTo>
                    <a:pt x="1" y="5"/>
                  </a:lnTo>
                  <a:lnTo>
                    <a:pt x="0" y="3"/>
                  </a:lnTo>
                  <a:lnTo>
                    <a:pt x="2" y="1"/>
                  </a:lnTo>
                  <a:lnTo>
                    <a:pt x="6" y="1"/>
                  </a:lnTo>
                  <a:lnTo>
                    <a:pt x="7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97" name="Group 312"/>
          <p:cNvGrpSpPr>
            <a:grpSpLocks/>
          </p:cNvGrpSpPr>
          <p:nvPr/>
        </p:nvGrpSpPr>
        <p:grpSpPr bwMode="auto">
          <a:xfrm>
            <a:off x="4497388" y="3884613"/>
            <a:ext cx="53975" cy="46037"/>
            <a:chOff x="2075" y="2447"/>
            <a:chExt cx="34" cy="29"/>
          </a:xfrm>
        </p:grpSpPr>
        <p:sp>
          <p:nvSpPr>
            <p:cNvPr id="34270" name="Freeform 310"/>
            <p:cNvSpPr>
              <a:spLocks/>
            </p:cNvSpPr>
            <p:nvPr/>
          </p:nvSpPr>
          <p:spPr bwMode="auto">
            <a:xfrm>
              <a:off x="2075" y="2447"/>
              <a:ext cx="34" cy="29"/>
            </a:xfrm>
            <a:custGeom>
              <a:avLst/>
              <a:gdLst>
                <a:gd name="T0" fmla="*/ 9 w 34"/>
                <a:gd name="T1" fmla="*/ 4 h 29"/>
                <a:gd name="T2" fmla="*/ 11 w 34"/>
                <a:gd name="T3" fmla="*/ 3 h 29"/>
                <a:gd name="T4" fmla="*/ 19 w 34"/>
                <a:gd name="T5" fmla="*/ 2 h 29"/>
                <a:gd name="T6" fmla="*/ 23 w 34"/>
                <a:gd name="T7" fmla="*/ 5 h 29"/>
                <a:gd name="T8" fmla="*/ 24 w 34"/>
                <a:gd name="T9" fmla="*/ 5 h 29"/>
                <a:gd name="T10" fmla="*/ 24 w 34"/>
                <a:gd name="T11" fmla="*/ 1 h 29"/>
                <a:gd name="T12" fmla="*/ 25 w 34"/>
                <a:gd name="T13" fmla="*/ 0 h 29"/>
                <a:gd name="T14" fmla="*/ 29 w 34"/>
                <a:gd name="T15" fmla="*/ 7 h 29"/>
                <a:gd name="T16" fmla="*/ 29 w 34"/>
                <a:gd name="T17" fmla="*/ 11 h 29"/>
                <a:gd name="T18" fmla="*/ 30 w 34"/>
                <a:gd name="T19" fmla="*/ 14 h 29"/>
                <a:gd name="T20" fmla="*/ 31 w 34"/>
                <a:gd name="T21" fmla="*/ 16 h 29"/>
                <a:gd name="T22" fmla="*/ 34 w 34"/>
                <a:gd name="T23" fmla="*/ 17 h 29"/>
                <a:gd name="T24" fmla="*/ 34 w 34"/>
                <a:gd name="T25" fmla="*/ 18 h 29"/>
                <a:gd name="T26" fmla="*/ 32 w 34"/>
                <a:gd name="T27" fmla="*/ 17 h 29"/>
                <a:gd name="T28" fmla="*/ 32 w 34"/>
                <a:gd name="T29" fmla="*/ 22 h 29"/>
                <a:gd name="T30" fmla="*/ 31 w 34"/>
                <a:gd name="T31" fmla="*/ 27 h 29"/>
                <a:gd name="T32" fmla="*/ 27 w 34"/>
                <a:gd name="T33" fmla="*/ 28 h 29"/>
                <a:gd name="T34" fmla="*/ 24 w 34"/>
                <a:gd name="T35" fmla="*/ 29 h 29"/>
                <a:gd name="T36" fmla="*/ 21 w 34"/>
                <a:gd name="T37" fmla="*/ 29 h 29"/>
                <a:gd name="T38" fmla="*/ 17 w 34"/>
                <a:gd name="T39" fmla="*/ 26 h 29"/>
                <a:gd name="T40" fmla="*/ 11 w 34"/>
                <a:gd name="T41" fmla="*/ 28 h 29"/>
                <a:gd name="T42" fmla="*/ 11 w 34"/>
                <a:gd name="T43" fmla="*/ 26 h 29"/>
                <a:gd name="T44" fmla="*/ 13 w 34"/>
                <a:gd name="T45" fmla="*/ 23 h 29"/>
                <a:gd name="T46" fmla="*/ 11 w 34"/>
                <a:gd name="T47" fmla="*/ 23 h 29"/>
                <a:gd name="T48" fmla="*/ 5 w 34"/>
                <a:gd name="T49" fmla="*/ 21 h 29"/>
                <a:gd name="T50" fmla="*/ 5 w 34"/>
                <a:gd name="T51" fmla="*/ 17 h 29"/>
                <a:gd name="T52" fmla="*/ 2 w 34"/>
                <a:gd name="T53" fmla="*/ 14 h 29"/>
                <a:gd name="T54" fmla="*/ 3 w 34"/>
                <a:gd name="T55" fmla="*/ 12 h 29"/>
                <a:gd name="T56" fmla="*/ 1 w 34"/>
                <a:gd name="T57" fmla="*/ 10 h 29"/>
                <a:gd name="T58" fmla="*/ 2 w 34"/>
                <a:gd name="T59" fmla="*/ 10 h 29"/>
                <a:gd name="T60" fmla="*/ 2 w 34"/>
                <a:gd name="T61" fmla="*/ 9 h 29"/>
                <a:gd name="T62" fmla="*/ 0 w 34"/>
                <a:gd name="T63" fmla="*/ 7 h 29"/>
                <a:gd name="T64" fmla="*/ 0 w 34"/>
                <a:gd name="T65" fmla="*/ 5 h 29"/>
                <a:gd name="T66" fmla="*/ 3 w 34"/>
                <a:gd name="T67" fmla="*/ 5 h 29"/>
                <a:gd name="T68" fmla="*/ 6 w 34"/>
                <a:gd name="T69" fmla="*/ 7 h 29"/>
                <a:gd name="T70" fmla="*/ 9 w 34"/>
                <a:gd name="T71" fmla="*/ 4 h 2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"/>
                <a:gd name="T109" fmla="*/ 0 h 29"/>
                <a:gd name="T110" fmla="*/ 34 w 34"/>
                <a:gd name="T111" fmla="*/ 29 h 2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" h="29">
                  <a:moveTo>
                    <a:pt x="9" y="4"/>
                  </a:moveTo>
                  <a:lnTo>
                    <a:pt x="11" y="3"/>
                  </a:lnTo>
                  <a:lnTo>
                    <a:pt x="19" y="2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1"/>
                  </a:lnTo>
                  <a:lnTo>
                    <a:pt x="25" y="0"/>
                  </a:lnTo>
                  <a:lnTo>
                    <a:pt x="29" y="7"/>
                  </a:lnTo>
                  <a:lnTo>
                    <a:pt x="29" y="11"/>
                  </a:lnTo>
                  <a:lnTo>
                    <a:pt x="30" y="14"/>
                  </a:lnTo>
                  <a:lnTo>
                    <a:pt x="31" y="16"/>
                  </a:lnTo>
                  <a:lnTo>
                    <a:pt x="34" y="17"/>
                  </a:lnTo>
                  <a:lnTo>
                    <a:pt x="34" y="18"/>
                  </a:lnTo>
                  <a:lnTo>
                    <a:pt x="32" y="17"/>
                  </a:lnTo>
                  <a:lnTo>
                    <a:pt x="32" y="22"/>
                  </a:lnTo>
                  <a:lnTo>
                    <a:pt x="31" y="27"/>
                  </a:lnTo>
                  <a:lnTo>
                    <a:pt x="27" y="28"/>
                  </a:lnTo>
                  <a:lnTo>
                    <a:pt x="24" y="29"/>
                  </a:lnTo>
                  <a:lnTo>
                    <a:pt x="21" y="29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13" y="23"/>
                  </a:lnTo>
                  <a:lnTo>
                    <a:pt x="11" y="23"/>
                  </a:lnTo>
                  <a:lnTo>
                    <a:pt x="5" y="21"/>
                  </a:lnTo>
                  <a:lnTo>
                    <a:pt x="5" y="17"/>
                  </a:lnTo>
                  <a:lnTo>
                    <a:pt x="2" y="14"/>
                  </a:lnTo>
                  <a:lnTo>
                    <a:pt x="3" y="12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3" y="5"/>
                  </a:lnTo>
                  <a:lnTo>
                    <a:pt x="6" y="7"/>
                  </a:lnTo>
                  <a:lnTo>
                    <a:pt x="9" y="4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71" name="Freeform 311"/>
            <p:cNvSpPr>
              <a:spLocks/>
            </p:cNvSpPr>
            <p:nvPr/>
          </p:nvSpPr>
          <p:spPr bwMode="auto">
            <a:xfrm>
              <a:off x="2075" y="2447"/>
              <a:ext cx="34" cy="29"/>
            </a:xfrm>
            <a:custGeom>
              <a:avLst/>
              <a:gdLst>
                <a:gd name="T0" fmla="*/ 9 w 34"/>
                <a:gd name="T1" fmla="*/ 4 h 29"/>
                <a:gd name="T2" fmla="*/ 11 w 34"/>
                <a:gd name="T3" fmla="*/ 3 h 29"/>
                <a:gd name="T4" fmla="*/ 19 w 34"/>
                <a:gd name="T5" fmla="*/ 2 h 29"/>
                <a:gd name="T6" fmla="*/ 23 w 34"/>
                <a:gd name="T7" fmla="*/ 5 h 29"/>
                <a:gd name="T8" fmla="*/ 24 w 34"/>
                <a:gd name="T9" fmla="*/ 5 h 29"/>
                <a:gd name="T10" fmla="*/ 24 w 34"/>
                <a:gd name="T11" fmla="*/ 1 h 29"/>
                <a:gd name="T12" fmla="*/ 25 w 34"/>
                <a:gd name="T13" fmla="*/ 0 h 29"/>
                <a:gd name="T14" fmla="*/ 29 w 34"/>
                <a:gd name="T15" fmla="*/ 7 h 29"/>
                <a:gd name="T16" fmla="*/ 29 w 34"/>
                <a:gd name="T17" fmla="*/ 11 h 29"/>
                <a:gd name="T18" fmla="*/ 30 w 34"/>
                <a:gd name="T19" fmla="*/ 14 h 29"/>
                <a:gd name="T20" fmla="*/ 31 w 34"/>
                <a:gd name="T21" fmla="*/ 16 h 29"/>
                <a:gd name="T22" fmla="*/ 34 w 34"/>
                <a:gd name="T23" fmla="*/ 17 h 29"/>
                <a:gd name="T24" fmla="*/ 34 w 34"/>
                <a:gd name="T25" fmla="*/ 18 h 29"/>
                <a:gd name="T26" fmla="*/ 32 w 34"/>
                <a:gd name="T27" fmla="*/ 17 h 29"/>
                <a:gd name="T28" fmla="*/ 32 w 34"/>
                <a:gd name="T29" fmla="*/ 22 h 29"/>
                <a:gd name="T30" fmla="*/ 31 w 34"/>
                <a:gd name="T31" fmla="*/ 27 h 29"/>
                <a:gd name="T32" fmla="*/ 27 w 34"/>
                <a:gd name="T33" fmla="*/ 28 h 29"/>
                <a:gd name="T34" fmla="*/ 24 w 34"/>
                <a:gd name="T35" fmla="*/ 29 h 29"/>
                <a:gd name="T36" fmla="*/ 21 w 34"/>
                <a:gd name="T37" fmla="*/ 29 h 29"/>
                <a:gd name="T38" fmla="*/ 17 w 34"/>
                <a:gd name="T39" fmla="*/ 26 h 29"/>
                <a:gd name="T40" fmla="*/ 11 w 34"/>
                <a:gd name="T41" fmla="*/ 28 h 29"/>
                <a:gd name="T42" fmla="*/ 11 w 34"/>
                <a:gd name="T43" fmla="*/ 26 h 29"/>
                <a:gd name="T44" fmla="*/ 13 w 34"/>
                <a:gd name="T45" fmla="*/ 23 h 29"/>
                <a:gd name="T46" fmla="*/ 11 w 34"/>
                <a:gd name="T47" fmla="*/ 23 h 29"/>
                <a:gd name="T48" fmla="*/ 5 w 34"/>
                <a:gd name="T49" fmla="*/ 21 h 29"/>
                <a:gd name="T50" fmla="*/ 5 w 34"/>
                <a:gd name="T51" fmla="*/ 17 h 29"/>
                <a:gd name="T52" fmla="*/ 2 w 34"/>
                <a:gd name="T53" fmla="*/ 14 h 29"/>
                <a:gd name="T54" fmla="*/ 3 w 34"/>
                <a:gd name="T55" fmla="*/ 12 h 29"/>
                <a:gd name="T56" fmla="*/ 1 w 34"/>
                <a:gd name="T57" fmla="*/ 10 h 29"/>
                <a:gd name="T58" fmla="*/ 2 w 34"/>
                <a:gd name="T59" fmla="*/ 10 h 29"/>
                <a:gd name="T60" fmla="*/ 2 w 34"/>
                <a:gd name="T61" fmla="*/ 9 h 29"/>
                <a:gd name="T62" fmla="*/ 0 w 34"/>
                <a:gd name="T63" fmla="*/ 7 h 29"/>
                <a:gd name="T64" fmla="*/ 0 w 34"/>
                <a:gd name="T65" fmla="*/ 5 h 29"/>
                <a:gd name="T66" fmla="*/ 3 w 34"/>
                <a:gd name="T67" fmla="*/ 5 h 29"/>
                <a:gd name="T68" fmla="*/ 6 w 34"/>
                <a:gd name="T69" fmla="*/ 7 h 29"/>
                <a:gd name="T70" fmla="*/ 9 w 34"/>
                <a:gd name="T71" fmla="*/ 4 h 2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4"/>
                <a:gd name="T109" fmla="*/ 0 h 29"/>
                <a:gd name="T110" fmla="*/ 34 w 34"/>
                <a:gd name="T111" fmla="*/ 29 h 2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4" h="29">
                  <a:moveTo>
                    <a:pt x="9" y="4"/>
                  </a:moveTo>
                  <a:lnTo>
                    <a:pt x="11" y="3"/>
                  </a:lnTo>
                  <a:lnTo>
                    <a:pt x="19" y="2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1"/>
                  </a:lnTo>
                  <a:lnTo>
                    <a:pt x="25" y="0"/>
                  </a:lnTo>
                  <a:lnTo>
                    <a:pt x="29" y="7"/>
                  </a:lnTo>
                  <a:lnTo>
                    <a:pt x="29" y="11"/>
                  </a:lnTo>
                  <a:lnTo>
                    <a:pt x="30" y="14"/>
                  </a:lnTo>
                  <a:lnTo>
                    <a:pt x="31" y="16"/>
                  </a:lnTo>
                  <a:lnTo>
                    <a:pt x="34" y="17"/>
                  </a:lnTo>
                  <a:lnTo>
                    <a:pt x="34" y="18"/>
                  </a:lnTo>
                  <a:lnTo>
                    <a:pt x="32" y="17"/>
                  </a:lnTo>
                  <a:lnTo>
                    <a:pt x="32" y="22"/>
                  </a:lnTo>
                  <a:lnTo>
                    <a:pt x="31" y="27"/>
                  </a:lnTo>
                  <a:lnTo>
                    <a:pt x="27" y="28"/>
                  </a:lnTo>
                  <a:lnTo>
                    <a:pt x="24" y="29"/>
                  </a:lnTo>
                  <a:lnTo>
                    <a:pt x="21" y="29"/>
                  </a:lnTo>
                  <a:lnTo>
                    <a:pt x="17" y="26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13" y="23"/>
                  </a:lnTo>
                  <a:lnTo>
                    <a:pt x="11" y="23"/>
                  </a:lnTo>
                  <a:lnTo>
                    <a:pt x="5" y="21"/>
                  </a:lnTo>
                  <a:lnTo>
                    <a:pt x="5" y="17"/>
                  </a:lnTo>
                  <a:lnTo>
                    <a:pt x="2" y="14"/>
                  </a:lnTo>
                  <a:lnTo>
                    <a:pt x="3" y="12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3" y="5"/>
                  </a:lnTo>
                  <a:lnTo>
                    <a:pt x="6" y="7"/>
                  </a:lnTo>
                  <a:lnTo>
                    <a:pt x="9" y="4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98" name="Group 315"/>
          <p:cNvGrpSpPr>
            <a:grpSpLocks/>
          </p:cNvGrpSpPr>
          <p:nvPr/>
        </p:nvGrpSpPr>
        <p:grpSpPr bwMode="auto">
          <a:xfrm>
            <a:off x="4541838" y="3921125"/>
            <a:ext cx="14287" cy="34925"/>
            <a:chOff x="2103" y="2470"/>
            <a:chExt cx="9" cy="22"/>
          </a:xfrm>
        </p:grpSpPr>
        <p:sp>
          <p:nvSpPr>
            <p:cNvPr id="34268" name="Freeform 313"/>
            <p:cNvSpPr>
              <a:spLocks/>
            </p:cNvSpPr>
            <p:nvPr/>
          </p:nvSpPr>
          <p:spPr bwMode="auto">
            <a:xfrm>
              <a:off x="2103" y="2470"/>
              <a:ext cx="9" cy="22"/>
            </a:xfrm>
            <a:custGeom>
              <a:avLst/>
              <a:gdLst>
                <a:gd name="T0" fmla="*/ 6 w 9"/>
                <a:gd name="T1" fmla="*/ 5 h 22"/>
                <a:gd name="T2" fmla="*/ 6 w 9"/>
                <a:gd name="T3" fmla="*/ 1 h 22"/>
                <a:gd name="T4" fmla="*/ 7 w 9"/>
                <a:gd name="T5" fmla="*/ 0 h 22"/>
                <a:gd name="T6" fmla="*/ 8 w 9"/>
                <a:gd name="T7" fmla="*/ 0 h 22"/>
                <a:gd name="T8" fmla="*/ 9 w 9"/>
                <a:gd name="T9" fmla="*/ 7 h 22"/>
                <a:gd name="T10" fmla="*/ 6 w 9"/>
                <a:gd name="T11" fmla="*/ 12 h 22"/>
                <a:gd name="T12" fmla="*/ 6 w 9"/>
                <a:gd name="T13" fmla="*/ 15 h 22"/>
                <a:gd name="T14" fmla="*/ 4 w 9"/>
                <a:gd name="T15" fmla="*/ 17 h 22"/>
                <a:gd name="T16" fmla="*/ 3 w 9"/>
                <a:gd name="T17" fmla="*/ 21 h 22"/>
                <a:gd name="T18" fmla="*/ 2 w 9"/>
                <a:gd name="T19" fmla="*/ 22 h 22"/>
                <a:gd name="T20" fmla="*/ 1 w 9"/>
                <a:gd name="T21" fmla="*/ 18 h 22"/>
                <a:gd name="T22" fmla="*/ 0 w 9"/>
                <a:gd name="T23" fmla="*/ 15 h 22"/>
                <a:gd name="T24" fmla="*/ 1 w 9"/>
                <a:gd name="T25" fmla="*/ 14 h 22"/>
                <a:gd name="T26" fmla="*/ 2 w 9"/>
                <a:gd name="T27" fmla="*/ 9 h 22"/>
                <a:gd name="T28" fmla="*/ 4 w 9"/>
                <a:gd name="T29" fmla="*/ 6 h 22"/>
                <a:gd name="T30" fmla="*/ 6 w 9"/>
                <a:gd name="T31" fmla="*/ 5 h 2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"/>
                <a:gd name="T49" fmla="*/ 0 h 22"/>
                <a:gd name="T50" fmla="*/ 9 w 9"/>
                <a:gd name="T51" fmla="*/ 22 h 2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" h="22">
                  <a:moveTo>
                    <a:pt x="6" y="5"/>
                  </a:moveTo>
                  <a:lnTo>
                    <a:pt x="6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9" y="7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4" y="17"/>
                  </a:lnTo>
                  <a:lnTo>
                    <a:pt x="3" y="21"/>
                  </a:lnTo>
                  <a:lnTo>
                    <a:pt x="2" y="22"/>
                  </a:lnTo>
                  <a:lnTo>
                    <a:pt x="1" y="18"/>
                  </a:lnTo>
                  <a:lnTo>
                    <a:pt x="0" y="15"/>
                  </a:lnTo>
                  <a:lnTo>
                    <a:pt x="1" y="14"/>
                  </a:lnTo>
                  <a:lnTo>
                    <a:pt x="2" y="9"/>
                  </a:lnTo>
                  <a:lnTo>
                    <a:pt x="4" y="6"/>
                  </a:lnTo>
                  <a:lnTo>
                    <a:pt x="6" y="5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69" name="Freeform 314"/>
            <p:cNvSpPr>
              <a:spLocks/>
            </p:cNvSpPr>
            <p:nvPr/>
          </p:nvSpPr>
          <p:spPr bwMode="auto">
            <a:xfrm>
              <a:off x="2103" y="2470"/>
              <a:ext cx="9" cy="22"/>
            </a:xfrm>
            <a:custGeom>
              <a:avLst/>
              <a:gdLst>
                <a:gd name="T0" fmla="*/ 6 w 9"/>
                <a:gd name="T1" fmla="*/ 5 h 22"/>
                <a:gd name="T2" fmla="*/ 6 w 9"/>
                <a:gd name="T3" fmla="*/ 1 h 22"/>
                <a:gd name="T4" fmla="*/ 7 w 9"/>
                <a:gd name="T5" fmla="*/ 0 h 22"/>
                <a:gd name="T6" fmla="*/ 8 w 9"/>
                <a:gd name="T7" fmla="*/ 0 h 22"/>
                <a:gd name="T8" fmla="*/ 9 w 9"/>
                <a:gd name="T9" fmla="*/ 7 h 22"/>
                <a:gd name="T10" fmla="*/ 6 w 9"/>
                <a:gd name="T11" fmla="*/ 12 h 22"/>
                <a:gd name="T12" fmla="*/ 6 w 9"/>
                <a:gd name="T13" fmla="*/ 15 h 22"/>
                <a:gd name="T14" fmla="*/ 4 w 9"/>
                <a:gd name="T15" fmla="*/ 17 h 22"/>
                <a:gd name="T16" fmla="*/ 3 w 9"/>
                <a:gd name="T17" fmla="*/ 21 h 22"/>
                <a:gd name="T18" fmla="*/ 2 w 9"/>
                <a:gd name="T19" fmla="*/ 22 h 22"/>
                <a:gd name="T20" fmla="*/ 1 w 9"/>
                <a:gd name="T21" fmla="*/ 18 h 22"/>
                <a:gd name="T22" fmla="*/ 0 w 9"/>
                <a:gd name="T23" fmla="*/ 15 h 22"/>
                <a:gd name="T24" fmla="*/ 1 w 9"/>
                <a:gd name="T25" fmla="*/ 14 h 22"/>
                <a:gd name="T26" fmla="*/ 2 w 9"/>
                <a:gd name="T27" fmla="*/ 9 h 22"/>
                <a:gd name="T28" fmla="*/ 4 w 9"/>
                <a:gd name="T29" fmla="*/ 6 h 22"/>
                <a:gd name="T30" fmla="*/ 6 w 9"/>
                <a:gd name="T31" fmla="*/ 5 h 2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9"/>
                <a:gd name="T49" fmla="*/ 0 h 22"/>
                <a:gd name="T50" fmla="*/ 9 w 9"/>
                <a:gd name="T51" fmla="*/ 22 h 22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9" h="22">
                  <a:moveTo>
                    <a:pt x="6" y="5"/>
                  </a:moveTo>
                  <a:lnTo>
                    <a:pt x="6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9" y="7"/>
                  </a:lnTo>
                  <a:lnTo>
                    <a:pt x="6" y="12"/>
                  </a:lnTo>
                  <a:lnTo>
                    <a:pt x="6" y="15"/>
                  </a:lnTo>
                  <a:lnTo>
                    <a:pt x="4" y="17"/>
                  </a:lnTo>
                  <a:lnTo>
                    <a:pt x="3" y="21"/>
                  </a:lnTo>
                  <a:lnTo>
                    <a:pt x="2" y="22"/>
                  </a:lnTo>
                  <a:lnTo>
                    <a:pt x="1" y="18"/>
                  </a:lnTo>
                  <a:lnTo>
                    <a:pt x="0" y="15"/>
                  </a:lnTo>
                  <a:lnTo>
                    <a:pt x="1" y="14"/>
                  </a:lnTo>
                  <a:lnTo>
                    <a:pt x="2" y="9"/>
                  </a:lnTo>
                  <a:lnTo>
                    <a:pt x="4" y="6"/>
                  </a:lnTo>
                  <a:lnTo>
                    <a:pt x="6" y="5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899" name="Group 318"/>
          <p:cNvGrpSpPr>
            <a:grpSpLocks/>
          </p:cNvGrpSpPr>
          <p:nvPr/>
        </p:nvGrpSpPr>
        <p:grpSpPr bwMode="auto">
          <a:xfrm>
            <a:off x="4554538" y="3841750"/>
            <a:ext cx="80962" cy="92075"/>
            <a:chOff x="2111" y="2420"/>
            <a:chExt cx="51" cy="58"/>
          </a:xfrm>
        </p:grpSpPr>
        <p:sp>
          <p:nvSpPr>
            <p:cNvPr id="34266" name="Freeform 316"/>
            <p:cNvSpPr>
              <a:spLocks/>
            </p:cNvSpPr>
            <p:nvPr/>
          </p:nvSpPr>
          <p:spPr bwMode="auto">
            <a:xfrm>
              <a:off x="2111" y="2420"/>
              <a:ext cx="51" cy="58"/>
            </a:xfrm>
            <a:custGeom>
              <a:avLst/>
              <a:gdLst>
                <a:gd name="T0" fmla="*/ 18 w 51"/>
                <a:gd name="T1" fmla="*/ 9 h 58"/>
                <a:gd name="T2" fmla="*/ 25 w 51"/>
                <a:gd name="T3" fmla="*/ 11 h 58"/>
                <a:gd name="T4" fmla="*/ 23 w 51"/>
                <a:gd name="T5" fmla="*/ 16 h 58"/>
                <a:gd name="T6" fmla="*/ 22 w 51"/>
                <a:gd name="T7" fmla="*/ 18 h 58"/>
                <a:gd name="T8" fmla="*/ 24 w 51"/>
                <a:gd name="T9" fmla="*/ 21 h 58"/>
                <a:gd name="T10" fmla="*/ 26 w 51"/>
                <a:gd name="T11" fmla="*/ 21 h 58"/>
                <a:gd name="T12" fmla="*/ 28 w 51"/>
                <a:gd name="T13" fmla="*/ 16 h 58"/>
                <a:gd name="T14" fmla="*/ 28 w 51"/>
                <a:gd name="T15" fmla="*/ 13 h 58"/>
                <a:gd name="T16" fmla="*/ 29 w 51"/>
                <a:gd name="T17" fmla="*/ 12 h 58"/>
                <a:gd name="T18" fmla="*/ 31 w 51"/>
                <a:gd name="T19" fmla="*/ 20 h 58"/>
                <a:gd name="T20" fmla="*/ 30 w 51"/>
                <a:gd name="T21" fmla="*/ 22 h 58"/>
                <a:gd name="T22" fmla="*/ 31 w 51"/>
                <a:gd name="T23" fmla="*/ 23 h 58"/>
                <a:gd name="T24" fmla="*/ 33 w 51"/>
                <a:gd name="T25" fmla="*/ 11 h 58"/>
                <a:gd name="T26" fmla="*/ 29 w 51"/>
                <a:gd name="T27" fmla="*/ 9 h 58"/>
                <a:gd name="T28" fmla="*/ 32 w 51"/>
                <a:gd name="T29" fmla="*/ 3 h 58"/>
                <a:gd name="T30" fmla="*/ 38 w 51"/>
                <a:gd name="T31" fmla="*/ 0 h 58"/>
                <a:gd name="T32" fmla="*/ 44 w 51"/>
                <a:gd name="T33" fmla="*/ 3 h 58"/>
                <a:gd name="T34" fmla="*/ 48 w 51"/>
                <a:gd name="T35" fmla="*/ 10 h 58"/>
                <a:gd name="T36" fmla="*/ 48 w 51"/>
                <a:gd name="T37" fmla="*/ 15 h 58"/>
                <a:gd name="T38" fmla="*/ 49 w 51"/>
                <a:gd name="T39" fmla="*/ 19 h 58"/>
                <a:gd name="T40" fmla="*/ 47 w 51"/>
                <a:gd name="T41" fmla="*/ 24 h 58"/>
                <a:gd name="T42" fmla="*/ 42 w 51"/>
                <a:gd name="T43" fmla="*/ 26 h 58"/>
                <a:gd name="T44" fmla="*/ 38 w 51"/>
                <a:gd name="T45" fmla="*/ 32 h 58"/>
                <a:gd name="T46" fmla="*/ 41 w 51"/>
                <a:gd name="T47" fmla="*/ 36 h 58"/>
                <a:gd name="T48" fmla="*/ 44 w 51"/>
                <a:gd name="T49" fmla="*/ 45 h 58"/>
                <a:gd name="T50" fmla="*/ 35 w 51"/>
                <a:gd name="T51" fmla="*/ 48 h 58"/>
                <a:gd name="T52" fmla="*/ 36 w 51"/>
                <a:gd name="T53" fmla="*/ 50 h 58"/>
                <a:gd name="T54" fmla="*/ 36 w 51"/>
                <a:gd name="T55" fmla="*/ 53 h 58"/>
                <a:gd name="T56" fmla="*/ 35 w 51"/>
                <a:gd name="T57" fmla="*/ 58 h 58"/>
                <a:gd name="T58" fmla="*/ 31 w 51"/>
                <a:gd name="T59" fmla="*/ 56 h 58"/>
                <a:gd name="T60" fmla="*/ 21 w 51"/>
                <a:gd name="T61" fmla="*/ 54 h 58"/>
                <a:gd name="T62" fmla="*/ 23 w 51"/>
                <a:gd name="T63" fmla="*/ 54 h 58"/>
                <a:gd name="T64" fmla="*/ 24 w 51"/>
                <a:gd name="T65" fmla="*/ 51 h 58"/>
                <a:gd name="T66" fmla="*/ 17 w 51"/>
                <a:gd name="T67" fmla="*/ 47 h 58"/>
                <a:gd name="T68" fmla="*/ 10 w 51"/>
                <a:gd name="T69" fmla="*/ 43 h 58"/>
                <a:gd name="T70" fmla="*/ 5 w 51"/>
                <a:gd name="T71" fmla="*/ 40 h 58"/>
                <a:gd name="T72" fmla="*/ 6 w 51"/>
                <a:gd name="T73" fmla="*/ 39 h 58"/>
                <a:gd name="T74" fmla="*/ 7 w 51"/>
                <a:gd name="T75" fmla="*/ 27 h 58"/>
                <a:gd name="T76" fmla="*/ 2 w 51"/>
                <a:gd name="T77" fmla="*/ 25 h 58"/>
                <a:gd name="T78" fmla="*/ 3 w 51"/>
                <a:gd name="T79" fmla="*/ 23 h 58"/>
                <a:gd name="T80" fmla="*/ 0 w 51"/>
                <a:gd name="T81" fmla="*/ 21 h 58"/>
                <a:gd name="T82" fmla="*/ 9 w 51"/>
                <a:gd name="T83" fmla="*/ 20 h 58"/>
                <a:gd name="T84" fmla="*/ 13 w 51"/>
                <a:gd name="T85" fmla="*/ 15 h 58"/>
                <a:gd name="T86" fmla="*/ 17 w 51"/>
                <a:gd name="T87" fmla="*/ 14 h 58"/>
                <a:gd name="T88" fmla="*/ 13 w 51"/>
                <a:gd name="T89" fmla="*/ 8 h 5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1"/>
                <a:gd name="T136" fmla="*/ 0 h 58"/>
                <a:gd name="T137" fmla="*/ 51 w 51"/>
                <a:gd name="T138" fmla="*/ 58 h 5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1" h="58">
                  <a:moveTo>
                    <a:pt x="13" y="8"/>
                  </a:moveTo>
                  <a:lnTo>
                    <a:pt x="18" y="9"/>
                  </a:lnTo>
                  <a:lnTo>
                    <a:pt x="25" y="8"/>
                  </a:lnTo>
                  <a:lnTo>
                    <a:pt x="25" y="11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3" y="17"/>
                  </a:lnTo>
                  <a:lnTo>
                    <a:pt x="24" y="21"/>
                  </a:lnTo>
                  <a:lnTo>
                    <a:pt x="24" y="24"/>
                  </a:lnTo>
                  <a:lnTo>
                    <a:pt x="26" y="21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8" y="13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32" y="18"/>
                  </a:lnTo>
                  <a:lnTo>
                    <a:pt x="31" y="20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3"/>
                  </a:lnTo>
                  <a:lnTo>
                    <a:pt x="32" y="23"/>
                  </a:lnTo>
                  <a:lnTo>
                    <a:pt x="33" y="11"/>
                  </a:lnTo>
                  <a:lnTo>
                    <a:pt x="31" y="9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32" y="3"/>
                  </a:lnTo>
                  <a:lnTo>
                    <a:pt x="37" y="1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3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47" y="13"/>
                  </a:lnTo>
                  <a:lnTo>
                    <a:pt x="48" y="15"/>
                  </a:lnTo>
                  <a:lnTo>
                    <a:pt x="49" y="16"/>
                  </a:lnTo>
                  <a:lnTo>
                    <a:pt x="49" y="19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5" y="26"/>
                  </a:lnTo>
                  <a:lnTo>
                    <a:pt x="42" y="26"/>
                  </a:lnTo>
                  <a:lnTo>
                    <a:pt x="40" y="29"/>
                  </a:lnTo>
                  <a:lnTo>
                    <a:pt x="38" y="32"/>
                  </a:lnTo>
                  <a:lnTo>
                    <a:pt x="38" y="36"/>
                  </a:lnTo>
                  <a:lnTo>
                    <a:pt x="41" y="36"/>
                  </a:lnTo>
                  <a:lnTo>
                    <a:pt x="44" y="40"/>
                  </a:lnTo>
                  <a:lnTo>
                    <a:pt x="44" y="45"/>
                  </a:lnTo>
                  <a:lnTo>
                    <a:pt x="36" y="47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6" y="50"/>
                  </a:lnTo>
                  <a:lnTo>
                    <a:pt x="37" y="53"/>
                  </a:lnTo>
                  <a:lnTo>
                    <a:pt x="36" y="53"/>
                  </a:lnTo>
                  <a:lnTo>
                    <a:pt x="35" y="54"/>
                  </a:lnTo>
                  <a:lnTo>
                    <a:pt x="35" y="58"/>
                  </a:lnTo>
                  <a:lnTo>
                    <a:pt x="32" y="58"/>
                  </a:lnTo>
                  <a:lnTo>
                    <a:pt x="31" y="56"/>
                  </a:lnTo>
                  <a:lnTo>
                    <a:pt x="23" y="55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3" y="54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4" y="49"/>
                  </a:lnTo>
                  <a:lnTo>
                    <a:pt x="17" y="47"/>
                  </a:lnTo>
                  <a:lnTo>
                    <a:pt x="10" y="47"/>
                  </a:lnTo>
                  <a:lnTo>
                    <a:pt x="10" y="43"/>
                  </a:lnTo>
                  <a:lnTo>
                    <a:pt x="6" y="42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7" y="36"/>
                  </a:lnTo>
                  <a:lnTo>
                    <a:pt x="7" y="27"/>
                  </a:lnTo>
                  <a:lnTo>
                    <a:pt x="6" y="26"/>
                  </a:lnTo>
                  <a:lnTo>
                    <a:pt x="2" y="25"/>
                  </a:lnTo>
                  <a:lnTo>
                    <a:pt x="1" y="24"/>
                  </a:lnTo>
                  <a:lnTo>
                    <a:pt x="3" y="23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1" y="20"/>
                  </a:lnTo>
                  <a:lnTo>
                    <a:pt x="9" y="20"/>
                  </a:lnTo>
                  <a:lnTo>
                    <a:pt x="12" y="19"/>
                  </a:lnTo>
                  <a:lnTo>
                    <a:pt x="13" y="15"/>
                  </a:lnTo>
                  <a:lnTo>
                    <a:pt x="16" y="15"/>
                  </a:lnTo>
                  <a:lnTo>
                    <a:pt x="17" y="14"/>
                  </a:lnTo>
                  <a:lnTo>
                    <a:pt x="17" y="11"/>
                  </a:lnTo>
                  <a:lnTo>
                    <a:pt x="13" y="8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67" name="Freeform 317"/>
            <p:cNvSpPr>
              <a:spLocks/>
            </p:cNvSpPr>
            <p:nvPr/>
          </p:nvSpPr>
          <p:spPr bwMode="auto">
            <a:xfrm>
              <a:off x="2111" y="2420"/>
              <a:ext cx="51" cy="58"/>
            </a:xfrm>
            <a:custGeom>
              <a:avLst/>
              <a:gdLst>
                <a:gd name="T0" fmla="*/ 18 w 51"/>
                <a:gd name="T1" fmla="*/ 9 h 58"/>
                <a:gd name="T2" fmla="*/ 25 w 51"/>
                <a:gd name="T3" fmla="*/ 11 h 58"/>
                <a:gd name="T4" fmla="*/ 23 w 51"/>
                <a:gd name="T5" fmla="*/ 16 h 58"/>
                <a:gd name="T6" fmla="*/ 22 w 51"/>
                <a:gd name="T7" fmla="*/ 18 h 58"/>
                <a:gd name="T8" fmla="*/ 24 w 51"/>
                <a:gd name="T9" fmla="*/ 21 h 58"/>
                <a:gd name="T10" fmla="*/ 26 w 51"/>
                <a:gd name="T11" fmla="*/ 21 h 58"/>
                <a:gd name="T12" fmla="*/ 28 w 51"/>
                <a:gd name="T13" fmla="*/ 16 h 58"/>
                <a:gd name="T14" fmla="*/ 28 w 51"/>
                <a:gd name="T15" fmla="*/ 13 h 58"/>
                <a:gd name="T16" fmla="*/ 29 w 51"/>
                <a:gd name="T17" fmla="*/ 12 h 58"/>
                <a:gd name="T18" fmla="*/ 31 w 51"/>
                <a:gd name="T19" fmla="*/ 20 h 58"/>
                <a:gd name="T20" fmla="*/ 30 w 51"/>
                <a:gd name="T21" fmla="*/ 22 h 58"/>
                <a:gd name="T22" fmla="*/ 31 w 51"/>
                <a:gd name="T23" fmla="*/ 23 h 58"/>
                <a:gd name="T24" fmla="*/ 33 w 51"/>
                <a:gd name="T25" fmla="*/ 11 h 58"/>
                <a:gd name="T26" fmla="*/ 29 w 51"/>
                <a:gd name="T27" fmla="*/ 9 h 58"/>
                <a:gd name="T28" fmla="*/ 32 w 51"/>
                <a:gd name="T29" fmla="*/ 3 h 58"/>
                <a:gd name="T30" fmla="*/ 38 w 51"/>
                <a:gd name="T31" fmla="*/ 0 h 58"/>
                <a:gd name="T32" fmla="*/ 44 w 51"/>
                <a:gd name="T33" fmla="*/ 3 h 58"/>
                <a:gd name="T34" fmla="*/ 48 w 51"/>
                <a:gd name="T35" fmla="*/ 10 h 58"/>
                <a:gd name="T36" fmla="*/ 48 w 51"/>
                <a:gd name="T37" fmla="*/ 15 h 58"/>
                <a:gd name="T38" fmla="*/ 49 w 51"/>
                <a:gd name="T39" fmla="*/ 19 h 58"/>
                <a:gd name="T40" fmla="*/ 47 w 51"/>
                <a:gd name="T41" fmla="*/ 24 h 58"/>
                <a:gd name="T42" fmla="*/ 42 w 51"/>
                <a:gd name="T43" fmla="*/ 26 h 58"/>
                <a:gd name="T44" fmla="*/ 38 w 51"/>
                <a:gd name="T45" fmla="*/ 32 h 58"/>
                <a:gd name="T46" fmla="*/ 41 w 51"/>
                <a:gd name="T47" fmla="*/ 36 h 58"/>
                <a:gd name="T48" fmla="*/ 44 w 51"/>
                <a:gd name="T49" fmla="*/ 45 h 58"/>
                <a:gd name="T50" fmla="*/ 35 w 51"/>
                <a:gd name="T51" fmla="*/ 48 h 58"/>
                <a:gd name="T52" fmla="*/ 36 w 51"/>
                <a:gd name="T53" fmla="*/ 50 h 58"/>
                <a:gd name="T54" fmla="*/ 36 w 51"/>
                <a:gd name="T55" fmla="*/ 53 h 58"/>
                <a:gd name="T56" fmla="*/ 35 w 51"/>
                <a:gd name="T57" fmla="*/ 58 h 58"/>
                <a:gd name="T58" fmla="*/ 31 w 51"/>
                <a:gd name="T59" fmla="*/ 56 h 58"/>
                <a:gd name="T60" fmla="*/ 21 w 51"/>
                <a:gd name="T61" fmla="*/ 54 h 58"/>
                <a:gd name="T62" fmla="*/ 23 w 51"/>
                <a:gd name="T63" fmla="*/ 54 h 58"/>
                <a:gd name="T64" fmla="*/ 24 w 51"/>
                <a:gd name="T65" fmla="*/ 51 h 58"/>
                <a:gd name="T66" fmla="*/ 17 w 51"/>
                <a:gd name="T67" fmla="*/ 47 h 58"/>
                <a:gd name="T68" fmla="*/ 10 w 51"/>
                <a:gd name="T69" fmla="*/ 43 h 58"/>
                <a:gd name="T70" fmla="*/ 5 w 51"/>
                <a:gd name="T71" fmla="*/ 40 h 58"/>
                <a:gd name="T72" fmla="*/ 6 w 51"/>
                <a:gd name="T73" fmla="*/ 39 h 58"/>
                <a:gd name="T74" fmla="*/ 7 w 51"/>
                <a:gd name="T75" fmla="*/ 27 h 58"/>
                <a:gd name="T76" fmla="*/ 2 w 51"/>
                <a:gd name="T77" fmla="*/ 25 h 58"/>
                <a:gd name="T78" fmla="*/ 3 w 51"/>
                <a:gd name="T79" fmla="*/ 23 h 58"/>
                <a:gd name="T80" fmla="*/ 0 w 51"/>
                <a:gd name="T81" fmla="*/ 21 h 58"/>
                <a:gd name="T82" fmla="*/ 9 w 51"/>
                <a:gd name="T83" fmla="*/ 20 h 58"/>
                <a:gd name="T84" fmla="*/ 13 w 51"/>
                <a:gd name="T85" fmla="*/ 15 h 58"/>
                <a:gd name="T86" fmla="*/ 17 w 51"/>
                <a:gd name="T87" fmla="*/ 14 h 58"/>
                <a:gd name="T88" fmla="*/ 13 w 51"/>
                <a:gd name="T89" fmla="*/ 8 h 5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51"/>
                <a:gd name="T136" fmla="*/ 0 h 58"/>
                <a:gd name="T137" fmla="*/ 51 w 51"/>
                <a:gd name="T138" fmla="*/ 58 h 5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51" h="58">
                  <a:moveTo>
                    <a:pt x="13" y="8"/>
                  </a:moveTo>
                  <a:lnTo>
                    <a:pt x="18" y="9"/>
                  </a:lnTo>
                  <a:lnTo>
                    <a:pt x="25" y="8"/>
                  </a:lnTo>
                  <a:lnTo>
                    <a:pt x="25" y="11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3" y="17"/>
                  </a:lnTo>
                  <a:lnTo>
                    <a:pt x="24" y="21"/>
                  </a:lnTo>
                  <a:lnTo>
                    <a:pt x="24" y="24"/>
                  </a:lnTo>
                  <a:lnTo>
                    <a:pt x="26" y="21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8" y="13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32" y="18"/>
                  </a:lnTo>
                  <a:lnTo>
                    <a:pt x="31" y="20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3"/>
                  </a:lnTo>
                  <a:lnTo>
                    <a:pt x="32" y="23"/>
                  </a:lnTo>
                  <a:lnTo>
                    <a:pt x="33" y="11"/>
                  </a:lnTo>
                  <a:lnTo>
                    <a:pt x="31" y="9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32" y="3"/>
                  </a:lnTo>
                  <a:lnTo>
                    <a:pt x="37" y="1"/>
                  </a:lnTo>
                  <a:lnTo>
                    <a:pt x="38" y="0"/>
                  </a:lnTo>
                  <a:lnTo>
                    <a:pt x="41" y="0"/>
                  </a:lnTo>
                  <a:lnTo>
                    <a:pt x="44" y="3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47" y="13"/>
                  </a:lnTo>
                  <a:lnTo>
                    <a:pt x="48" y="15"/>
                  </a:lnTo>
                  <a:lnTo>
                    <a:pt x="49" y="16"/>
                  </a:lnTo>
                  <a:lnTo>
                    <a:pt x="49" y="19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5" y="26"/>
                  </a:lnTo>
                  <a:lnTo>
                    <a:pt x="42" y="26"/>
                  </a:lnTo>
                  <a:lnTo>
                    <a:pt x="40" y="29"/>
                  </a:lnTo>
                  <a:lnTo>
                    <a:pt x="38" y="32"/>
                  </a:lnTo>
                  <a:lnTo>
                    <a:pt x="38" y="36"/>
                  </a:lnTo>
                  <a:lnTo>
                    <a:pt x="41" y="36"/>
                  </a:lnTo>
                  <a:lnTo>
                    <a:pt x="44" y="40"/>
                  </a:lnTo>
                  <a:lnTo>
                    <a:pt x="44" y="45"/>
                  </a:lnTo>
                  <a:lnTo>
                    <a:pt x="36" y="47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6" y="50"/>
                  </a:lnTo>
                  <a:lnTo>
                    <a:pt x="37" y="53"/>
                  </a:lnTo>
                  <a:lnTo>
                    <a:pt x="36" y="53"/>
                  </a:lnTo>
                  <a:lnTo>
                    <a:pt x="35" y="54"/>
                  </a:lnTo>
                  <a:lnTo>
                    <a:pt x="35" y="58"/>
                  </a:lnTo>
                  <a:lnTo>
                    <a:pt x="32" y="58"/>
                  </a:lnTo>
                  <a:lnTo>
                    <a:pt x="31" y="56"/>
                  </a:lnTo>
                  <a:lnTo>
                    <a:pt x="23" y="55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3" y="54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4" y="49"/>
                  </a:lnTo>
                  <a:lnTo>
                    <a:pt x="17" y="47"/>
                  </a:lnTo>
                  <a:lnTo>
                    <a:pt x="10" y="47"/>
                  </a:lnTo>
                  <a:lnTo>
                    <a:pt x="10" y="43"/>
                  </a:lnTo>
                  <a:lnTo>
                    <a:pt x="6" y="42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7" y="36"/>
                  </a:lnTo>
                  <a:lnTo>
                    <a:pt x="7" y="27"/>
                  </a:lnTo>
                  <a:lnTo>
                    <a:pt x="6" y="26"/>
                  </a:lnTo>
                  <a:lnTo>
                    <a:pt x="2" y="25"/>
                  </a:lnTo>
                  <a:lnTo>
                    <a:pt x="1" y="24"/>
                  </a:lnTo>
                  <a:lnTo>
                    <a:pt x="3" y="23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1" y="20"/>
                  </a:lnTo>
                  <a:lnTo>
                    <a:pt x="9" y="20"/>
                  </a:lnTo>
                  <a:lnTo>
                    <a:pt x="12" y="19"/>
                  </a:lnTo>
                  <a:lnTo>
                    <a:pt x="13" y="15"/>
                  </a:lnTo>
                  <a:lnTo>
                    <a:pt x="16" y="15"/>
                  </a:lnTo>
                  <a:lnTo>
                    <a:pt x="17" y="14"/>
                  </a:lnTo>
                  <a:lnTo>
                    <a:pt x="17" y="11"/>
                  </a:lnTo>
                  <a:lnTo>
                    <a:pt x="13" y="8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00" name="Group 321"/>
          <p:cNvGrpSpPr>
            <a:grpSpLocks/>
          </p:cNvGrpSpPr>
          <p:nvPr/>
        </p:nvGrpSpPr>
        <p:grpSpPr bwMode="auto">
          <a:xfrm>
            <a:off x="4703763" y="2559050"/>
            <a:ext cx="103187" cy="95250"/>
            <a:chOff x="2205" y="1612"/>
            <a:chExt cx="65" cy="60"/>
          </a:xfrm>
        </p:grpSpPr>
        <p:sp>
          <p:nvSpPr>
            <p:cNvPr id="34264" name="Freeform 319"/>
            <p:cNvSpPr>
              <a:spLocks/>
            </p:cNvSpPr>
            <p:nvPr/>
          </p:nvSpPr>
          <p:spPr bwMode="auto">
            <a:xfrm>
              <a:off x="2205" y="1612"/>
              <a:ext cx="65" cy="60"/>
            </a:xfrm>
            <a:custGeom>
              <a:avLst/>
              <a:gdLst>
                <a:gd name="T0" fmla="*/ 39 w 65"/>
                <a:gd name="T1" fmla="*/ 1 h 60"/>
                <a:gd name="T2" fmla="*/ 43 w 65"/>
                <a:gd name="T3" fmla="*/ 0 h 60"/>
                <a:gd name="T4" fmla="*/ 45 w 65"/>
                <a:gd name="T5" fmla="*/ 4 h 60"/>
                <a:gd name="T6" fmla="*/ 45 w 65"/>
                <a:gd name="T7" fmla="*/ 9 h 60"/>
                <a:gd name="T8" fmla="*/ 44 w 65"/>
                <a:gd name="T9" fmla="*/ 13 h 60"/>
                <a:gd name="T10" fmla="*/ 45 w 65"/>
                <a:gd name="T11" fmla="*/ 12 h 60"/>
                <a:gd name="T12" fmla="*/ 47 w 65"/>
                <a:gd name="T13" fmla="*/ 16 h 60"/>
                <a:gd name="T14" fmla="*/ 45 w 65"/>
                <a:gd name="T15" fmla="*/ 22 h 60"/>
                <a:gd name="T16" fmla="*/ 42 w 65"/>
                <a:gd name="T17" fmla="*/ 29 h 60"/>
                <a:gd name="T18" fmla="*/ 44 w 65"/>
                <a:gd name="T19" fmla="*/ 26 h 60"/>
                <a:gd name="T20" fmla="*/ 48 w 65"/>
                <a:gd name="T21" fmla="*/ 24 h 60"/>
                <a:gd name="T22" fmla="*/ 50 w 65"/>
                <a:gd name="T23" fmla="*/ 16 h 60"/>
                <a:gd name="T24" fmla="*/ 55 w 65"/>
                <a:gd name="T25" fmla="*/ 15 h 60"/>
                <a:gd name="T26" fmla="*/ 54 w 65"/>
                <a:gd name="T27" fmla="*/ 12 h 60"/>
                <a:gd name="T28" fmla="*/ 56 w 65"/>
                <a:gd name="T29" fmla="*/ 6 h 60"/>
                <a:gd name="T30" fmla="*/ 61 w 65"/>
                <a:gd name="T31" fmla="*/ 9 h 60"/>
                <a:gd name="T32" fmla="*/ 65 w 65"/>
                <a:gd name="T33" fmla="*/ 14 h 60"/>
                <a:gd name="T34" fmla="*/ 65 w 65"/>
                <a:gd name="T35" fmla="*/ 21 h 60"/>
                <a:gd name="T36" fmla="*/ 64 w 65"/>
                <a:gd name="T37" fmla="*/ 26 h 60"/>
                <a:gd name="T38" fmla="*/ 61 w 65"/>
                <a:gd name="T39" fmla="*/ 30 h 60"/>
                <a:gd name="T40" fmla="*/ 56 w 65"/>
                <a:gd name="T41" fmla="*/ 31 h 60"/>
                <a:gd name="T42" fmla="*/ 52 w 65"/>
                <a:gd name="T43" fmla="*/ 35 h 60"/>
                <a:gd name="T44" fmla="*/ 50 w 65"/>
                <a:gd name="T45" fmla="*/ 41 h 60"/>
                <a:gd name="T46" fmla="*/ 47 w 65"/>
                <a:gd name="T47" fmla="*/ 36 h 60"/>
                <a:gd name="T48" fmla="*/ 40 w 65"/>
                <a:gd name="T49" fmla="*/ 43 h 60"/>
                <a:gd name="T50" fmla="*/ 40 w 65"/>
                <a:gd name="T51" fmla="*/ 47 h 60"/>
                <a:gd name="T52" fmla="*/ 38 w 65"/>
                <a:gd name="T53" fmla="*/ 50 h 60"/>
                <a:gd name="T54" fmla="*/ 36 w 65"/>
                <a:gd name="T55" fmla="*/ 46 h 60"/>
                <a:gd name="T56" fmla="*/ 35 w 65"/>
                <a:gd name="T57" fmla="*/ 41 h 60"/>
                <a:gd name="T58" fmla="*/ 36 w 65"/>
                <a:gd name="T59" fmla="*/ 38 h 60"/>
                <a:gd name="T60" fmla="*/ 31 w 65"/>
                <a:gd name="T61" fmla="*/ 45 h 60"/>
                <a:gd name="T62" fmla="*/ 26 w 65"/>
                <a:gd name="T63" fmla="*/ 50 h 60"/>
                <a:gd name="T64" fmla="*/ 16 w 65"/>
                <a:gd name="T65" fmla="*/ 58 h 60"/>
                <a:gd name="T66" fmla="*/ 17 w 65"/>
                <a:gd name="T67" fmla="*/ 53 h 60"/>
                <a:gd name="T68" fmla="*/ 13 w 65"/>
                <a:gd name="T69" fmla="*/ 52 h 60"/>
                <a:gd name="T70" fmla="*/ 10 w 65"/>
                <a:gd name="T71" fmla="*/ 57 h 60"/>
                <a:gd name="T72" fmla="*/ 1 w 65"/>
                <a:gd name="T73" fmla="*/ 60 h 60"/>
                <a:gd name="T74" fmla="*/ 0 w 65"/>
                <a:gd name="T75" fmla="*/ 58 h 60"/>
                <a:gd name="T76" fmla="*/ 0 w 65"/>
                <a:gd name="T77" fmla="*/ 51 h 60"/>
                <a:gd name="T78" fmla="*/ 3 w 65"/>
                <a:gd name="T79" fmla="*/ 49 h 60"/>
                <a:gd name="T80" fmla="*/ 5 w 65"/>
                <a:gd name="T81" fmla="*/ 46 h 60"/>
                <a:gd name="T82" fmla="*/ 8 w 65"/>
                <a:gd name="T83" fmla="*/ 46 h 60"/>
                <a:gd name="T84" fmla="*/ 13 w 65"/>
                <a:gd name="T85" fmla="*/ 43 h 60"/>
                <a:gd name="T86" fmla="*/ 15 w 65"/>
                <a:gd name="T87" fmla="*/ 43 h 60"/>
                <a:gd name="T88" fmla="*/ 18 w 65"/>
                <a:gd name="T89" fmla="*/ 40 h 60"/>
                <a:gd name="T90" fmla="*/ 28 w 65"/>
                <a:gd name="T91" fmla="*/ 36 h 60"/>
                <a:gd name="T92" fmla="*/ 27 w 65"/>
                <a:gd name="T93" fmla="*/ 32 h 60"/>
                <a:gd name="T94" fmla="*/ 34 w 65"/>
                <a:gd name="T95" fmla="*/ 25 h 60"/>
                <a:gd name="T96" fmla="*/ 34 w 65"/>
                <a:gd name="T97" fmla="*/ 19 h 60"/>
                <a:gd name="T98" fmla="*/ 36 w 65"/>
                <a:gd name="T99" fmla="*/ 18 h 60"/>
                <a:gd name="T100" fmla="*/ 36 w 65"/>
                <a:gd name="T101" fmla="*/ 13 h 60"/>
                <a:gd name="T102" fmla="*/ 37 w 65"/>
                <a:gd name="T103" fmla="*/ 7 h 60"/>
                <a:gd name="T104" fmla="*/ 39 w 65"/>
                <a:gd name="T105" fmla="*/ 1 h 6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5"/>
                <a:gd name="T160" fmla="*/ 0 h 60"/>
                <a:gd name="T161" fmla="*/ 65 w 65"/>
                <a:gd name="T162" fmla="*/ 60 h 6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5" h="60">
                  <a:moveTo>
                    <a:pt x="39" y="1"/>
                  </a:moveTo>
                  <a:lnTo>
                    <a:pt x="43" y="0"/>
                  </a:lnTo>
                  <a:lnTo>
                    <a:pt x="45" y="4"/>
                  </a:lnTo>
                  <a:lnTo>
                    <a:pt x="45" y="9"/>
                  </a:lnTo>
                  <a:lnTo>
                    <a:pt x="44" y="13"/>
                  </a:lnTo>
                  <a:lnTo>
                    <a:pt x="45" y="12"/>
                  </a:lnTo>
                  <a:lnTo>
                    <a:pt x="47" y="16"/>
                  </a:lnTo>
                  <a:lnTo>
                    <a:pt x="45" y="22"/>
                  </a:lnTo>
                  <a:lnTo>
                    <a:pt x="42" y="29"/>
                  </a:lnTo>
                  <a:lnTo>
                    <a:pt x="44" y="26"/>
                  </a:lnTo>
                  <a:lnTo>
                    <a:pt x="48" y="24"/>
                  </a:lnTo>
                  <a:lnTo>
                    <a:pt x="50" y="16"/>
                  </a:lnTo>
                  <a:lnTo>
                    <a:pt x="55" y="15"/>
                  </a:lnTo>
                  <a:lnTo>
                    <a:pt x="54" y="12"/>
                  </a:lnTo>
                  <a:lnTo>
                    <a:pt x="56" y="6"/>
                  </a:lnTo>
                  <a:lnTo>
                    <a:pt x="61" y="9"/>
                  </a:lnTo>
                  <a:lnTo>
                    <a:pt x="65" y="14"/>
                  </a:lnTo>
                  <a:lnTo>
                    <a:pt x="65" y="21"/>
                  </a:lnTo>
                  <a:lnTo>
                    <a:pt x="64" y="26"/>
                  </a:lnTo>
                  <a:lnTo>
                    <a:pt x="61" y="30"/>
                  </a:lnTo>
                  <a:lnTo>
                    <a:pt x="56" y="31"/>
                  </a:lnTo>
                  <a:lnTo>
                    <a:pt x="52" y="35"/>
                  </a:lnTo>
                  <a:lnTo>
                    <a:pt x="50" y="41"/>
                  </a:lnTo>
                  <a:lnTo>
                    <a:pt x="47" y="36"/>
                  </a:lnTo>
                  <a:lnTo>
                    <a:pt x="40" y="43"/>
                  </a:lnTo>
                  <a:lnTo>
                    <a:pt x="40" y="47"/>
                  </a:lnTo>
                  <a:lnTo>
                    <a:pt x="38" y="50"/>
                  </a:lnTo>
                  <a:lnTo>
                    <a:pt x="36" y="46"/>
                  </a:lnTo>
                  <a:lnTo>
                    <a:pt x="35" y="41"/>
                  </a:lnTo>
                  <a:lnTo>
                    <a:pt x="36" y="38"/>
                  </a:lnTo>
                  <a:lnTo>
                    <a:pt x="31" y="45"/>
                  </a:lnTo>
                  <a:lnTo>
                    <a:pt x="26" y="50"/>
                  </a:lnTo>
                  <a:lnTo>
                    <a:pt x="16" y="58"/>
                  </a:lnTo>
                  <a:lnTo>
                    <a:pt x="17" y="53"/>
                  </a:lnTo>
                  <a:lnTo>
                    <a:pt x="13" y="52"/>
                  </a:lnTo>
                  <a:lnTo>
                    <a:pt x="10" y="57"/>
                  </a:lnTo>
                  <a:lnTo>
                    <a:pt x="1" y="60"/>
                  </a:lnTo>
                  <a:lnTo>
                    <a:pt x="0" y="58"/>
                  </a:lnTo>
                  <a:lnTo>
                    <a:pt x="0" y="51"/>
                  </a:lnTo>
                  <a:lnTo>
                    <a:pt x="3" y="49"/>
                  </a:lnTo>
                  <a:lnTo>
                    <a:pt x="5" y="46"/>
                  </a:lnTo>
                  <a:lnTo>
                    <a:pt x="8" y="46"/>
                  </a:lnTo>
                  <a:lnTo>
                    <a:pt x="13" y="43"/>
                  </a:lnTo>
                  <a:lnTo>
                    <a:pt x="15" y="43"/>
                  </a:lnTo>
                  <a:lnTo>
                    <a:pt x="18" y="40"/>
                  </a:lnTo>
                  <a:lnTo>
                    <a:pt x="28" y="36"/>
                  </a:lnTo>
                  <a:lnTo>
                    <a:pt x="27" y="32"/>
                  </a:lnTo>
                  <a:lnTo>
                    <a:pt x="34" y="25"/>
                  </a:lnTo>
                  <a:lnTo>
                    <a:pt x="34" y="19"/>
                  </a:lnTo>
                  <a:lnTo>
                    <a:pt x="36" y="18"/>
                  </a:lnTo>
                  <a:lnTo>
                    <a:pt x="36" y="13"/>
                  </a:lnTo>
                  <a:lnTo>
                    <a:pt x="37" y="7"/>
                  </a:lnTo>
                  <a:lnTo>
                    <a:pt x="39" y="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65" name="Freeform 320"/>
            <p:cNvSpPr>
              <a:spLocks/>
            </p:cNvSpPr>
            <p:nvPr/>
          </p:nvSpPr>
          <p:spPr bwMode="auto">
            <a:xfrm>
              <a:off x="2205" y="1612"/>
              <a:ext cx="65" cy="60"/>
            </a:xfrm>
            <a:custGeom>
              <a:avLst/>
              <a:gdLst>
                <a:gd name="T0" fmla="*/ 39 w 65"/>
                <a:gd name="T1" fmla="*/ 1 h 60"/>
                <a:gd name="T2" fmla="*/ 43 w 65"/>
                <a:gd name="T3" fmla="*/ 0 h 60"/>
                <a:gd name="T4" fmla="*/ 45 w 65"/>
                <a:gd name="T5" fmla="*/ 4 h 60"/>
                <a:gd name="T6" fmla="*/ 45 w 65"/>
                <a:gd name="T7" fmla="*/ 9 h 60"/>
                <a:gd name="T8" fmla="*/ 44 w 65"/>
                <a:gd name="T9" fmla="*/ 13 h 60"/>
                <a:gd name="T10" fmla="*/ 45 w 65"/>
                <a:gd name="T11" fmla="*/ 12 h 60"/>
                <a:gd name="T12" fmla="*/ 47 w 65"/>
                <a:gd name="T13" fmla="*/ 16 h 60"/>
                <a:gd name="T14" fmla="*/ 45 w 65"/>
                <a:gd name="T15" fmla="*/ 22 h 60"/>
                <a:gd name="T16" fmla="*/ 42 w 65"/>
                <a:gd name="T17" fmla="*/ 29 h 60"/>
                <a:gd name="T18" fmla="*/ 44 w 65"/>
                <a:gd name="T19" fmla="*/ 26 h 60"/>
                <a:gd name="T20" fmla="*/ 48 w 65"/>
                <a:gd name="T21" fmla="*/ 24 h 60"/>
                <a:gd name="T22" fmla="*/ 50 w 65"/>
                <a:gd name="T23" fmla="*/ 16 h 60"/>
                <a:gd name="T24" fmla="*/ 55 w 65"/>
                <a:gd name="T25" fmla="*/ 15 h 60"/>
                <a:gd name="T26" fmla="*/ 54 w 65"/>
                <a:gd name="T27" fmla="*/ 12 h 60"/>
                <a:gd name="T28" fmla="*/ 56 w 65"/>
                <a:gd name="T29" fmla="*/ 6 h 60"/>
                <a:gd name="T30" fmla="*/ 61 w 65"/>
                <a:gd name="T31" fmla="*/ 9 h 60"/>
                <a:gd name="T32" fmla="*/ 65 w 65"/>
                <a:gd name="T33" fmla="*/ 14 h 60"/>
                <a:gd name="T34" fmla="*/ 65 w 65"/>
                <a:gd name="T35" fmla="*/ 21 h 60"/>
                <a:gd name="T36" fmla="*/ 64 w 65"/>
                <a:gd name="T37" fmla="*/ 26 h 60"/>
                <a:gd name="T38" fmla="*/ 61 w 65"/>
                <a:gd name="T39" fmla="*/ 30 h 60"/>
                <a:gd name="T40" fmla="*/ 56 w 65"/>
                <a:gd name="T41" fmla="*/ 31 h 60"/>
                <a:gd name="T42" fmla="*/ 52 w 65"/>
                <a:gd name="T43" fmla="*/ 35 h 60"/>
                <a:gd name="T44" fmla="*/ 50 w 65"/>
                <a:gd name="T45" fmla="*/ 41 h 60"/>
                <a:gd name="T46" fmla="*/ 47 w 65"/>
                <a:gd name="T47" fmla="*/ 36 h 60"/>
                <a:gd name="T48" fmla="*/ 40 w 65"/>
                <a:gd name="T49" fmla="*/ 43 h 60"/>
                <a:gd name="T50" fmla="*/ 40 w 65"/>
                <a:gd name="T51" fmla="*/ 47 h 60"/>
                <a:gd name="T52" fmla="*/ 38 w 65"/>
                <a:gd name="T53" fmla="*/ 50 h 60"/>
                <a:gd name="T54" fmla="*/ 36 w 65"/>
                <a:gd name="T55" fmla="*/ 46 h 60"/>
                <a:gd name="T56" fmla="*/ 35 w 65"/>
                <a:gd name="T57" fmla="*/ 41 h 60"/>
                <a:gd name="T58" fmla="*/ 36 w 65"/>
                <a:gd name="T59" fmla="*/ 38 h 60"/>
                <a:gd name="T60" fmla="*/ 31 w 65"/>
                <a:gd name="T61" fmla="*/ 45 h 60"/>
                <a:gd name="T62" fmla="*/ 26 w 65"/>
                <a:gd name="T63" fmla="*/ 50 h 60"/>
                <a:gd name="T64" fmla="*/ 16 w 65"/>
                <a:gd name="T65" fmla="*/ 58 h 60"/>
                <a:gd name="T66" fmla="*/ 17 w 65"/>
                <a:gd name="T67" fmla="*/ 53 h 60"/>
                <a:gd name="T68" fmla="*/ 13 w 65"/>
                <a:gd name="T69" fmla="*/ 52 h 60"/>
                <a:gd name="T70" fmla="*/ 10 w 65"/>
                <a:gd name="T71" fmla="*/ 57 h 60"/>
                <a:gd name="T72" fmla="*/ 1 w 65"/>
                <a:gd name="T73" fmla="*/ 60 h 60"/>
                <a:gd name="T74" fmla="*/ 0 w 65"/>
                <a:gd name="T75" fmla="*/ 58 h 60"/>
                <a:gd name="T76" fmla="*/ 0 w 65"/>
                <a:gd name="T77" fmla="*/ 51 h 60"/>
                <a:gd name="T78" fmla="*/ 3 w 65"/>
                <a:gd name="T79" fmla="*/ 49 h 60"/>
                <a:gd name="T80" fmla="*/ 5 w 65"/>
                <a:gd name="T81" fmla="*/ 46 h 60"/>
                <a:gd name="T82" fmla="*/ 8 w 65"/>
                <a:gd name="T83" fmla="*/ 46 h 60"/>
                <a:gd name="T84" fmla="*/ 13 w 65"/>
                <a:gd name="T85" fmla="*/ 43 h 60"/>
                <a:gd name="T86" fmla="*/ 15 w 65"/>
                <a:gd name="T87" fmla="*/ 43 h 60"/>
                <a:gd name="T88" fmla="*/ 18 w 65"/>
                <a:gd name="T89" fmla="*/ 40 h 60"/>
                <a:gd name="T90" fmla="*/ 28 w 65"/>
                <a:gd name="T91" fmla="*/ 36 h 60"/>
                <a:gd name="T92" fmla="*/ 27 w 65"/>
                <a:gd name="T93" fmla="*/ 32 h 60"/>
                <a:gd name="T94" fmla="*/ 34 w 65"/>
                <a:gd name="T95" fmla="*/ 25 h 60"/>
                <a:gd name="T96" fmla="*/ 34 w 65"/>
                <a:gd name="T97" fmla="*/ 19 h 60"/>
                <a:gd name="T98" fmla="*/ 36 w 65"/>
                <a:gd name="T99" fmla="*/ 18 h 60"/>
                <a:gd name="T100" fmla="*/ 36 w 65"/>
                <a:gd name="T101" fmla="*/ 13 h 60"/>
                <a:gd name="T102" fmla="*/ 37 w 65"/>
                <a:gd name="T103" fmla="*/ 7 h 60"/>
                <a:gd name="T104" fmla="*/ 39 w 65"/>
                <a:gd name="T105" fmla="*/ 1 h 6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65"/>
                <a:gd name="T160" fmla="*/ 0 h 60"/>
                <a:gd name="T161" fmla="*/ 65 w 65"/>
                <a:gd name="T162" fmla="*/ 60 h 6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65" h="60">
                  <a:moveTo>
                    <a:pt x="39" y="1"/>
                  </a:moveTo>
                  <a:lnTo>
                    <a:pt x="43" y="0"/>
                  </a:lnTo>
                  <a:lnTo>
                    <a:pt x="45" y="4"/>
                  </a:lnTo>
                  <a:lnTo>
                    <a:pt x="45" y="9"/>
                  </a:lnTo>
                  <a:lnTo>
                    <a:pt x="44" y="13"/>
                  </a:lnTo>
                  <a:lnTo>
                    <a:pt x="45" y="12"/>
                  </a:lnTo>
                  <a:lnTo>
                    <a:pt x="47" y="16"/>
                  </a:lnTo>
                  <a:lnTo>
                    <a:pt x="45" y="22"/>
                  </a:lnTo>
                  <a:lnTo>
                    <a:pt x="42" y="29"/>
                  </a:lnTo>
                  <a:lnTo>
                    <a:pt x="44" y="26"/>
                  </a:lnTo>
                  <a:lnTo>
                    <a:pt x="48" y="24"/>
                  </a:lnTo>
                  <a:lnTo>
                    <a:pt x="50" y="16"/>
                  </a:lnTo>
                  <a:lnTo>
                    <a:pt x="55" y="15"/>
                  </a:lnTo>
                  <a:lnTo>
                    <a:pt x="54" y="12"/>
                  </a:lnTo>
                  <a:lnTo>
                    <a:pt x="56" y="6"/>
                  </a:lnTo>
                  <a:lnTo>
                    <a:pt x="61" y="9"/>
                  </a:lnTo>
                  <a:lnTo>
                    <a:pt x="65" y="14"/>
                  </a:lnTo>
                  <a:lnTo>
                    <a:pt x="65" y="21"/>
                  </a:lnTo>
                  <a:lnTo>
                    <a:pt x="64" y="26"/>
                  </a:lnTo>
                  <a:lnTo>
                    <a:pt x="61" y="30"/>
                  </a:lnTo>
                  <a:lnTo>
                    <a:pt x="56" y="31"/>
                  </a:lnTo>
                  <a:lnTo>
                    <a:pt x="52" y="35"/>
                  </a:lnTo>
                  <a:lnTo>
                    <a:pt x="50" y="41"/>
                  </a:lnTo>
                  <a:lnTo>
                    <a:pt x="47" y="36"/>
                  </a:lnTo>
                  <a:lnTo>
                    <a:pt x="40" y="43"/>
                  </a:lnTo>
                  <a:lnTo>
                    <a:pt x="40" y="47"/>
                  </a:lnTo>
                  <a:lnTo>
                    <a:pt x="38" y="50"/>
                  </a:lnTo>
                  <a:lnTo>
                    <a:pt x="36" y="46"/>
                  </a:lnTo>
                  <a:lnTo>
                    <a:pt x="35" y="41"/>
                  </a:lnTo>
                  <a:lnTo>
                    <a:pt x="36" y="38"/>
                  </a:lnTo>
                  <a:lnTo>
                    <a:pt x="31" y="45"/>
                  </a:lnTo>
                  <a:lnTo>
                    <a:pt x="26" y="50"/>
                  </a:lnTo>
                  <a:lnTo>
                    <a:pt x="16" y="58"/>
                  </a:lnTo>
                  <a:lnTo>
                    <a:pt x="17" y="53"/>
                  </a:lnTo>
                  <a:lnTo>
                    <a:pt x="13" y="52"/>
                  </a:lnTo>
                  <a:lnTo>
                    <a:pt x="10" y="57"/>
                  </a:lnTo>
                  <a:lnTo>
                    <a:pt x="1" y="60"/>
                  </a:lnTo>
                  <a:lnTo>
                    <a:pt x="0" y="58"/>
                  </a:lnTo>
                  <a:lnTo>
                    <a:pt x="0" y="51"/>
                  </a:lnTo>
                  <a:lnTo>
                    <a:pt x="3" y="49"/>
                  </a:lnTo>
                  <a:lnTo>
                    <a:pt x="5" y="46"/>
                  </a:lnTo>
                  <a:lnTo>
                    <a:pt x="8" y="46"/>
                  </a:lnTo>
                  <a:lnTo>
                    <a:pt x="13" y="43"/>
                  </a:lnTo>
                  <a:lnTo>
                    <a:pt x="15" y="43"/>
                  </a:lnTo>
                  <a:lnTo>
                    <a:pt x="18" y="40"/>
                  </a:lnTo>
                  <a:lnTo>
                    <a:pt x="28" y="36"/>
                  </a:lnTo>
                  <a:lnTo>
                    <a:pt x="27" y="32"/>
                  </a:lnTo>
                  <a:lnTo>
                    <a:pt x="34" y="25"/>
                  </a:lnTo>
                  <a:lnTo>
                    <a:pt x="34" y="19"/>
                  </a:lnTo>
                  <a:lnTo>
                    <a:pt x="36" y="18"/>
                  </a:lnTo>
                  <a:lnTo>
                    <a:pt x="36" y="13"/>
                  </a:lnTo>
                  <a:lnTo>
                    <a:pt x="37" y="7"/>
                  </a:lnTo>
                  <a:lnTo>
                    <a:pt x="39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01" name="Group 324"/>
          <p:cNvGrpSpPr>
            <a:grpSpLocks/>
          </p:cNvGrpSpPr>
          <p:nvPr/>
        </p:nvGrpSpPr>
        <p:grpSpPr bwMode="auto">
          <a:xfrm>
            <a:off x="4710113" y="2557463"/>
            <a:ext cx="39687" cy="47625"/>
            <a:chOff x="2209" y="1611"/>
            <a:chExt cx="25" cy="30"/>
          </a:xfrm>
        </p:grpSpPr>
        <p:sp>
          <p:nvSpPr>
            <p:cNvPr id="34262" name="Freeform 322"/>
            <p:cNvSpPr>
              <a:spLocks/>
            </p:cNvSpPr>
            <p:nvPr/>
          </p:nvSpPr>
          <p:spPr bwMode="auto">
            <a:xfrm>
              <a:off x="2209" y="1611"/>
              <a:ext cx="25" cy="30"/>
            </a:xfrm>
            <a:custGeom>
              <a:avLst/>
              <a:gdLst>
                <a:gd name="T0" fmla="*/ 1 w 25"/>
                <a:gd name="T1" fmla="*/ 22 h 30"/>
                <a:gd name="T2" fmla="*/ 2 w 25"/>
                <a:gd name="T3" fmla="*/ 20 h 30"/>
                <a:gd name="T4" fmla="*/ 1 w 25"/>
                <a:gd name="T5" fmla="*/ 18 h 30"/>
                <a:gd name="T6" fmla="*/ 2 w 25"/>
                <a:gd name="T7" fmla="*/ 15 h 30"/>
                <a:gd name="T8" fmla="*/ 4 w 25"/>
                <a:gd name="T9" fmla="*/ 17 h 30"/>
                <a:gd name="T10" fmla="*/ 5 w 25"/>
                <a:gd name="T11" fmla="*/ 14 h 30"/>
                <a:gd name="T12" fmla="*/ 8 w 25"/>
                <a:gd name="T13" fmla="*/ 15 h 30"/>
                <a:gd name="T14" fmla="*/ 10 w 25"/>
                <a:gd name="T15" fmla="*/ 12 h 30"/>
                <a:gd name="T16" fmla="*/ 11 w 25"/>
                <a:gd name="T17" fmla="*/ 6 h 30"/>
                <a:gd name="T18" fmla="*/ 14 w 25"/>
                <a:gd name="T19" fmla="*/ 11 h 30"/>
                <a:gd name="T20" fmla="*/ 18 w 25"/>
                <a:gd name="T21" fmla="*/ 11 h 30"/>
                <a:gd name="T22" fmla="*/ 18 w 25"/>
                <a:gd name="T23" fmla="*/ 0 h 30"/>
                <a:gd name="T24" fmla="*/ 24 w 25"/>
                <a:gd name="T25" fmla="*/ 11 h 30"/>
                <a:gd name="T26" fmla="*/ 24 w 25"/>
                <a:gd name="T27" fmla="*/ 16 h 30"/>
                <a:gd name="T28" fmla="*/ 25 w 25"/>
                <a:gd name="T29" fmla="*/ 25 h 30"/>
                <a:gd name="T30" fmla="*/ 21 w 25"/>
                <a:gd name="T31" fmla="*/ 25 h 30"/>
                <a:gd name="T32" fmla="*/ 18 w 25"/>
                <a:gd name="T33" fmla="*/ 29 h 30"/>
                <a:gd name="T34" fmla="*/ 14 w 25"/>
                <a:gd name="T35" fmla="*/ 30 h 30"/>
                <a:gd name="T36" fmla="*/ 12 w 25"/>
                <a:gd name="T37" fmla="*/ 25 h 30"/>
                <a:gd name="T38" fmla="*/ 16 w 25"/>
                <a:gd name="T39" fmla="*/ 22 h 30"/>
                <a:gd name="T40" fmla="*/ 18 w 25"/>
                <a:gd name="T41" fmla="*/ 18 h 30"/>
                <a:gd name="T42" fmla="*/ 14 w 25"/>
                <a:gd name="T43" fmla="*/ 22 h 30"/>
                <a:gd name="T44" fmla="*/ 11 w 25"/>
                <a:gd name="T45" fmla="*/ 22 h 30"/>
                <a:gd name="T46" fmla="*/ 1 w 25"/>
                <a:gd name="T47" fmla="*/ 29 h 30"/>
                <a:gd name="T48" fmla="*/ 0 w 25"/>
                <a:gd name="T49" fmla="*/ 26 h 30"/>
                <a:gd name="T50" fmla="*/ 1 w 25"/>
                <a:gd name="T51" fmla="*/ 22 h 3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5"/>
                <a:gd name="T79" fmla="*/ 0 h 30"/>
                <a:gd name="T80" fmla="*/ 25 w 25"/>
                <a:gd name="T81" fmla="*/ 30 h 3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5" h="30">
                  <a:moveTo>
                    <a:pt x="1" y="22"/>
                  </a:moveTo>
                  <a:lnTo>
                    <a:pt x="2" y="20"/>
                  </a:lnTo>
                  <a:lnTo>
                    <a:pt x="1" y="18"/>
                  </a:lnTo>
                  <a:lnTo>
                    <a:pt x="2" y="15"/>
                  </a:lnTo>
                  <a:lnTo>
                    <a:pt x="4" y="17"/>
                  </a:lnTo>
                  <a:lnTo>
                    <a:pt x="5" y="14"/>
                  </a:lnTo>
                  <a:lnTo>
                    <a:pt x="8" y="15"/>
                  </a:lnTo>
                  <a:lnTo>
                    <a:pt x="10" y="12"/>
                  </a:lnTo>
                  <a:lnTo>
                    <a:pt x="11" y="6"/>
                  </a:lnTo>
                  <a:lnTo>
                    <a:pt x="14" y="11"/>
                  </a:lnTo>
                  <a:lnTo>
                    <a:pt x="18" y="11"/>
                  </a:lnTo>
                  <a:lnTo>
                    <a:pt x="18" y="0"/>
                  </a:lnTo>
                  <a:lnTo>
                    <a:pt x="24" y="11"/>
                  </a:lnTo>
                  <a:lnTo>
                    <a:pt x="24" y="16"/>
                  </a:lnTo>
                  <a:lnTo>
                    <a:pt x="25" y="25"/>
                  </a:lnTo>
                  <a:lnTo>
                    <a:pt x="21" y="25"/>
                  </a:lnTo>
                  <a:lnTo>
                    <a:pt x="18" y="29"/>
                  </a:lnTo>
                  <a:lnTo>
                    <a:pt x="14" y="30"/>
                  </a:lnTo>
                  <a:lnTo>
                    <a:pt x="12" y="25"/>
                  </a:lnTo>
                  <a:lnTo>
                    <a:pt x="16" y="22"/>
                  </a:lnTo>
                  <a:lnTo>
                    <a:pt x="18" y="18"/>
                  </a:lnTo>
                  <a:lnTo>
                    <a:pt x="14" y="22"/>
                  </a:lnTo>
                  <a:lnTo>
                    <a:pt x="11" y="22"/>
                  </a:lnTo>
                  <a:lnTo>
                    <a:pt x="1" y="29"/>
                  </a:lnTo>
                  <a:lnTo>
                    <a:pt x="0" y="26"/>
                  </a:lnTo>
                  <a:lnTo>
                    <a:pt x="1" y="22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63" name="Freeform 323"/>
            <p:cNvSpPr>
              <a:spLocks/>
            </p:cNvSpPr>
            <p:nvPr/>
          </p:nvSpPr>
          <p:spPr bwMode="auto">
            <a:xfrm>
              <a:off x="2209" y="1611"/>
              <a:ext cx="25" cy="30"/>
            </a:xfrm>
            <a:custGeom>
              <a:avLst/>
              <a:gdLst>
                <a:gd name="T0" fmla="*/ 1 w 25"/>
                <a:gd name="T1" fmla="*/ 22 h 30"/>
                <a:gd name="T2" fmla="*/ 2 w 25"/>
                <a:gd name="T3" fmla="*/ 20 h 30"/>
                <a:gd name="T4" fmla="*/ 1 w 25"/>
                <a:gd name="T5" fmla="*/ 18 h 30"/>
                <a:gd name="T6" fmla="*/ 2 w 25"/>
                <a:gd name="T7" fmla="*/ 15 h 30"/>
                <a:gd name="T8" fmla="*/ 4 w 25"/>
                <a:gd name="T9" fmla="*/ 17 h 30"/>
                <a:gd name="T10" fmla="*/ 5 w 25"/>
                <a:gd name="T11" fmla="*/ 14 h 30"/>
                <a:gd name="T12" fmla="*/ 8 w 25"/>
                <a:gd name="T13" fmla="*/ 15 h 30"/>
                <a:gd name="T14" fmla="*/ 10 w 25"/>
                <a:gd name="T15" fmla="*/ 12 h 30"/>
                <a:gd name="T16" fmla="*/ 11 w 25"/>
                <a:gd name="T17" fmla="*/ 6 h 30"/>
                <a:gd name="T18" fmla="*/ 14 w 25"/>
                <a:gd name="T19" fmla="*/ 11 h 30"/>
                <a:gd name="T20" fmla="*/ 18 w 25"/>
                <a:gd name="T21" fmla="*/ 11 h 30"/>
                <a:gd name="T22" fmla="*/ 18 w 25"/>
                <a:gd name="T23" fmla="*/ 0 h 30"/>
                <a:gd name="T24" fmla="*/ 24 w 25"/>
                <a:gd name="T25" fmla="*/ 11 h 30"/>
                <a:gd name="T26" fmla="*/ 24 w 25"/>
                <a:gd name="T27" fmla="*/ 16 h 30"/>
                <a:gd name="T28" fmla="*/ 25 w 25"/>
                <a:gd name="T29" fmla="*/ 25 h 30"/>
                <a:gd name="T30" fmla="*/ 21 w 25"/>
                <a:gd name="T31" fmla="*/ 25 h 30"/>
                <a:gd name="T32" fmla="*/ 18 w 25"/>
                <a:gd name="T33" fmla="*/ 29 h 30"/>
                <a:gd name="T34" fmla="*/ 14 w 25"/>
                <a:gd name="T35" fmla="*/ 30 h 30"/>
                <a:gd name="T36" fmla="*/ 12 w 25"/>
                <a:gd name="T37" fmla="*/ 25 h 30"/>
                <a:gd name="T38" fmla="*/ 16 w 25"/>
                <a:gd name="T39" fmla="*/ 22 h 30"/>
                <a:gd name="T40" fmla="*/ 18 w 25"/>
                <a:gd name="T41" fmla="*/ 18 h 30"/>
                <a:gd name="T42" fmla="*/ 14 w 25"/>
                <a:gd name="T43" fmla="*/ 22 h 30"/>
                <a:gd name="T44" fmla="*/ 11 w 25"/>
                <a:gd name="T45" fmla="*/ 22 h 30"/>
                <a:gd name="T46" fmla="*/ 1 w 25"/>
                <a:gd name="T47" fmla="*/ 29 h 30"/>
                <a:gd name="T48" fmla="*/ 0 w 25"/>
                <a:gd name="T49" fmla="*/ 26 h 30"/>
                <a:gd name="T50" fmla="*/ 1 w 25"/>
                <a:gd name="T51" fmla="*/ 22 h 3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5"/>
                <a:gd name="T79" fmla="*/ 0 h 30"/>
                <a:gd name="T80" fmla="*/ 25 w 25"/>
                <a:gd name="T81" fmla="*/ 30 h 3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5" h="30">
                  <a:moveTo>
                    <a:pt x="1" y="22"/>
                  </a:moveTo>
                  <a:lnTo>
                    <a:pt x="2" y="20"/>
                  </a:lnTo>
                  <a:lnTo>
                    <a:pt x="1" y="18"/>
                  </a:lnTo>
                  <a:lnTo>
                    <a:pt x="2" y="15"/>
                  </a:lnTo>
                  <a:lnTo>
                    <a:pt x="4" y="17"/>
                  </a:lnTo>
                  <a:lnTo>
                    <a:pt x="5" y="14"/>
                  </a:lnTo>
                  <a:lnTo>
                    <a:pt x="8" y="15"/>
                  </a:lnTo>
                  <a:lnTo>
                    <a:pt x="10" y="12"/>
                  </a:lnTo>
                  <a:lnTo>
                    <a:pt x="11" y="6"/>
                  </a:lnTo>
                  <a:lnTo>
                    <a:pt x="14" y="11"/>
                  </a:lnTo>
                  <a:lnTo>
                    <a:pt x="18" y="11"/>
                  </a:lnTo>
                  <a:lnTo>
                    <a:pt x="18" y="0"/>
                  </a:lnTo>
                  <a:lnTo>
                    <a:pt x="24" y="11"/>
                  </a:lnTo>
                  <a:lnTo>
                    <a:pt x="24" y="16"/>
                  </a:lnTo>
                  <a:lnTo>
                    <a:pt x="25" y="25"/>
                  </a:lnTo>
                  <a:lnTo>
                    <a:pt x="21" y="25"/>
                  </a:lnTo>
                  <a:lnTo>
                    <a:pt x="18" y="29"/>
                  </a:lnTo>
                  <a:lnTo>
                    <a:pt x="14" y="30"/>
                  </a:lnTo>
                  <a:lnTo>
                    <a:pt x="12" y="25"/>
                  </a:lnTo>
                  <a:lnTo>
                    <a:pt x="16" y="22"/>
                  </a:lnTo>
                  <a:lnTo>
                    <a:pt x="18" y="18"/>
                  </a:lnTo>
                  <a:lnTo>
                    <a:pt x="14" y="22"/>
                  </a:lnTo>
                  <a:lnTo>
                    <a:pt x="11" y="22"/>
                  </a:lnTo>
                  <a:lnTo>
                    <a:pt x="1" y="29"/>
                  </a:lnTo>
                  <a:lnTo>
                    <a:pt x="0" y="26"/>
                  </a:lnTo>
                  <a:lnTo>
                    <a:pt x="1" y="22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02" name="Group 327"/>
          <p:cNvGrpSpPr>
            <a:grpSpLocks/>
          </p:cNvGrpSpPr>
          <p:nvPr/>
        </p:nvGrpSpPr>
        <p:grpSpPr bwMode="auto">
          <a:xfrm>
            <a:off x="4760913" y="2511425"/>
            <a:ext cx="30162" cy="42863"/>
            <a:chOff x="2241" y="1582"/>
            <a:chExt cx="19" cy="27"/>
          </a:xfrm>
        </p:grpSpPr>
        <p:sp>
          <p:nvSpPr>
            <p:cNvPr id="34260" name="Freeform 325"/>
            <p:cNvSpPr>
              <a:spLocks/>
            </p:cNvSpPr>
            <p:nvPr/>
          </p:nvSpPr>
          <p:spPr bwMode="auto">
            <a:xfrm>
              <a:off x="2241" y="1582"/>
              <a:ext cx="19" cy="27"/>
            </a:xfrm>
            <a:custGeom>
              <a:avLst/>
              <a:gdLst>
                <a:gd name="T0" fmla="*/ 7 w 19"/>
                <a:gd name="T1" fmla="*/ 10 h 27"/>
                <a:gd name="T2" fmla="*/ 9 w 19"/>
                <a:gd name="T3" fmla="*/ 9 h 27"/>
                <a:gd name="T4" fmla="*/ 11 w 19"/>
                <a:gd name="T5" fmla="*/ 1 h 27"/>
                <a:gd name="T6" fmla="*/ 14 w 19"/>
                <a:gd name="T7" fmla="*/ 0 h 27"/>
                <a:gd name="T8" fmla="*/ 19 w 19"/>
                <a:gd name="T9" fmla="*/ 3 h 27"/>
                <a:gd name="T10" fmla="*/ 17 w 19"/>
                <a:gd name="T11" fmla="*/ 7 h 27"/>
                <a:gd name="T12" fmla="*/ 16 w 19"/>
                <a:gd name="T13" fmla="*/ 13 h 27"/>
                <a:gd name="T14" fmla="*/ 13 w 19"/>
                <a:gd name="T15" fmla="*/ 21 h 27"/>
                <a:gd name="T16" fmla="*/ 8 w 19"/>
                <a:gd name="T17" fmla="*/ 25 h 27"/>
                <a:gd name="T18" fmla="*/ 4 w 19"/>
                <a:gd name="T19" fmla="*/ 27 h 27"/>
                <a:gd name="T20" fmla="*/ 1 w 19"/>
                <a:gd name="T21" fmla="*/ 27 h 27"/>
                <a:gd name="T22" fmla="*/ 0 w 19"/>
                <a:gd name="T23" fmla="*/ 23 h 27"/>
                <a:gd name="T24" fmla="*/ 1 w 19"/>
                <a:gd name="T25" fmla="*/ 17 h 27"/>
                <a:gd name="T26" fmla="*/ 7 w 19"/>
                <a:gd name="T27" fmla="*/ 13 h 27"/>
                <a:gd name="T28" fmla="*/ 7 w 19"/>
                <a:gd name="T29" fmla="*/ 10 h 2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"/>
                <a:gd name="T46" fmla="*/ 0 h 27"/>
                <a:gd name="T47" fmla="*/ 19 w 19"/>
                <a:gd name="T48" fmla="*/ 27 h 2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" h="27">
                  <a:moveTo>
                    <a:pt x="7" y="10"/>
                  </a:moveTo>
                  <a:lnTo>
                    <a:pt x="9" y="9"/>
                  </a:lnTo>
                  <a:lnTo>
                    <a:pt x="11" y="1"/>
                  </a:lnTo>
                  <a:lnTo>
                    <a:pt x="14" y="0"/>
                  </a:lnTo>
                  <a:lnTo>
                    <a:pt x="19" y="3"/>
                  </a:lnTo>
                  <a:lnTo>
                    <a:pt x="17" y="7"/>
                  </a:lnTo>
                  <a:lnTo>
                    <a:pt x="16" y="13"/>
                  </a:lnTo>
                  <a:lnTo>
                    <a:pt x="13" y="21"/>
                  </a:lnTo>
                  <a:lnTo>
                    <a:pt x="8" y="25"/>
                  </a:lnTo>
                  <a:lnTo>
                    <a:pt x="4" y="27"/>
                  </a:lnTo>
                  <a:lnTo>
                    <a:pt x="1" y="27"/>
                  </a:lnTo>
                  <a:lnTo>
                    <a:pt x="0" y="23"/>
                  </a:lnTo>
                  <a:lnTo>
                    <a:pt x="1" y="17"/>
                  </a:lnTo>
                  <a:lnTo>
                    <a:pt x="7" y="13"/>
                  </a:lnTo>
                  <a:lnTo>
                    <a:pt x="7" y="10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61" name="Freeform 326"/>
            <p:cNvSpPr>
              <a:spLocks/>
            </p:cNvSpPr>
            <p:nvPr/>
          </p:nvSpPr>
          <p:spPr bwMode="auto">
            <a:xfrm>
              <a:off x="2241" y="1582"/>
              <a:ext cx="19" cy="27"/>
            </a:xfrm>
            <a:custGeom>
              <a:avLst/>
              <a:gdLst>
                <a:gd name="T0" fmla="*/ 7 w 19"/>
                <a:gd name="T1" fmla="*/ 10 h 27"/>
                <a:gd name="T2" fmla="*/ 9 w 19"/>
                <a:gd name="T3" fmla="*/ 9 h 27"/>
                <a:gd name="T4" fmla="*/ 11 w 19"/>
                <a:gd name="T5" fmla="*/ 1 h 27"/>
                <a:gd name="T6" fmla="*/ 14 w 19"/>
                <a:gd name="T7" fmla="*/ 0 h 27"/>
                <a:gd name="T8" fmla="*/ 19 w 19"/>
                <a:gd name="T9" fmla="*/ 3 h 27"/>
                <a:gd name="T10" fmla="*/ 17 w 19"/>
                <a:gd name="T11" fmla="*/ 7 h 27"/>
                <a:gd name="T12" fmla="*/ 16 w 19"/>
                <a:gd name="T13" fmla="*/ 13 h 27"/>
                <a:gd name="T14" fmla="*/ 13 w 19"/>
                <a:gd name="T15" fmla="*/ 21 h 27"/>
                <a:gd name="T16" fmla="*/ 8 w 19"/>
                <a:gd name="T17" fmla="*/ 25 h 27"/>
                <a:gd name="T18" fmla="*/ 4 w 19"/>
                <a:gd name="T19" fmla="*/ 27 h 27"/>
                <a:gd name="T20" fmla="*/ 1 w 19"/>
                <a:gd name="T21" fmla="*/ 27 h 27"/>
                <a:gd name="T22" fmla="*/ 0 w 19"/>
                <a:gd name="T23" fmla="*/ 23 h 27"/>
                <a:gd name="T24" fmla="*/ 1 w 19"/>
                <a:gd name="T25" fmla="*/ 17 h 27"/>
                <a:gd name="T26" fmla="*/ 7 w 19"/>
                <a:gd name="T27" fmla="*/ 13 h 27"/>
                <a:gd name="T28" fmla="*/ 7 w 19"/>
                <a:gd name="T29" fmla="*/ 10 h 2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"/>
                <a:gd name="T46" fmla="*/ 0 h 27"/>
                <a:gd name="T47" fmla="*/ 19 w 19"/>
                <a:gd name="T48" fmla="*/ 27 h 2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" h="27">
                  <a:moveTo>
                    <a:pt x="7" y="10"/>
                  </a:moveTo>
                  <a:lnTo>
                    <a:pt x="9" y="9"/>
                  </a:lnTo>
                  <a:lnTo>
                    <a:pt x="11" y="1"/>
                  </a:lnTo>
                  <a:lnTo>
                    <a:pt x="14" y="0"/>
                  </a:lnTo>
                  <a:lnTo>
                    <a:pt x="19" y="3"/>
                  </a:lnTo>
                  <a:lnTo>
                    <a:pt x="17" y="7"/>
                  </a:lnTo>
                  <a:lnTo>
                    <a:pt x="16" y="13"/>
                  </a:lnTo>
                  <a:lnTo>
                    <a:pt x="13" y="21"/>
                  </a:lnTo>
                  <a:lnTo>
                    <a:pt x="8" y="25"/>
                  </a:lnTo>
                  <a:lnTo>
                    <a:pt x="4" y="27"/>
                  </a:lnTo>
                  <a:lnTo>
                    <a:pt x="1" y="27"/>
                  </a:lnTo>
                  <a:lnTo>
                    <a:pt x="0" y="23"/>
                  </a:lnTo>
                  <a:lnTo>
                    <a:pt x="1" y="17"/>
                  </a:lnTo>
                  <a:lnTo>
                    <a:pt x="7" y="13"/>
                  </a:lnTo>
                  <a:lnTo>
                    <a:pt x="7" y="1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03" name="Group 330"/>
          <p:cNvGrpSpPr>
            <a:grpSpLocks/>
          </p:cNvGrpSpPr>
          <p:nvPr/>
        </p:nvGrpSpPr>
        <p:grpSpPr bwMode="auto">
          <a:xfrm>
            <a:off x="4722813" y="2686050"/>
            <a:ext cx="28575" cy="28575"/>
            <a:chOff x="2217" y="1692"/>
            <a:chExt cx="18" cy="18"/>
          </a:xfrm>
        </p:grpSpPr>
        <p:sp>
          <p:nvSpPr>
            <p:cNvPr id="34258" name="Freeform 328"/>
            <p:cNvSpPr>
              <a:spLocks/>
            </p:cNvSpPr>
            <p:nvPr/>
          </p:nvSpPr>
          <p:spPr bwMode="auto">
            <a:xfrm>
              <a:off x="2217" y="1692"/>
              <a:ext cx="18" cy="18"/>
            </a:xfrm>
            <a:custGeom>
              <a:avLst/>
              <a:gdLst>
                <a:gd name="T0" fmla="*/ 6 w 18"/>
                <a:gd name="T1" fmla="*/ 9 h 18"/>
                <a:gd name="T2" fmla="*/ 6 w 18"/>
                <a:gd name="T3" fmla="*/ 9 h 18"/>
                <a:gd name="T4" fmla="*/ 4 w 18"/>
                <a:gd name="T5" fmla="*/ 3 h 18"/>
                <a:gd name="T6" fmla="*/ 8 w 18"/>
                <a:gd name="T7" fmla="*/ 5 h 18"/>
                <a:gd name="T8" fmla="*/ 12 w 18"/>
                <a:gd name="T9" fmla="*/ 5 h 18"/>
                <a:gd name="T10" fmla="*/ 17 w 18"/>
                <a:gd name="T11" fmla="*/ 0 h 18"/>
                <a:gd name="T12" fmla="*/ 18 w 18"/>
                <a:gd name="T13" fmla="*/ 4 h 18"/>
                <a:gd name="T14" fmla="*/ 17 w 18"/>
                <a:gd name="T15" fmla="*/ 8 h 18"/>
                <a:gd name="T16" fmla="*/ 13 w 18"/>
                <a:gd name="T17" fmla="*/ 10 h 18"/>
                <a:gd name="T18" fmla="*/ 11 w 18"/>
                <a:gd name="T19" fmla="*/ 14 h 18"/>
                <a:gd name="T20" fmla="*/ 6 w 18"/>
                <a:gd name="T21" fmla="*/ 18 h 18"/>
                <a:gd name="T22" fmla="*/ 3 w 18"/>
                <a:gd name="T23" fmla="*/ 18 h 18"/>
                <a:gd name="T24" fmla="*/ 0 w 18"/>
                <a:gd name="T25" fmla="*/ 16 h 18"/>
                <a:gd name="T26" fmla="*/ 4 w 18"/>
                <a:gd name="T27" fmla="*/ 11 h 18"/>
                <a:gd name="T28" fmla="*/ 7 w 18"/>
                <a:gd name="T29" fmla="*/ 11 h 18"/>
                <a:gd name="T30" fmla="*/ 6 w 18"/>
                <a:gd name="T31" fmla="*/ 9 h 1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"/>
                <a:gd name="T49" fmla="*/ 0 h 18"/>
                <a:gd name="T50" fmla="*/ 18 w 18"/>
                <a:gd name="T51" fmla="*/ 18 h 1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" h="18">
                  <a:moveTo>
                    <a:pt x="6" y="9"/>
                  </a:moveTo>
                  <a:lnTo>
                    <a:pt x="6" y="9"/>
                  </a:lnTo>
                  <a:lnTo>
                    <a:pt x="4" y="3"/>
                  </a:lnTo>
                  <a:lnTo>
                    <a:pt x="8" y="5"/>
                  </a:lnTo>
                  <a:lnTo>
                    <a:pt x="12" y="5"/>
                  </a:lnTo>
                  <a:lnTo>
                    <a:pt x="17" y="0"/>
                  </a:lnTo>
                  <a:lnTo>
                    <a:pt x="18" y="4"/>
                  </a:lnTo>
                  <a:lnTo>
                    <a:pt x="17" y="8"/>
                  </a:lnTo>
                  <a:lnTo>
                    <a:pt x="13" y="10"/>
                  </a:lnTo>
                  <a:lnTo>
                    <a:pt x="11" y="14"/>
                  </a:lnTo>
                  <a:lnTo>
                    <a:pt x="6" y="18"/>
                  </a:lnTo>
                  <a:lnTo>
                    <a:pt x="3" y="18"/>
                  </a:lnTo>
                  <a:lnTo>
                    <a:pt x="0" y="16"/>
                  </a:lnTo>
                  <a:lnTo>
                    <a:pt x="4" y="11"/>
                  </a:lnTo>
                  <a:lnTo>
                    <a:pt x="7" y="11"/>
                  </a:lnTo>
                  <a:lnTo>
                    <a:pt x="6" y="9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59" name="Freeform 329"/>
            <p:cNvSpPr>
              <a:spLocks/>
            </p:cNvSpPr>
            <p:nvPr/>
          </p:nvSpPr>
          <p:spPr bwMode="auto">
            <a:xfrm>
              <a:off x="2217" y="1692"/>
              <a:ext cx="18" cy="18"/>
            </a:xfrm>
            <a:custGeom>
              <a:avLst/>
              <a:gdLst>
                <a:gd name="T0" fmla="*/ 6 w 18"/>
                <a:gd name="T1" fmla="*/ 9 h 18"/>
                <a:gd name="T2" fmla="*/ 6 w 18"/>
                <a:gd name="T3" fmla="*/ 9 h 18"/>
                <a:gd name="T4" fmla="*/ 4 w 18"/>
                <a:gd name="T5" fmla="*/ 3 h 18"/>
                <a:gd name="T6" fmla="*/ 8 w 18"/>
                <a:gd name="T7" fmla="*/ 5 h 18"/>
                <a:gd name="T8" fmla="*/ 12 w 18"/>
                <a:gd name="T9" fmla="*/ 5 h 18"/>
                <a:gd name="T10" fmla="*/ 17 w 18"/>
                <a:gd name="T11" fmla="*/ 0 h 18"/>
                <a:gd name="T12" fmla="*/ 18 w 18"/>
                <a:gd name="T13" fmla="*/ 4 h 18"/>
                <a:gd name="T14" fmla="*/ 17 w 18"/>
                <a:gd name="T15" fmla="*/ 8 h 18"/>
                <a:gd name="T16" fmla="*/ 13 w 18"/>
                <a:gd name="T17" fmla="*/ 10 h 18"/>
                <a:gd name="T18" fmla="*/ 11 w 18"/>
                <a:gd name="T19" fmla="*/ 14 h 18"/>
                <a:gd name="T20" fmla="*/ 6 w 18"/>
                <a:gd name="T21" fmla="*/ 18 h 18"/>
                <a:gd name="T22" fmla="*/ 3 w 18"/>
                <a:gd name="T23" fmla="*/ 18 h 18"/>
                <a:gd name="T24" fmla="*/ 0 w 18"/>
                <a:gd name="T25" fmla="*/ 16 h 18"/>
                <a:gd name="T26" fmla="*/ 4 w 18"/>
                <a:gd name="T27" fmla="*/ 11 h 18"/>
                <a:gd name="T28" fmla="*/ 7 w 18"/>
                <a:gd name="T29" fmla="*/ 11 h 18"/>
                <a:gd name="T30" fmla="*/ 6 w 18"/>
                <a:gd name="T31" fmla="*/ 9 h 1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"/>
                <a:gd name="T49" fmla="*/ 0 h 18"/>
                <a:gd name="T50" fmla="*/ 18 w 18"/>
                <a:gd name="T51" fmla="*/ 18 h 18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" h="18">
                  <a:moveTo>
                    <a:pt x="6" y="9"/>
                  </a:moveTo>
                  <a:lnTo>
                    <a:pt x="6" y="9"/>
                  </a:lnTo>
                  <a:lnTo>
                    <a:pt x="4" y="3"/>
                  </a:lnTo>
                  <a:lnTo>
                    <a:pt x="8" y="5"/>
                  </a:lnTo>
                  <a:lnTo>
                    <a:pt x="12" y="5"/>
                  </a:lnTo>
                  <a:lnTo>
                    <a:pt x="17" y="0"/>
                  </a:lnTo>
                  <a:lnTo>
                    <a:pt x="18" y="4"/>
                  </a:lnTo>
                  <a:lnTo>
                    <a:pt x="17" y="8"/>
                  </a:lnTo>
                  <a:lnTo>
                    <a:pt x="13" y="10"/>
                  </a:lnTo>
                  <a:lnTo>
                    <a:pt x="11" y="14"/>
                  </a:lnTo>
                  <a:lnTo>
                    <a:pt x="6" y="18"/>
                  </a:lnTo>
                  <a:lnTo>
                    <a:pt x="3" y="18"/>
                  </a:lnTo>
                  <a:lnTo>
                    <a:pt x="0" y="16"/>
                  </a:lnTo>
                  <a:lnTo>
                    <a:pt x="4" y="11"/>
                  </a:lnTo>
                  <a:lnTo>
                    <a:pt x="7" y="11"/>
                  </a:lnTo>
                  <a:lnTo>
                    <a:pt x="6" y="9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04" name="Group 333"/>
          <p:cNvGrpSpPr>
            <a:grpSpLocks/>
          </p:cNvGrpSpPr>
          <p:nvPr/>
        </p:nvGrpSpPr>
        <p:grpSpPr bwMode="auto">
          <a:xfrm>
            <a:off x="4818063" y="2478088"/>
            <a:ext cx="53975" cy="69850"/>
            <a:chOff x="2277" y="1561"/>
            <a:chExt cx="34" cy="44"/>
          </a:xfrm>
        </p:grpSpPr>
        <p:sp>
          <p:nvSpPr>
            <p:cNvPr id="34256" name="Freeform 331"/>
            <p:cNvSpPr>
              <a:spLocks/>
            </p:cNvSpPr>
            <p:nvPr/>
          </p:nvSpPr>
          <p:spPr bwMode="auto">
            <a:xfrm>
              <a:off x="2277" y="1561"/>
              <a:ext cx="34" cy="44"/>
            </a:xfrm>
            <a:custGeom>
              <a:avLst/>
              <a:gdLst>
                <a:gd name="T0" fmla="*/ 5 w 34"/>
                <a:gd name="T1" fmla="*/ 31 h 44"/>
                <a:gd name="T2" fmla="*/ 1 w 34"/>
                <a:gd name="T3" fmla="*/ 28 h 44"/>
                <a:gd name="T4" fmla="*/ 5 w 34"/>
                <a:gd name="T5" fmla="*/ 29 h 44"/>
                <a:gd name="T6" fmla="*/ 6 w 34"/>
                <a:gd name="T7" fmla="*/ 27 h 44"/>
                <a:gd name="T8" fmla="*/ 7 w 34"/>
                <a:gd name="T9" fmla="*/ 23 h 44"/>
                <a:gd name="T10" fmla="*/ 3 w 34"/>
                <a:gd name="T11" fmla="*/ 22 h 44"/>
                <a:gd name="T12" fmla="*/ 6 w 34"/>
                <a:gd name="T13" fmla="*/ 21 h 44"/>
                <a:gd name="T14" fmla="*/ 4 w 34"/>
                <a:gd name="T15" fmla="*/ 18 h 44"/>
                <a:gd name="T16" fmla="*/ 9 w 34"/>
                <a:gd name="T17" fmla="*/ 14 h 44"/>
                <a:gd name="T18" fmla="*/ 12 w 34"/>
                <a:gd name="T19" fmla="*/ 17 h 44"/>
                <a:gd name="T20" fmla="*/ 16 w 34"/>
                <a:gd name="T21" fmla="*/ 13 h 44"/>
                <a:gd name="T22" fmla="*/ 13 w 34"/>
                <a:gd name="T23" fmla="*/ 9 h 44"/>
                <a:gd name="T24" fmla="*/ 16 w 34"/>
                <a:gd name="T25" fmla="*/ 7 h 44"/>
                <a:gd name="T26" fmla="*/ 20 w 34"/>
                <a:gd name="T27" fmla="*/ 9 h 44"/>
                <a:gd name="T28" fmla="*/ 22 w 34"/>
                <a:gd name="T29" fmla="*/ 7 h 44"/>
                <a:gd name="T30" fmla="*/ 20 w 34"/>
                <a:gd name="T31" fmla="*/ 0 h 44"/>
                <a:gd name="T32" fmla="*/ 23 w 34"/>
                <a:gd name="T33" fmla="*/ 5 h 44"/>
                <a:gd name="T34" fmla="*/ 24 w 34"/>
                <a:gd name="T35" fmla="*/ 1 h 44"/>
                <a:gd name="T36" fmla="*/ 28 w 34"/>
                <a:gd name="T37" fmla="*/ 0 h 44"/>
                <a:gd name="T38" fmla="*/ 31 w 34"/>
                <a:gd name="T39" fmla="*/ 7 h 44"/>
                <a:gd name="T40" fmla="*/ 33 w 34"/>
                <a:gd name="T41" fmla="*/ 10 h 44"/>
                <a:gd name="T42" fmla="*/ 34 w 34"/>
                <a:gd name="T43" fmla="*/ 17 h 44"/>
                <a:gd name="T44" fmla="*/ 32 w 34"/>
                <a:gd name="T45" fmla="*/ 23 h 44"/>
                <a:gd name="T46" fmla="*/ 32 w 34"/>
                <a:gd name="T47" fmla="*/ 34 h 44"/>
                <a:gd name="T48" fmla="*/ 23 w 34"/>
                <a:gd name="T49" fmla="*/ 35 h 44"/>
                <a:gd name="T50" fmla="*/ 22 w 34"/>
                <a:gd name="T51" fmla="*/ 31 h 44"/>
                <a:gd name="T52" fmla="*/ 18 w 34"/>
                <a:gd name="T53" fmla="*/ 32 h 44"/>
                <a:gd name="T54" fmla="*/ 15 w 34"/>
                <a:gd name="T55" fmla="*/ 40 h 44"/>
                <a:gd name="T56" fmla="*/ 6 w 34"/>
                <a:gd name="T57" fmla="*/ 41 h 44"/>
                <a:gd name="T58" fmla="*/ 2 w 34"/>
                <a:gd name="T59" fmla="*/ 44 h 44"/>
                <a:gd name="T60" fmla="*/ 0 w 34"/>
                <a:gd name="T61" fmla="*/ 40 h 44"/>
                <a:gd name="T62" fmla="*/ 6 w 34"/>
                <a:gd name="T63" fmla="*/ 36 h 44"/>
                <a:gd name="T64" fmla="*/ 7 w 34"/>
                <a:gd name="T65" fmla="*/ 33 h 44"/>
                <a:gd name="T66" fmla="*/ 5 w 34"/>
                <a:gd name="T67" fmla="*/ 31 h 4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4"/>
                <a:gd name="T103" fmla="*/ 0 h 44"/>
                <a:gd name="T104" fmla="*/ 34 w 34"/>
                <a:gd name="T105" fmla="*/ 44 h 4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4" h="44">
                  <a:moveTo>
                    <a:pt x="5" y="31"/>
                  </a:moveTo>
                  <a:lnTo>
                    <a:pt x="1" y="28"/>
                  </a:lnTo>
                  <a:lnTo>
                    <a:pt x="5" y="29"/>
                  </a:lnTo>
                  <a:lnTo>
                    <a:pt x="6" y="27"/>
                  </a:lnTo>
                  <a:lnTo>
                    <a:pt x="7" y="23"/>
                  </a:lnTo>
                  <a:lnTo>
                    <a:pt x="3" y="22"/>
                  </a:lnTo>
                  <a:lnTo>
                    <a:pt x="6" y="21"/>
                  </a:lnTo>
                  <a:lnTo>
                    <a:pt x="4" y="18"/>
                  </a:lnTo>
                  <a:lnTo>
                    <a:pt x="9" y="14"/>
                  </a:lnTo>
                  <a:lnTo>
                    <a:pt x="12" y="17"/>
                  </a:lnTo>
                  <a:lnTo>
                    <a:pt x="16" y="13"/>
                  </a:lnTo>
                  <a:lnTo>
                    <a:pt x="13" y="9"/>
                  </a:lnTo>
                  <a:lnTo>
                    <a:pt x="16" y="7"/>
                  </a:lnTo>
                  <a:lnTo>
                    <a:pt x="20" y="9"/>
                  </a:lnTo>
                  <a:lnTo>
                    <a:pt x="22" y="7"/>
                  </a:lnTo>
                  <a:lnTo>
                    <a:pt x="20" y="0"/>
                  </a:lnTo>
                  <a:lnTo>
                    <a:pt x="23" y="5"/>
                  </a:lnTo>
                  <a:lnTo>
                    <a:pt x="24" y="1"/>
                  </a:lnTo>
                  <a:lnTo>
                    <a:pt x="28" y="0"/>
                  </a:lnTo>
                  <a:lnTo>
                    <a:pt x="31" y="7"/>
                  </a:lnTo>
                  <a:lnTo>
                    <a:pt x="33" y="10"/>
                  </a:lnTo>
                  <a:lnTo>
                    <a:pt x="34" y="17"/>
                  </a:lnTo>
                  <a:lnTo>
                    <a:pt x="32" y="23"/>
                  </a:lnTo>
                  <a:lnTo>
                    <a:pt x="32" y="34"/>
                  </a:lnTo>
                  <a:lnTo>
                    <a:pt x="23" y="35"/>
                  </a:lnTo>
                  <a:lnTo>
                    <a:pt x="22" y="31"/>
                  </a:lnTo>
                  <a:lnTo>
                    <a:pt x="18" y="32"/>
                  </a:lnTo>
                  <a:lnTo>
                    <a:pt x="15" y="40"/>
                  </a:lnTo>
                  <a:lnTo>
                    <a:pt x="6" y="41"/>
                  </a:lnTo>
                  <a:lnTo>
                    <a:pt x="2" y="44"/>
                  </a:lnTo>
                  <a:lnTo>
                    <a:pt x="0" y="40"/>
                  </a:lnTo>
                  <a:lnTo>
                    <a:pt x="6" y="36"/>
                  </a:lnTo>
                  <a:lnTo>
                    <a:pt x="7" y="33"/>
                  </a:lnTo>
                  <a:lnTo>
                    <a:pt x="5" y="3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57" name="Freeform 332"/>
            <p:cNvSpPr>
              <a:spLocks/>
            </p:cNvSpPr>
            <p:nvPr/>
          </p:nvSpPr>
          <p:spPr bwMode="auto">
            <a:xfrm>
              <a:off x="2277" y="1561"/>
              <a:ext cx="34" cy="44"/>
            </a:xfrm>
            <a:custGeom>
              <a:avLst/>
              <a:gdLst>
                <a:gd name="T0" fmla="*/ 5 w 34"/>
                <a:gd name="T1" fmla="*/ 31 h 44"/>
                <a:gd name="T2" fmla="*/ 1 w 34"/>
                <a:gd name="T3" fmla="*/ 28 h 44"/>
                <a:gd name="T4" fmla="*/ 5 w 34"/>
                <a:gd name="T5" fmla="*/ 29 h 44"/>
                <a:gd name="T6" fmla="*/ 6 w 34"/>
                <a:gd name="T7" fmla="*/ 27 h 44"/>
                <a:gd name="T8" fmla="*/ 7 w 34"/>
                <a:gd name="T9" fmla="*/ 23 h 44"/>
                <a:gd name="T10" fmla="*/ 3 w 34"/>
                <a:gd name="T11" fmla="*/ 22 h 44"/>
                <a:gd name="T12" fmla="*/ 6 w 34"/>
                <a:gd name="T13" fmla="*/ 21 h 44"/>
                <a:gd name="T14" fmla="*/ 4 w 34"/>
                <a:gd name="T15" fmla="*/ 18 h 44"/>
                <a:gd name="T16" fmla="*/ 9 w 34"/>
                <a:gd name="T17" fmla="*/ 14 h 44"/>
                <a:gd name="T18" fmla="*/ 12 w 34"/>
                <a:gd name="T19" fmla="*/ 17 h 44"/>
                <a:gd name="T20" fmla="*/ 16 w 34"/>
                <a:gd name="T21" fmla="*/ 13 h 44"/>
                <a:gd name="T22" fmla="*/ 13 w 34"/>
                <a:gd name="T23" fmla="*/ 9 h 44"/>
                <a:gd name="T24" fmla="*/ 16 w 34"/>
                <a:gd name="T25" fmla="*/ 7 h 44"/>
                <a:gd name="T26" fmla="*/ 20 w 34"/>
                <a:gd name="T27" fmla="*/ 9 h 44"/>
                <a:gd name="T28" fmla="*/ 22 w 34"/>
                <a:gd name="T29" fmla="*/ 7 h 44"/>
                <a:gd name="T30" fmla="*/ 20 w 34"/>
                <a:gd name="T31" fmla="*/ 0 h 44"/>
                <a:gd name="T32" fmla="*/ 23 w 34"/>
                <a:gd name="T33" fmla="*/ 5 h 44"/>
                <a:gd name="T34" fmla="*/ 24 w 34"/>
                <a:gd name="T35" fmla="*/ 1 h 44"/>
                <a:gd name="T36" fmla="*/ 28 w 34"/>
                <a:gd name="T37" fmla="*/ 0 h 44"/>
                <a:gd name="T38" fmla="*/ 31 w 34"/>
                <a:gd name="T39" fmla="*/ 7 h 44"/>
                <a:gd name="T40" fmla="*/ 33 w 34"/>
                <a:gd name="T41" fmla="*/ 10 h 44"/>
                <a:gd name="T42" fmla="*/ 34 w 34"/>
                <a:gd name="T43" fmla="*/ 17 h 44"/>
                <a:gd name="T44" fmla="*/ 32 w 34"/>
                <a:gd name="T45" fmla="*/ 23 h 44"/>
                <a:gd name="T46" fmla="*/ 32 w 34"/>
                <a:gd name="T47" fmla="*/ 34 h 44"/>
                <a:gd name="T48" fmla="*/ 23 w 34"/>
                <a:gd name="T49" fmla="*/ 35 h 44"/>
                <a:gd name="T50" fmla="*/ 22 w 34"/>
                <a:gd name="T51" fmla="*/ 31 h 44"/>
                <a:gd name="T52" fmla="*/ 18 w 34"/>
                <a:gd name="T53" fmla="*/ 32 h 44"/>
                <a:gd name="T54" fmla="*/ 15 w 34"/>
                <a:gd name="T55" fmla="*/ 40 h 44"/>
                <a:gd name="T56" fmla="*/ 6 w 34"/>
                <a:gd name="T57" fmla="*/ 41 h 44"/>
                <a:gd name="T58" fmla="*/ 2 w 34"/>
                <a:gd name="T59" fmla="*/ 44 h 44"/>
                <a:gd name="T60" fmla="*/ 0 w 34"/>
                <a:gd name="T61" fmla="*/ 40 h 44"/>
                <a:gd name="T62" fmla="*/ 6 w 34"/>
                <a:gd name="T63" fmla="*/ 36 h 44"/>
                <a:gd name="T64" fmla="*/ 7 w 34"/>
                <a:gd name="T65" fmla="*/ 33 h 44"/>
                <a:gd name="T66" fmla="*/ 5 w 34"/>
                <a:gd name="T67" fmla="*/ 31 h 4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4"/>
                <a:gd name="T103" fmla="*/ 0 h 44"/>
                <a:gd name="T104" fmla="*/ 34 w 34"/>
                <a:gd name="T105" fmla="*/ 44 h 4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4" h="44">
                  <a:moveTo>
                    <a:pt x="5" y="31"/>
                  </a:moveTo>
                  <a:lnTo>
                    <a:pt x="1" y="28"/>
                  </a:lnTo>
                  <a:lnTo>
                    <a:pt x="5" y="29"/>
                  </a:lnTo>
                  <a:lnTo>
                    <a:pt x="6" y="27"/>
                  </a:lnTo>
                  <a:lnTo>
                    <a:pt x="7" y="23"/>
                  </a:lnTo>
                  <a:lnTo>
                    <a:pt x="3" y="22"/>
                  </a:lnTo>
                  <a:lnTo>
                    <a:pt x="6" y="21"/>
                  </a:lnTo>
                  <a:lnTo>
                    <a:pt x="4" y="18"/>
                  </a:lnTo>
                  <a:lnTo>
                    <a:pt x="9" y="14"/>
                  </a:lnTo>
                  <a:lnTo>
                    <a:pt x="12" y="17"/>
                  </a:lnTo>
                  <a:lnTo>
                    <a:pt x="16" y="13"/>
                  </a:lnTo>
                  <a:lnTo>
                    <a:pt x="13" y="9"/>
                  </a:lnTo>
                  <a:lnTo>
                    <a:pt x="16" y="7"/>
                  </a:lnTo>
                  <a:lnTo>
                    <a:pt x="20" y="9"/>
                  </a:lnTo>
                  <a:lnTo>
                    <a:pt x="22" y="7"/>
                  </a:lnTo>
                  <a:lnTo>
                    <a:pt x="20" y="0"/>
                  </a:lnTo>
                  <a:lnTo>
                    <a:pt x="23" y="5"/>
                  </a:lnTo>
                  <a:lnTo>
                    <a:pt x="24" y="1"/>
                  </a:lnTo>
                  <a:lnTo>
                    <a:pt x="28" y="0"/>
                  </a:lnTo>
                  <a:lnTo>
                    <a:pt x="31" y="7"/>
                  </a:lnTo>
                  <a:lnTo>
                    <a:pt x="33" y="10"/>
                  </a:lnTo>
                  <a:lnTo>
                    <a:pt x="34" y="17"/>
                  </a:lnTo>
                  <a:lnTo>
                    <a:pt x="32" y="23"/>
                  </a:lnTo>
                  <a:lnTo>
                    <a:pt x="32" y="34"/>
                  </a:lnTo>
                  <a:lnTo>
                    <a:pt x="23" y="35"/>
                  </a:lnTo>
                  <a:lnTo>
                    <a:pt x="22" y="31"/>
                  </a:lnTo>
                  <a:lnTo>
                    <a:pt x="18" y="32"/>
                  </a:lnTo>
                  <a:lnTo>
                    <a:pt x="15" y="40"/>
                  </a:lnTo>
                  <a:lnTo>
                    <a:pt x="6" y="41"/>
                  </a:lnTo>
                  <a:lnTo>
                    <a:pt x="2" y="44"/>
                  </a:lnTo>
                  <a:lnTo>
                    <a:pt x="0" y="40"/>
                  </a:lnTo>
                  <a:lnTo>
                    <a:pt x="6" y="36"/>
                  </a:lnTo>
                  <a:lnTo>
                    <a:pt x="7" y="33"/>
                  </a:lnTo>
                  <a:lnTo>
                    <a:pt x="5" y="3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05" name="Group 336"/>
          <p:cNvGrpSpPr>
            <a:grpSpLocks/>
          </p:cNvGrpSpPr>
          <p:nvPr/>
        </p:nvGrpSpPr>
        <p:grpSpPr bwMode="auto">
          <a:xfrm>
            <a:off x="4876800" y="2441575"/>
            <a:ext cx="42863" cy="41275"/>
            <a:chOff x="2314" y="1538"/>
            <a:chExt cx="27" cy="26"/>
          </a:xfrm>
        </p:grpSpPr>
        <p:sp>
          <p:nvSpPr>
            <p:cNvPr id="34254" name="Freeform 334"/>
            <p:cNvSpPr>
              <a:spLocks/>
            </p:cNvSpPr>
            <p:nvPr/>
          </p:nvSpPr>
          <p:spPr bwMode="auto">
            <a:xfrm>
              <a:off x="2314" y="1538"/>
              <a:ext cx="27" cy="26"/>
            </a:xfrm>
            <a:custGeom>
              <a:avLst/>
              <a:gdLst>
                <a:gd name="T0" fmla="*/ 5 w 27"/>
                <a:gd name="T1" fmla="*/ 13 h 26"/>
                <a:gd name="T2" fmla="*/ 12 w 27"/>
                <a:gd name="T3" fmla="*/ 13 h 26"/>
                <a:gd name="T4" fmla="*/ 13 w 27"/>
                <a:gd name="T5" fmla="*/ 12 h 26"/>
                <a:gd name="T6" fmla="*/ 14 w 27"/>
                <a:gd name="T7" fmla="*/ 5 h 26"/>
                <a:gd name="T8" fmla="*/ 16 w 27"/>
                <a:gd name="T9" fmla="*/ 10 h 26"/>
                <a:gd name="T10" fmla="*/ 18 w 27"/>
                <a:gd name="T11" fmla="*/ 10 h 26"/>
                <a:gd name="T12" fmla="*/ 20 w 27"/>
                <a:gd name="T13" fmla="*/ 4 h 26"/>
                <a:gd name="T14" fmla="*/ 20 w 27"/>
                <a:gd name="T15" fmla="*/ 0 h 26"/>
                <a:gd name="T16" fmla="*/ 25 w 27"/>
                <a:gd name="T17" fmla="*/ 2 h 26"/>
                <a:gd name="T18" fmla="*/ 27 w 27"/>
                <a:gd name="T19" fmla="*/ 7 h 26"/>
                <a:gd name="T20" fmla="*/ 22 w 27"/>
                <a:gd name="T21" fmla="*/ 16 h 26"/>
                <a:gd name="T22" fmla="*/ 22 w 27"/>
                <a:gd name="T23" fmla="*/ 21 h 26"/>
                <a:gd name="T24" fmla="*/ 9 w 27"/>
                <a:gd name="T25" fmla="*/ 26 h 26"/>
                <a:gd name="T26" fmla="*/ 0 w 27"/>
                <a:gd name="T27" fmla="*/ 24 h 26"/>
                <a:gd name="T28" fmla="*/ 1 w 27"/>
                <a:gd name="T29" fmla="*/ 21 h 26"/>
                <a:gd name="T30" fmla="*/ 5 w 27"/>
                <a:gd name="T31" fmla="*/ 21 h 26"/>
                <a:gd name="T32" fmla="*/ 6 w 27"/>
                <a:gd name="T33" fmla="*/ 19 h 26"/>
                <a:gd name="T34" fmla="*/ 5 w 27"/>
                <a:gd name="T35" fmla="*/ 13 h 2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7"/>
                <a:gd name="T55" fmla="*/ 0 h 26"/>
                <a:gd name="T56" fmla="*/ 27 w 27"/>
                <a:gd name="T57" fmla="*/ 26 h 2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7" h="26">
                  <a:moveTo>
                    <a:pt x="5" y="13"/>
                  </a:moveTo>
                  <a:lnTo>
                    <a:pt x="12" y="13"/>
                  </a:lnTo>
                  <a:lnTo>
                    <a:pt x="13" y="12"/>
                  </a:lnTo>
                  <a:lnTo>
                    <a:pt x="14" y="5"/>
                  </a:lnTo>
                  <a:lnTo>
                    <a:pt x="16" y="10"/>
                  </a:lnTo>
                  <a:lnTo>
                    <a:pt x="18" y="1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5" y="2"/>
                  </a:lnTo>
                  <a:lnTo>
                    <a:pt x="27" y="7"/>
                  </a:lnTo>
                  <a:lnTo>
                    <a:pt x="22" y="16"/>
                  </a:lnTo>
                  <a:lnTo>
                    <a:pt x="22" y="21"/>
                  </a:lnTo>
                  <a:lnTo>
                    <a:pt x="9" y="26"/>
                  </a:lnTo>
                  <a:lnTo>
                    <a:pt x="0" y="24"/>
                  </a:lnTo>
                  <a:lnTo>
                    <a:pt x="1" y="21"/>
                  </a:lnTo>
                  <a:lnTo>
                    <a:pt x="5" y="21"/>
                  </a:lnTo>
                  <a:lnTo>
                    <a:pt x="6" y="19"/>
                  </a:lnTo>
                  <a:lnTo>
                    <a:pt x="5" y="13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55" name="Freeform 335"/>
            <p:cNvSpPr>
              <a:spLocks/>
            </p:cNvSpPr>
            <p:nvPr/>
          </p:nvSpPr>
          <p:spPr bwMode="auto">
            <a:xfrm>
              <a:off x="2314" y="1538"/>
              <a:ext cx="27" cy="26"/>
            </a:xfrm>
            <a:custGeom>
              <a:avLst/>
              <a:gdLst>
                <a:gd name="T0" fmla="*/ 5 w 27"/>
                <a:gd name="T1" fmla="*/ 13 h 26"/>
                <a:gd name="T2" fmla="*/ 12 w 27"/>
                <a:gd name="T3" fmla="*/ 13 h 26"/>
                <a:gd name="T4" fmla="*/ 13 w 27"/>
                <a:gd name="T5" fmla="*/ 12 h 26"/>
                <a:gd name="T6" fmla="*/ 14 w 27"/>
                <a:gd name="T7" fmla="*/ 5 h 26"/>
                <a:gd name="T8" fmla="*/ 16 w 27"/>
                <a:gd name="T9" fmla="*/ 10 h 26"/>
                <a:gd name="T10" fmla="*/ 18 w 27"/>
                <a:gd name="T11" fmla="*/ 10 h 26"/>
                <a:gd name="T12" fmla="*/ 20 w 27"/>
                <a:gd name="T13" fmla="*/ 4 h 26"/>
                <a:gd name="T14" fmla="*/ 20 w 27"/>
                <a:gd name="T15" fmla="*/ 0 h 26"/>
                <a:gd name="T16" fmla="*/ 25 w 27"/>
                <a:gd name="T17" fmla="*/ 2 h 26"/>
                <a:gd name="T18" fmla="*/ 27 w 27"/>
                <a:gd name="T19" fmla="*/ 7 h 26"/>
                <a:gd name="T20" fmla="*/ 22 w 27"/>
                <a:gd name="T21" fmla="*/ 16 h 26"/>
                <a:gd name="T22" fmla="*/ 22 w 27"/>
                <a:gd name="T23" fmla="*/ 21 h 26"/>
                <a:gd name="T24" fmla="*/ 9 w 27"/>
                <a:gd name="T25" fmla="*/ 26 h 26"/>
                <a:gd name="T26" fmla="*/ 0 w 27"/>
                <a:gd name="T27" fmla="*/ 24 h 26"/>
                <a:gd name="T28" fmla="*/ 1 w 27"/>
                <a:gd name="T29" fmla="*/ 21 h 26"/>
                <a:gd name="T30" fmla="*/ 5 w 27"/>
                <a:gd name="T31" fmla="*/ 21 h 26"/>
                <a:gd name="T32" fmla="*/ 6 w 27"/>
                <a:gd name="T33" fmla="*/ 19 h 26"/>
                <a:gd name="T34" fmla="*/ 5 w 27"/>
                <a:gd name="T35" fmla="*/ 13 h 2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7"/>
                <a:gd name="T55" fmla="*/ 0 h 26"/>
                <a:gd name="T56" fmla="*/ 27 w 27"/>
                <a:gd name="T57" fmla="*/ 26 h 2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7" h="26">
                  <a:moveTo>
                    <a:pt x="5" y="13"/>
                  </a:moveTo>
                  <a:lnTo>
                    <a:pt x="12" y="13"/>
                  </a:lnTo>
                  <a:lnTo>
                    <a:pt x="13" y="12"/>
                  </a:lnTo>
                  <a:lnTo>
                    <a:pt x="14" y="5"/>
                  </a:lnTo>
                  <a:lnTo>
                    <a:pt x="16" y="10"/>
                  </a:lnTo>
                  <a:lnTo>
                    <a:pt x="18" y="1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5" y="2"/>
                  </a:lnTo>
                  <a:lnTo>
                    <a:pt x="27" y="7"/>
                  </a:lnTo>
                  <a:lnTo>
                    <a:pt x="22" y="16"/>
                  </a:lnTo>
                  <a:lnTo>
                    <a:pt x="22" y="21"/>
                  </a:lnTo>
                  <a:lnTo>
                    <a:pt x="9" y="26"/>
                  </a:lnTo>
                  <a:lnTo>
                    <a:pt x="0" y="24"/>
                  </a:lnTo>
                  <a:lnTo>
                    <a:pt x="1" y="21"/>
                  </a:lnTo>
                  <a:lnTo>
                    <a:pt x="5" y="21"/>
                  </a:lnTo>
                  <a:lnTo>
                    <a:pt x="6" y="19"/>
                  </a:lnTo>
                  <a:lnTo>
                    <a:pt x="5" y="13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06" name="Group 339"/>
          <p:cNvGrpSpPr>
            <a:grpSpLocks/>
          </p:cNvGrpSpPr>
          <p:nvPr/>
        </p:nvGrpSpPr>
        <p:grpSpPr bwMode="auto">
          <a:xfrm>
            <a:off x="4905375" y="2409825"/>
            <a:ext cx="41275" cy="38100"/>
            <a:chOff x="2332" y="1518"/>
            <a:chExt cx="26" cy="24"/>
          </a:xfrm>
        </p:grpSpPr>
        <p:sp>
          <p:nvSpPr>
            <p:cNvPr id="34252" name="Freeform 337"/>
            <p:cNvSpPr>
              <a:spLocks/>
            </p:cNvSpPr>
            <p:nvPr/>
          </p:nvSpPr>
          <p:spPr bwMode="auto">
            <a:xfrm>
              <a:off x="2332" y="1518"/>
              <a:ext cx="26" cy="24"/>
            </a:xfrm>
            <a:custGeom>
              <a:avLst/>
              <a:gdLst>
                <a:gd name="T0" fmla="*/ 5 w 26"/>
                <a:gd name="T1" fmla="*/ 5 h 24"/>
                <a:gd name="T2" fmla="*/ 3 w 26"/>
                <a:gd name="T3" fmla="*/ 8 h 24"/>
                <a:gd name="T4" fmla="*/ 1 w 26"/>
                <a:gd name="T5" fmla="*/ 7 h 24"/>
                <a:gd name="T6" fmla="*/ 0 w 26"/>
                <a:gd name="T7" fmla="*/ 2 h 24"/>
                <a:gd name="T8" fmla="*/ 2 w 26"/>
                <a:gd name="T9" fmla="*/ 0 h 24"/>
                <a:gd name="T10" fmla="*/ 5 w 26"/>
                <a:gd name="T11" fmla="*/ 2 h 24"/>
                <a:gd name="T12" fmla="*/ 10 w 26"/>
                <a:gd name="T13" fmla="*/ 2 h 24"/>
                <a:gd name="T14" fmla="*/ 12 w 26"/>
                <a:gd name="T15" fmla="*/ 2 h 24"/>
                <a:gd name="T16" fmla="*/ 13 w 26"/>
                <a:gd name="T17" fmla="*/ 4 h 24"/>
                <a:gd name="T18" fmla="*/ 13 w 26"/>
                <a:gd name="T19" fmla="*/ 11 h 24"/>
                <a:gd name="T20" fmla="*/ 15 w 26"/>
                <a:gd name="T21" fmla="*/ 11 h 24"/>
                <a:gd name="T22" fmla="*/ 15 w 26"/>
                <a:gd name="T23" fmla="*/ 8 h 24"/>
                <a:gd name="T24" fmla="*/ 19 w 26"/>
                <a:gd name="T25" fmla="*/ 7 h 24"/>
                <a:gd name="T26" fmla="*/ 26 w 26"/>
                <a:gd name="T27" fmla="*/ 9 h 24"/>
                <a:gd name="T28" fmla="*/ 19 w 26"/>
                <a:gd name="T29" fmla="*/ 22 h 24"/>
                <a:gd name="T30" fmla="*/ 15 w 26"/>
                <a:gd name="T31" fmla="*/ 24 h 24"/>
                <a:gd name="T32" fmla="*/ 4 w 26"/>
                <a:gd name="T33" fmla="*/ 16 h 24"/>
                <a:gd name="T34" fmla="*/ 3 w 26"/>
                <a:gd name="T35" fmla="*/ 11 h 24"/>
                <a:gd name="T36" fmla="*/ 5 w 26"/>
                <a:gd name="T37" fmla="*/ 13 h 24"/>
                <a:gd name="T38" fmla="*/ 7 w 26"/>
                <a:gd name="T39" fmla="*/ 6 h 24"/>
                <a:gd name="T40" fmla="*/ 5 w 26"/>
                <a:gd name="T41" fmla="*/ 5 h 2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6"/>
                <a:gd name="T64" fmla="*/ 0 h 24"/>
                <a:gd name="T65" fmla="*/ 26 w 26"/>
                <a:gd name="T66" fmla="*/ 24 h 2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6" h="24">
                  <a:moveTo>
                    <a:pt x="5" y="5"/>
                  </a:moveTo>
                  <a:lnTo>
                    <a:pt x="3" y="8"/>
                  </a:lnTo>
                  <a:lnTo>
                    <a:pt x="1" y="7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2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3" y="4"/>
                  </a:lnTo>
                  <a:lnTo>
                    <a:pt x="13" y="11"/>
                  </a:lnTo>
                  <a:lnTo>
                    <a:pt x="15" y="11"/>
                  </a:lnTo>
                  <a:lnTo>
                    <a:pt x="15" y="8"/>
                  </a:lnTo>
                  <a:lnTo>
                    <a:pt x="19" y="7"/>
                  </a:lnTo>
                  <a:lnTo>
                    <a:pt x="26" y="9"/>
                  </a:lnTo>
                  <a:lnTo>
                    <a:pt x="19" y="22"/>
                  </a:lnTo>
                  <a:lnTo>
                    <a:pt x="15" y="24"/>
                  </a:lnTo>
                  <a:lnTo>
                    <a:pt x="4" y="16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7" y="6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53" name="Freeform 338"/>
            <p:cNvSpPr>
              <a:spLocks/>
            </p:cNvSpPr>
            <p:nvPr/>
          </p:nvSpPr>
          <p:spPr bwMode="auto">
            <a:xfrm>
              <a:off x="2332" y="1518"/>
              <a:ext cx="26" cy="24"/>
            </a:xfrm>
            <a:custGeom>
              <a:avLst/>
              <a:gdLst>
                <a:gd name="T0" fmla="*/ 5 w 26"/>
                <a:gd name="T1" fmla="*/ 5 h 24"/>
                <a:gd name="T2" fmla="*/ 3 w 26"/>
                <a:gd name="T3" fmla="*/ 8 h 24"/>
                <a:gd name="T4" fmla="*/ 1 w 26"/>
                <a:gd name="T5" fmla="*/ 7 h 24"/>
                <a:gd name="T6" fmla="*/ 0 w 26"/>
                <a:gd name="T7" fmla="*/ 2 h 24"/>
                <a:gd name="T8" fmla="*/ 2 w 26"/>
                <a:gd name="T9" fmla="*/ 0 h 24"/>
                <a:gd name="T10" fmla="*/ 5 w 26"/>
                <a:gd name="T11" fmla="*/ 2 h 24"/>
                <a:gd name="T12" fmla="*/ 10 w 26"/>
                <a:gd name="T13" fmla="*/ 2 h 24"/>
                <a:gd name="T14" fmla="*/ 12 w 26"/>
                <a:gd name="T15" fmla="*/ 2 h 24"/>
                <a:gd name="T16" fmla="*/ 13 w 26"/>
                <a:gd name="T17" fmla="*/ 4 h 24"/>
                <a:gd name="T18" fmla="*/ 13 w 26"/>
                <a:gd name="T19" fmla="*/ 11 h 24"/>
                <a:gd name="T20" fmla="*/ 15 w 26"/>
                <a:gd name="T21" fmla="*/ 11 h 24"/>
                <a:gd name="T22" fmla="*/ 15 w 26"/>
                <a:gd name="T23" fmla="*/ 8 h 24"/>
                <a:gd name="T24" fmla="*/ 19 w 26"/>
                <a:gd name="T25" fmla="*/ 7 h 24"/>
                <a:gd name="T26" fmla="*/ 26 w 26"/>
                <a:gd name="T27" fmla="*/ 9 h 24"/>
                <a:gd name="T28" fmla="*/ 19 w 26"/>
                <a:gd name="T29" fmla="*/ 22 h 24"/>
                <a:gd name="T30" fmla="*/ 15 w 26"/>
                <a:gd name="T31" fmla="*/ 24 h 24"/>
                <a:gd name="T32" fmla="*/ 4 w 26"/>
                <a:gd name="T33" fmla="*/ 16 h 24"/>
                <a:gd name="T34" fmla="*/ 3 w 26"/>
                <a:gd name="T35" fmla="*/ 11 h 24"/>
                <a:gd name="T36" fmla="*/ 5 w 26"/>
                <a:gd name="T37" fmla="*/ 13 h 24"/>
                <a:gd name="T38" fmla="*/ 7 w 26"/>
                <a:gd name="T39" fmla="*/ 6 h 24"/>
                <a:gd name="T40" fmla="*/ 5 w 26"/>
                <a:gd name="T41" fmla="*/ 5 h 2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6"/>
                <a:gd name="T64" fmla="*/ 0 h 24"/>
                <a:gd name="T65" fmla="*/ 26 w 26"/>
                <a:gd name="T66" fmla="*/ 24 h 2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6" h="24">
                  <a:moveTo>
                    <a:pt x="5" y="5"/>
                  </a:moveTo>
                  <a:lnTo>
                    <a:pt x="3" y="8"/>
                  </a:lnTo>
                  <a:lnTo>
                    <a:pt x="1" y="7"/>
                  </a:lnTo>
                  <a:lnTo>
                    <a:pt x="0" y="2"/>
                  </a:lnTo>
                  <a:lnTo>
                    <a:pt x="2" y="0"/>
                  </a:lnTo>
                  <a:lnTo>
                    <a:pt x="5" y="2"/>
                  </a:lnTo>
                  <a:lnTo>
                    <a:pt x="10" y="2"/>
                  </a:lnTo>
                  <a:lnTo>
                    <a:pt x="12" y="2"/>
                  </a:lnTo>
                  <a:lnTo>
                    <a:pt x="13" y="4"/>
                  </a:lnTo>
                  <a:lnTo>
                    <a:pt x="13" y="11"/>
                  </a:lnTo>
                  <a:lnTo>
                    <a:pt x="15" y="11"/>
                  </a:lnTo>
                  <a:lnTo>
                    <a:pt x="15" y="8"/>
                  </a:lnTo>
                  <a:lnTo>
                    <a:pt x="19" y="7"/>
                  </a:lnTo>
                  <a:lnTo>
                    <a:pt x="26" y="9"/>
                  </a:lnTo>
                  <a:lnTo>
                    <a:pt x="19" y="22"/>
                  </a:lnTo>
                  <a:lnTo>
                    <a:pt x="15" y="24"/>
                  </a:lnTo>
                  <a:lnTo>
                    <a:pt x="4" y="16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7" y="6"/>
                  </a:lnTo>
                  <a:lnTo>
                    <a:pt x="5" y="5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07" name="Group 342"/>
          <p:cNvGrpSpPr>
            <a:grpSpLocks/>
          </p:cNvGrpSpPr>
          <p:nvPr/>
        </p:nvGrpSpPr>
        <p:grpSpPr bwMode="auto">
          <a:xfrm>
            <a:off x="4945063" y="2389188"/>
            <a:ext cx="23812" cy="30162"/>
            <a:chOff x="2357" y="1505"/>
            <a:chExt cx="15" cy="19"/>
          </a:xfrm>
        </p:grpSpPr>
        <p:sp>
          <p:nvSpPr>
            <p:cNvPr id="34250" name="Freeform 340"/>
            <p:cNvSpPr>
              <a:spLocks/>
            </p:cNvSpPr>
            <p:nvPr/>
          </p:nvSpPr>
          <p:spPr bwMode="auto">
            <a:xfrm>
              <a:off x="2357" y="1505"/>
              <a:ext cx="15" cy="19"/>
            </a:xfrm>
            <a:custGeom>
              <a:avLst/>
              <a:gdLst>
                <a:gd name="T0" fmla="*/ 8 w 15"/>
                <a:gd name="T1" fmla="*/ 7 h 19"/>
                <a:gd name="T2" fmla="*/ 9 w 15"/>
                <a:gd name="T3" fmla="*/ 6 h 19"/>
                <a:gd name="T4" fmla="*/ 9 w 15"/>
                <a:gd name="T5" fmla="*/ 9 h 19"/>
                <a:gd name="T6" fmla="*/ 11 w 15"/>
                <a:gd name="T7" fmla="*/ 9 h 19"/>
                <a:gd name="T8" fmla="*/ 15 w 15"/>
                <a:gd name="T9" fmla="*/ 15 h 19"/>
                <a:gd name="T10" fmla="*/ 13 w 15"/>
                <a:gd name="T11" fmla="*/ 19 h 19"/>
                <a:gd name="T12" fmla="*/ 5 w 15"/>
                <a:gd name="T13" fmla="*/ 15 h 19"/>
                <a:gd name="T14" fmla="*/ 2 w 15"/>
                <a:gd name="T15" fmla="*/ 6 h 19"/>
                <a:gd name="T16" fmla="*/ 0 w 15"/>
                <a:gd name="T17" fmla="*/ 1 h 19"/>
                <a:gd name="T18" fmla="*/ 1 w 15"/>
                <a:gd name="T19" fmla="*/ 0 h 19"/>
                <a:gd name="T20" fmla="*/ 4 w 15"/>
                <a:gd name="T21" fmla="*/ 2 h 19"/>
                <a:gd name="T22" fmla="*/ 6 w 15"/>
                <a:gd name="T23" fmla="*/ 9 h 19"/>
                <a:gd name="T24" fmla="*/ 8 w 15"/>
                <a:gd name="T25" fmla="*/ 7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"/>
                <a:gd name="T40" fmla="*/ 0 h 19"/>
                <a:gd name="T41" fmla="*/ 15 w 15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" h="19">
                  <a:moveTo>
                    <a:pt x="8" y="7"/>
                  </a:moveTo>
                  <a:lnTo>
                    <a:pt x="9" y="6"/>
                  </a:lnTo>
                  <a:lnTo>
                    <a:pt x="9" y="9"/>
                  </a:lnTo>
                  <a:lnTo>
                    <a:pt x="11" y="9"/>
                  </a:lnTo>
                  <a:lnTo>
                    <a:pt x="15" y="15"/>
                  </a:lnTo>
                  <a:lnTo>
                    <a:pt x="13" y="19"/>
                  </a:lnTo>
                  <a:lnTo>
                    <a:pt x="5" y="15"/>
                  </a:lnTo>
                  <a:lnTo>
                    <a:pt x="2" y="6"/>
                  </a:lnTo>
                  <a:lnTo>
                    <a:pt x="0" y="1"/>
                  </a:lnTo>
                  <a:lnTo>
                    <a:pt x="1" y="0"/>
                  </a:lnTo>
                  <a:lnTo>
                    <a:pt x="4" y="2"/>
                  </a:lnTo>
                  <a:lnTo>
                    <a:pt x="6" y="9"/>
                  </a:lnTo>
                  <a:lnTo>
                    <a:pt x="8" y="7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51" name="Freeform 341"/>
            <p:cNvSpPr>
              <a:spLocks/>
            </p:cNvSpPr>
            <p:nvPr/>
          </p:nvSpPr>
          <p:spPr bwMode="auto">
            <a:xfrm>
              <a:off x="2357" y="1505"/>
              <a:ext cx="15" cy="19"/>
            </a:xfrm>
            <a:custGeom>
              <a:avLst/>
              <a:gdLst>
                <a:gd name="T0" fmla="*/ 8 w 15"/>
                <a:gd name="T1" fmla="*/ 7 h 19"/>
                <a:gd name="T2" fmla="*/ 9 w 15"/>
                <a:gd name="T3" fmla="*/ 6 h 19"/>
                <a:gd name="T4" fmla="*/ 9 w 15"/>
                <a:gd name="T5" fmla="*/ 9 h 19"/>
                <a:gd name="T6" fmla="*/ 11 w 15"/>
                <a:gd name="T7" fmla="*/ 9 h 19"/>
                <a:gd name="T8" fmla="*/ 15 w 15"/>
                <a:gd name="T9" fmla="*/ 15 h 19"/>
                <a:gd name="T10" fmla="*/ 13 w 15"/>
                <a:gd name="T11" fmla="*/ 19 h 19"/>
                <a:gd name="T12" fmla="*/ 5 w 15"/>
                <a:gd name="T13" fmla="*/ 15 h 19"/>
                <a:gd name="T14" fmla="*/ 2 w 15"/>
                <a:gd name="T15" fmla="*/ 6 h 19"/>
                <a:gd name="T16" fmla="*/ 0 w 15"/>
                <a:gd name="T17" fmla="*/ 1 h 19"/>
                <a:gd name="T18" fmla="*/ 1 w 15"/>
                <a:gd name="T19" fmla="*/ 0 h 19"/>
                <a:gd name="T20" fmla="*/ 4 w 15"/>
                <a:gd name="T21" fmla="*/ 2 h 19"/>
                <a:gd name="T22" fmla="*/ 6 w 15"/>
                <a:gd name="T23" fmla="*/ 9 h 19"/>
                <a:gd name="T24" fmla="*/ 8 w 15"/>
                <a:gd name="T25" fmla="*/ 7 h 1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"/>
                <a:gd name="T40" fmla="*/ 0 h 19"/>
                <a:gd name="T41" fmla="*/ 15 w 15"/>
                <a:gd name="T42" fmla="*/ 19 h 1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" h="19">
                  <a:moveTo>
                    <a:pt x="8" y="7"/>
                  </a:moveTo>
                  <a:lnTo>
                    <a:pt x="9" y="6"/>
                  </a:lnTo>
                  <a:lnTo>
                    <a:pt x="9" y="9"/>
                  </a:lnTo>
                  <a:lnTo>
                    <a:pt x="11" y="9"/>
                  </a:lnTo>
                  <a:lnTo>
                    <a:pt x="15" y="15"/>
                  </a:lnTo>
                  <a:lnTo>
                    <a:pt x="13" y="19"/>
                  </a:lnTo>
                  <a:lnTo>
                    <a:pt x="5" y="15"/>
                  </a:lnTo>
                  <a:lnTo>
                    <a:pt x="2" y="6"/>
                  </a:lnTo>
                  <a:lnTo>
                    <a:pt x="0" y="1"/>
                  </a:lnTo>
                  <a:lnTo>
                    <a:pt x="1" y="0"/>
                  </a:lnTo>
                  <a:lnTo>
                    <a:pt x="4" y="2"/>
                  </a:lnTo>
                  <a:lnTo>
                    <a:pt x="6" y="9"/>
                  </a:lnTo>
                  <a:lnTo>
                    <a:pt x="8" y="7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08" name="Group 345"/>
          <p:cNvGrpSpPr>
            <a:grpSpLocks/>
          </p:cNvGrpSpPr>
          <p:nvPr/>
        </p:nvGrpSpPr>
        <p:grpSpPr bwMode="auto">
          <a:xfrm>
            <a:off x="4987925" y="2392363"/>
            <a:ext cx="14288" cy="25400"/>
            <a:chOff x="2384" y="1507"/>
            <a:chExt cx="9" cy="16"/>
          </a:xfrm>
        </p:grpSpPr>
        <p:sp>
          <p:nvSpPr>
            <p:cNvPr id="34248" name="Freeform 343"/>
            <p:cNvSpPr>
              <a:spLocks/>
            </p:cNvSpPr>
            <p:nvPr/>
          </p:nvSpPr>
          <p:spPr bwMode="auto">
            <a:xfrm>
              <a:off x="2384" y="1507"/>
              <a:ext cx="9" cy="16"/>
            </a:xfrm>
            <a:custGeom>
              <a:avLst/>
              <a:gdLst>
                <a:gd name="T0" fmla="*/ 6 w 9"/>
                <a:gd name="T1" fmla="*/ 1 h 16"/>
                <a:gd name="T2" fmla="*/ 7 w 9"/>
                <a:gd name="T3" fmla="*/ 0 h 16"/>
                <a:gd name="T4" fmla="*/ 9 w 9"/>
                <a:gd name="T5" fmla="*/ 4 h 16"/>
                <a:gd name="T6" fmla="*/ 8 w 9"/>
                <a:gd name="T7" fmla="*/ 7 h 16"/>
                <a:gd name="T8" fmla="*/ 8 w 9"/>
                <a:gd name="T9" fmla="*/ 14 h 16"/>
                <a:gd name="T10" fmla="*/ 6 w 9"/>
                <a:gd name="T11" fmla="*/ 16 h 16"/>
                <a:gd name="T12" fmla="*/ 4 w 9"/>
                <a:gd name="T13" fmla="*/ 15 h 16"/>
                <a:gd name="T14" fmla="*/ 4 w 9"/>
                <a:gd name="T15" fmla="*/ 10 h 16"/>
                <a:gd name="T16" fmla="*/ 2 w 9"/>
                <a:gd name="T17" fmla="*/ 13 h 16"/>
                <a:gd name="T18" fmla="*/ 0 w 9"/>
                <a:gd name="T19" fmla="*/ 11 h 16"/>
                <a:gd name="T20" fmla="*/ 0 w 9"/>
                <a:gd name="T21" fmla="*/ 6 h 16"/>
                <a:gd name="T22" fmla="*/ 2 w 9"/>
                <a:gd name="T23" fmla="*/ 2 h 16"/>
                <a:gd name="T24" fmla="*/ 6 w 9"/>
                <a:gd name="T25" fmla="*/ 1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6"/>
                <a:gd name="T41" fmla="*/ 9 w 9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6">
                  <a:moveTo>
                    <a:pt x="6" y="1"/>
                  </a:moveTo>
                  <a:lnTo>
                    <a:pt x="7" y="0"/>
                  </a:lnTo>
                  <a:lnTo>
                    <a:pt x="9" y="4"/>
                  </a:lnTo>
                  <a:lnTo>
                    <a:pt x="8" y="7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49" name="Freeform 344"/>
            <p:cNvSpPr>
              <a:spLocks/>
            </p:cNvSpPr>
            <p:nvPr/>
          </p:nvSpPr>
          <p:spPr bwMode="auto">
            <a:xfrm>
              <a:off x="2384" y="1507"/>
              <a:ext cx="9" cy="16"/>
            </a:xfrm>
            <a:custGeom>
              <a:avLst/>
              <a:gdLst>
                <a:gd name="T0" fmla="*/ 6 w 9"/>
                <a:gd name="T1" fmla="*/ 1 h 16"/>
                <a:gd name="T2" fmla="*/ 7 w 9"/>
                <a:gd name="T3" fmla="*/ 0 h 16"/>
                <a:gd name="T4" fmla="*/ 9 w 9"/>
                <a:gd name="T5" fmla="*/ 4 h 16"/>
                <a:gd name="T6" fmla="*/ 8 w 9"/>
                <a:gd name="T7" fmla="*/ 7 h 16"/>
                <a:gd name="T8" fmla="*/ 8 w 9"/>
                <a:gd name="T9" fmla="*/ 14 h 16"/>
                <a:gd name="T10" fmla="*/ 6 w 9"/>
                <a:gd name="T11" fmla="*/ 16 h 16"/>
                <a:gd name="T12" fmla="*/ 4 w 9"/>
                <a:gd name="T13" fmla="*/ 15 h 16"/>
                <a:gd name="T14" fmla="*/ 4 w 9"/>
                <a:gd name="T15" fmla="*/ 10 h 16"/>
                <a:gd name="T16" fmla="*/ 2 w 9"/>
                <a:gd name="T17" fmla="*/ 13 h 16"/>
                <a:gd name="T18" fmla="*/ 0 w 9"/>
                <a:gd name="T19" fmla="*/ 11 h 16"/>
                <a:gd name="T20" fmla="*/ 0 w 9"/>
                <a:gd name="T21" fmla="*/ 6 h 16"/>
                <a:gd name="T22" fmla="*/ 2 w 9"/>
                <a:gd name="T23" fmla="*/ 2 h 16"/>
                <a:gd name="T24" fmla="*/ 6 w 9"/>
                <a:gd name="T25" fmla="*/ 1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"/>
                <a:gd name="T40" fmla="*/ 0 h 16"/>
                <a:gd name="T41" fmla="*/ 9 w 9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" h="16">
                  <a:moveTo>
                    <a:pt x="6" y="1"/>
                  </a:moveTo>
                  <a:lnTo>
                    <a:pt x="7" y="0"/>
                  </a:lnTo>
                  <a:lnTo>
                    <a:pt x="9" y="4"/>
                  </a:lnTo>
                  <a:lnTo>
                    <a:pt x="8" y="7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0" y="11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09" name="Group 348"/>
          <p:cNvGrpSpPr>
            <a:grpSpLocks/>
          </p:cNvGrpSpPr>
          <p:nvPr/>
        </p:nvGrpSpPr>
        <p:grpSpPr bwMode="auto">
          <a:xfrm>
            <a:off x="5076825" y="2373313"/>
            <a:ext cx="22225" cy="17462"/>
            <a:chOff x="2440" y="1495"/>
            <a:chExt cx="14" cy="11"/>
          </a:xfrm>
        </p:grpSpPr>
        <p:sp>
          <p:nvSpPr>
            <p:cNvPr id="34246" name="Freeform 346"/>
            <p:cNvSpPr>
              <a:spLocks/>
            </p:cNvSpPr>
            <p:nvPr/>
          </p:nvSpPr>
          <p:spPr bwMode="auto">
            <a:xfrm>
              <a:off x="2440" y="1495"/>
              <a:ext cx="14" cy="11"/>
            </a:xfrm>
            <a:custGeom>
              <a:avLst/>
              <a:gdLst>
                <a:gd name="T0" fmla="*/ 8 w 14"/>
                <a:gd name="T1" fmla="*/ 11 h 11"/>
                <a:gd name="T2" fmla="*/ 1 w 14"/>
                <a:gd name="T3" fmla="*/ 6 h 11"/>
                <a:gd name="T4" fmla="*/ 0 w 14"/>
                <a:gd name="T5" fmla="*/ 3 h 11"/>
                <a:gd name="T6" fmla="*/ 1 w 14"/>
                <a:gd name="T7" fmla="*/ 0 h 11"/>
                <a:gd name="T8" fmla="*/ 11 w 14"/>
                <a:gd name="T9" fmla="*/ 3 h 11"/>
                <a:gd name="T10" fmla="*/ 13 w 14"/>
                <a:gd name="T11" fmla="*/ 6 h 11"/>
                <a:gd name="T12" fmla="*/ 14 w 14"/>
                <a:gd name="T13" fmla="*/ 10 h 11"/>
                <a:gd name="T14" fmla="*/ 8 w 14"/>
                <a:gd name="T15" fmla="*/ 11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1"/>
                <a:gd name="T26" fmla="*/ 14 w 14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1">
                  <a:moveTo>
                    <a:pt x="8" y="11"/>
                  </a:moveTo>
                  <a:lnTo>
                    <a:pt x="1" y="6"/>
                  </a:lnTo>
                  <a:lnTo>
                    <a:pt x="0" y="3"/>
                  </a:lnTo>
                  <a:lnTo>
                    <a:pt x="1" y="0"/>
                  </a:lnTo>
                  <a:lnTo>
                    <a:pt x="11" y="3"/>
                  </a:lnTo>
                  <a:lnTo>
                    <a:pt x="13" y="6"/>
                  </a:lnTo>
                  <a:lnTo>
                    <a:pt x="14" y="10"/>
                  </a:lnTo>
                  <a:lnTo>
                    <a:pt x="8" y="1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47" name="Freeform 347"/>
            <p:cNvSpPr>
              <a:spLocks/>
            </p:cNvSpPr>
            <p:nvPr/>
          </p:nvSpPr>
          <p:spPr bwMode="auto">
            <a:xfrm>
              <a:off x="2440" y="1495"/>
              <a:ext cx="14" cy="11"/>
            </a:xfrm>
            <a:custGeom>
              <a:avLst/>
              <a:gdLst>
                <a:gd name="T0" fmla="*/ 8 w 14"/>
                <a:gd name="T1" fmla="*/ 11 h 11"/>
                <a:gd name="T2" fmla="*/ 1 w 14"/>
                <a:gd name="T3" fmla="*/ 6 h 11"/>
                <a:gd name="T4" fmla="*/ 0 w 14"/>
                <a:gd name="T5" fmla="*/ 3 h 11"/>
                <a:gd name="T6" fmla="*/ 1 w 14"/>
                <a:gd name="T7" fmla="*/ 0 h 11"/>
                <a:gd name="T8" fmla="*/ 11 w 14"/>
                <a:gd name="T9" fmla="*/ 3 h 11"/>
                <a:gd name="T10" fmla="*/ 13 w 14"/>
                <a:gd name="T11" fmla="*/ 6 h 11"/>
                <a:gd name="T12" fmla="*/ 14 w 14"/>
                <a:gd name="T13" fmla="*/ 10 h 11"/>
                <a:gd name="T14" fmla="*/ 8 w 14"/>
                <a:gd name="T15" fmla="*/ 11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4"/>
                <a:gd name="T25" fmla="*/ 0 h 11"/>
                <a:gd name="T26" fmla="*/ 14 w 14"/>
                <a:gd name="T27" fmla="*/ 11 h 1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4" h="11">
                  <a:moveTo>
                    <a:pt x="8" y="11"/>
                  </a:moveTo>
                  <a:lnTo>
                    <a:pt x="1" y="6"/>
                  </a:lnTo>
                  <a:lnTo>
                    <a:pt x="0" y="3"/>
                  </a:lnTo>
                  <a:lnTo>
                    <a:pt x="1" y="0"/>
                  </a:lnTo>
                  <a:lnTo>
                    <a:pt x="11" y="3"/>
                  </a:lnTo>
                  <a:lnTo>
                    <a:pt x="13" y="6"/>
                  </a:lnTo>
                  <a:lnTo>
                    <a:pt x="14" y="10"/>
                  </a:lnTo>
                  <a:lnTo>
                    <a:pt x="8" y="1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10" name="Group 351"/>
          <p:cNvGrpSpPr>
            <a:grpSpLocks/>
          </p:cNvGrpSpPr>
          <p:nvPr/>
        </p:nvGrpSpPr>
        <p:grpSpPr bwMode="auto">
          <a:xfrm>
            <a:off x="5057775" y="2324100"/>
            <a:ext cx="47625" cy="36513"/>
            <a:chOff x="2428" y="1464"/>
            <a:chExt cx="30" cy="23"/>
          </a:xfrm>
        </p:grpSpPr>
        <p:sp>
          <p:nvSpPr>
            <p:cNvPr id="34244" name="Freeform 349"/>
            <p:cNvSpPr>
              <a:spLocks/>
            </p:cNvSpPr>
            <p:nvPr/>
          </p:nvSpPr>
          <p:spPr bwMode="auto">
            <a:xfrm>
              <a:off x="2428" y="1464"/>
              <a:ext cx="30" cy="23"/>
            </a:xfrm>
            <a:custGeom>
              <a:avLst/>
              <a:gdLst>
                <a:gd name="T0" fmla="*/ 9 w 30"/>
                <a:gd name="T1" fmla="*/ 6 h 23"/>
                <a:gd name="T2" fmla="*/ 11 w 30"/>
                <a:gd name="T3" fmla="*/ 5 h 23"/>
                <a:gd name="T4" fmla="*/ 11 w 30"/>
                <a:gd name="T5" fmla="*/ 3 h 23"/>
                <a:gd name="T6" fmla="*/ 13 w 30"/>
                <a:gd name="T7" fmla="*/ 4 h 23"/>
                <a:gd name="T8" fmla="*/ 14 w 30"/>
                <a:gd name="T9" fmla="*/ 2 h 23"/>
                <a:gd name="T10" fmla="*/ 15 w 30"/>
                <a:gd name="T11" fmla="*/ 2 h 23"/>
                <a:gd name="T12" fmla="*/ 15 w 30"/>
                <a:gd name="T13" fmla="*/ 8 h 23"/>
                <a:gd name="T14" fmla="*/ 21 w 30"/>
                <a:gd name="T15" fmla="*/ 6 h 23"/>
                <a:gd name="T16" fmla="*/ 21 w 30"/>
                <a:gd name="T17" fmla="*/ 0 h 23"/>
                <a:gd name="T18" fmla="*/ 24 w 30"/>
                <a:gd name="T19" fmla="*/ 0 h 23"/>
                <a:gd name="T20" fmla="*/ 25 w 30"/>
                <a:gd name="T21" fmla="*/ 4 h 23"/>
                <a:gd name="T22" fmla="*/ 29 w 30"/>
                <a:gd name="T23" fmla="*/ 5 h 23"/>
                <a:gd name="T24" fmla="*/ 30 w 30"/>
                <a:gd name="T25" fmla="*/ 8 h 23"/>
                <a:gd name="T26" fmla="*/ 30 w 30"/>
                <a:gd name="T27" fmla="*/ 12 h 23"/>
                <a:gd name="T28" fmla="*/ 27 w 30"/>
                <a:gd name="T29" fmla="*/ 12 h 23"/>
                <a:gd name="T30" fmla="*/ 27 w 30"/>
                <a:gd name="T31" fmla="*/ 16 h 23"/>
                <a:gd name="T32" fmla="*/ 24 w 30"/>
                <a:gd name="T33" fmla="*/ 18 h 23"/>
                <a:gd name="T34" fmla="*/ 21 w 30"/>
                <a:gd name="T35" fmla="*/ 16 h 23"/>
                <a:gd name="T36" fmla="*/ 18 w 30"/>
                <a:gd name="T37" fmla="*/ 19 h 23"/>
                <a:gd name="T38" fmla="*/ 15 w 30"/>
                <a:gd name="T39" fmla="*/ 20 h 23"/>
                <a:gd name="T40" fmla="*/ 13 w 30"/>
                <a:gd name="T41" fmla="*/ 18 h 23"/>
                <a:gd name="T42" fmla="*/ 9 w 30"/>
                <a:gd name="T43" fmla="*/ 20 h 23"/>
                <a:gd name="T44" fmla="*/ 7 w 30"/>
                <a:gd name="T45" fmla="*/ 17 h 23"/>
                <a:gd name="T46" fmla="*/ 6 w 30"/>
                <a:gd name="T47" fmla="*/ 23 h 23"/>
                <a:gd name="T48" fmla="*/ 4 w 30"/>
                <a:gd name="T49" fmla="*/ 12 h 23"/>
                <a:gd name="T50" fmla="*/ 0 w 30"/>
                <a:gd name="T51" fmla="*/ 11 h 23"/>
                <a:gd name="T52" fmla="*/ 3 w 30"/>
                <a:gd name="T53" fmla="*/ 7 h 23"/>
                <a:gd name="T54" fmla="*/ 7 w 30"/>
                <a:gd name="T55" fmla="*/ 8 h 23"/>
                <a:gd name="T56" fmla="*/ 9 w 30"/>
                <a:gd name="T57" fmla="*/ 6 h 2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0"/>
                <a:gd name="T88" fmla="*/ 0 h 23"/>
                <a:gd name="T89" fmla="*/ 30 w 30"/>
                <a:gd name="T90" fmla="*/ 23 h 2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0" h="23">
                  <a:moveTo>
                    <a:pt x="9" y="6"/>
                  </a:moveTo>
                  <a:lnTo>
                    <a:pt x="11" y="5"/>
                  </a:lnTo>
                  <a:lnTo>
                    <a:pt x="11" y="3"/>
                  </a:lnTo>
                  <a:lnTo>
                    <a:pt x="13" y="4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8"/>
                  </a:lnTo>
                  <a:lnTo>
                    <a:pt x="21" y="6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5" y="4"/>
                  </a:lnTo>
                  <a:lnTo>
                    <a:pt x="29" y="5"/>
                  </a:lnTo>
                  <a:lnTo>
                    <a:pt x="30" y="8"/>
                  </a:lnTo>
                  <a:lnTo>
                    <a:pt x="30" y="12"/>
                  </a:lnTo>
                  <a:lnTo>
                    <a:pt x="27" y="12"/>
                  </a:lnTo>
                  <a:lnTo>
                    <a:pt x="27" y="16"/>
                  </a:lnTo>
                  <a:lnTo>
                    <a:pt x="24" y="18"/>
                  </a:lnTo>
                  <a:lnTo>
                    <a:pt x="21" y="16"/>
                  </a:lnTo>
                  <a:lnTo>
                    <a:pt x="18" y="19"/>
                  </a:lnTo>
                  <a:lnTo>
                    <a:pt x="15" y="20"/>
                  </a:lnTo>
                  <a:lnTo>
                    <a:pt x="13" y="18"/>
                  </a:lnTo>
                  <a:lnTo>
                    <a:pt x="9" y="20"/>
                  </a:lnTo>
                  <a:lnTo>
                    <a:pt x="7" y="17"/>
                  </a:lnTo>
                  <a:lnTo>
                    <a:pt x="6" y="23"/>
                  </a:lnTo>
                  <a:lnTo>
                    <a:pt x="4" y="12"/>
                  </a:lnTo>
                  <a:lnTo>
                    <a:pt x="0" y="11"/>
                  </a:lnTo>
                  <a:lnTo>
                    <a:pt x="3" y="7"/>
                  </a:lnTo>
                  <a:lnTo>
                    <a:pt x="7" y="8"/>
                  </a:lnTo>
                  <a:lnTo>
                    <a:pt x="9" y="6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45" name="Freeform 350"/>
            <p:cNvSpPr>
              <a:spLocks/>
            </p:cNvSpPr>
            <p:nvPr/>
          </p:nvSpPr>
          <p:spPr bwMode="auto">
            <a:xfrm>
              <a:off x="2428" y="1464"/>
              <a:ext cx="30" cy="23"/>
            </a:xfrm>
            <a:custGeom>
              <a:avLst/>
              <a:gdLst>
                <a:gd name="T0" fmla="*/ 9 w 30"/>
                <a:gd name="T1" fmla="*/ 6 h 23"/>
                <a:gd name="T2" fmla="*/ 11 w 30"/>
                <a:gd name="T3" fmla="*/ 5 h 23"/>
                <a:gd name="T4" fmla="*/ 11 w 30"/>
                <a:gd name="T5" fmla="*/ 3 h 23"/>
                <a:gd name="T6" fmla="*/ 13 w 30"/>
                <a:gd name="T7" fmla="*/ 4 h 23"/>
                <a:gd name="T8" fmla="*/ 14 w 30"/>
                <a:gd name="T9" fmla="*/ 2 h 23"/>
                <a:gd name="T10" fmla="*/ 15 w 30"/>
                <a:gd name="T11" fmla="*/ 2 h 23"/>
                <a:gd name="T12" fmla="*/ 15 w 30"/>
                <a:gd name="T13" fmla="*/ 8 h 23"/>
                <a:gd name="T14" fmla="*/ 21 w 30"/>
                <a:gd name="T15" fmla="*/ 6 h 23"/>
                <a:gd name="T16" fmla="*/ 21 w 30"/>
                <a:gd name="T17" fmla="*/ 0 h 23"/>
                <a:gd name="T18" fmla="*/ 24 w 30"/>
                <a:gd name="T19" fmla="*/ 0 h 23"/>
                <a:gd name="T20" fmla="*/ 25 w 30"/>
                <a:gd name="T21" fmla="*/ 4 h 23"/>
                <a:gd name="T22" fmla="*/ 29 w 30"/>
                <a:gd name="T23" fmla="*/ 5 h 23"/>
                <a:gd name="T24" fmla="*/ 30 w 30"/>
                <a:gd name="T25" fmla="*/ 8 h 23"/>
                <a:gd name="T26" fmla="*/ 30 w 30"/>
                <a:gd name="T27" fmla="*/ 12 h 23"/>
                <a:gd name="T28" fmla="*/ 27 w 30"/>
                <a:gd name="T29" fmla="*/ 12 h 23"/>
                <a:gd name="T30" fmla="*/ 27 w 30"/>
                <a:gd name="T31" fmla="*/ 16 h 23"/>
                <a:gd name="T32" fmla="*/ 24 w 30"/>
                <a:gd name="T33" fmla="*/ 18 h 23"/>
                <a:gd name="T34" fmla="*/ 21 w 30"/>
                <a:gd name="T35" fmla="*/ 16 h 23"/>
                <a:gd name="T36" fmla="*/ 18 w 30"/>
                <a:gd name="T37" fmla="*/ 19 h 23"/>
                <a:gd name="T38" fmla="*/ 15 w 30"/>
                <a:gd name="T39" fmla="*/ 20 h 23"/>
                <a:gd name="T40" fmla="*/ 13 w 30"/>
                <a:gd name="T41" fmla="*/ 18 h 23"/>
                <a:gd name="T42" fmla="*/ 9 w 30"/>
                <a:gd name="T43" fmla="*/ 20 h 23"/>
                <a:gd name="T44" fmla="*/ 7 w 30"/>
                <a:gd name="T45" fmla="*/ 17 h 23"/>
                <a:gd name="T46" fmla="*/ 6 w 30"/>
                <a:gd name="T47" fmla="*/ 23 h 23"/>
                <a:gd name="T48" fmla="*/ 4 w 30"/>
                <a:gd name="T49" fmla="*/ 12 h 23"/>
                <a:gd name="T50" fmla="*/ 0 w 30"/>
                <a:gd name="T51" fmla="*/ 11 h 23"/>
                <a:gd name="T52" fmla="*/ 3 w 30"/>
                <a:gd name="T53" fmla="*/ 7 h 23"/>
                <a:gd name="T54" fmla="*/ 7 w 30"/>
                <a:gd name="T55" fmla="*/ 8 h 23"/>
                <a:gd name="T56" fmla="*/ 9 w 30"/>
                <a:gd name="T57" fmla="*/ 6 h 23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0"/>
                <a:gd name="T88" fmla="*/ 0 h 23"/>
                <a:gd name="T89" fmla="*/ 30 w 30"/>
                <a:gd name="T90" fmla="*/ 23 h 23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0" h="23">
                  <a:moveTo>
                    <a:pt x="9" y="6"/>
                  </a:moveTo>
                  <a:lnTo>
                    <a:pt x="11" y="5"/>
                  </a:lnTo>
                  <a:lnTo>
                    <a:pt x="11" y="3"/>
                  </a:lnTo>
                  <a:lnTo>
                    <a:pt x="13" y="4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8"/>
                  </a:lnTo>
                  <a:lnTo>
                    <a:pt x="21" y="6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5" y="4"/>
                  </a:lnTo>
                  <a:lnTo>
                    <a:pt x="29" y="5"/>
                  </a:lnTo>
                  <a:lnTo>
                    <a:pt x="30" y="8"/>
                  </a:lnTo>
                  <a:lnTo>
                    <a:pt x="30" y="12"/>
                  </a:lnTo>
                  <a:lnTo>
                    <a:pt x="27" y="12"/>
                  </a:lnTo>
                  <a:lnTo>
                    <a:pt x="27" y="16"/>
                  </a:lnTo>
                  <a:lnTo>
                    <a:pt x="24" y="18"/>
                  </a:lnTo>
                  <a:lnTo>
                    <a:pt x="21" y="16"/>
                  </a:lnTo>
                  <a:lnTo>
                    <a:pt x="18" y="19"/>
                  </a:lnTo>
                  <a:lnTo>
                    <a:pt x="15" y="20"/>
                  </a:lnTo>
                  <a:lnTo>
                    <a:pt x="13" y="18"/>
                  </a:lnTo>
                  <a:lnTo>
                    <a:pt x="9" y="20"/>
                  </a:lnTo>
                  <a:lnTo>
                    <a:pt x="7" y="17"/>
                  </a:lnTo>
                  <a:lnTo>
                    <a:pt x="6" y="23"/>
                  </a:lnTo>
                  <a:lnTo>
                    <a:pt x="4" y="12"/>
                  </a:lnTo>
                  <a:lnTo>
                    <a:pt x="0" y="11"/>
                  </a:lnTo>
                  <a:lnTo>
                    <a:pt x="3" y="7"/>
                  </a:lnTo>
                  <a:lnTo>
                    <a:pt x="7" y="8"/>
                  </a:lnTo>
                  <a:lnTo>
                    <a:pt x="9" y="6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11" name="Group 354"/>
          <p:cNvGrpSpPr>
            <a:grpSpLocks/>
          </p:cNvGrpSpPr>
          <p:nvPr/>
        </p:nvGrpSpPr>
        <p:grpSpPr bwMode="auto">
          <a:xfrm>
            <a:off x="5099050" y="2346325"/>
            <a:ext cx="30163" cy="36513"/>
            <a:chOff x="2454" y="1478"/>
            <a:chExt cx="19" cy="23"/>
          </a:xfrm>
        </p:grpSpPr>
        <p:sp>
          <p:nvSpPr>
            <p:cNvPr id="34242" name="Freeform 352"/>
            <p:cNvSpPr>
              <a:spLocks/>
            </p:cNvSpPr>
            <p:nvPr/>
          </p:nvSpPr>
          <p:spPr bwMode="auto">
            <a:xfrm>
              <a:off x="2454" y="1478"/>
              <a:ext cx="19" cy="23"/>
            </a:xfrm>
            <a:custGeom>
              <a:avLst/>
              <a:gdLst>
                <a:gd name="T0" fmla="*/ 13 w 19"/>
                <a:gd name="T1" fmla="*/ 20 h 23"/>
                <a:gd name="T2" fmla="*/ 12 w 19"/>
                <a:gd name="T3" fmla="*/ 19 h 23"/>
                <a:gd name="T4" fmla="*/ 12 w 19"/>
                <a:gd name="T5" fmla="*/ 21 h 23"/>
                <a:gd name="T6" fmla="*/ 9 w 19"/>
                <a:gd name="T7" fmla="*/ 23 h 23"/>
                <a:gd name="T8" fmla="*/ 4 w 19"/>
                <a:gd name="T9" fmla="*/ 22 h 23"/>
                <a:gd name="T10" fmla="*/ 1 w 19"/>
                <a:gd name="T11" fmla="*/ 19 h 23"/>
                <a:gd name="T12" fmla="*/ 1 w 19"/>
                <a:gd name="T13" fmla="*/ 16 h 23"/>
                <a:gd name="T14" fmla="*/ 1 w 19"/>
                <a:gd name="T15" fmla="*/ 13 h 23"/>
                <a:gd name="T16" fmla="*/ 0 w 19"/>
                <a:gd name="T17" fmla="*/ 9 h 23"/>
                <a:gd name="T18" fmla="*/ 2 w 19"/>
                <a:gd name="T19" fmla="*/ 6 h 23"/>
                <a:gd name="T20" fmla="*/ 5 w 19"/>
                <a:gd name="T21" fmla="*/ 8 h 23"/>
                <a:gd name="T22" fmla="*/ 7 w 19"/>
                <a:gd name="T23" fmla="*/ 2 h 23"/>
                <a:gd name="T24" fmla="*/ 12 w 19"/>
                <a:gd name="T25" fmla="*/ 4 h 23"/>
                <a:gd name="T26" fmla="*/ 14 w 19"/>
                <a:gd name="T27" fmla="*/ 0 h 23"/>
                <a:gd name="T28" fmla="*/ 18 w 19"/>
                <a:gd name="T29" fmla="*/ 5 h 23"/>
                <a:gd name="T30" fmla="*/ 19 w 19"/>
                <a:gd name="T31" fmla="*/ 9 h 23"/>
                <a:gd name="T32" fmla="*/ 17 w 19"/>
                <a:gd name="T33" fmla="*/ 15 h 23"/>
                <a:gd name="T34" fmla="*/ 13 w 19"/>
                <a:gd name="T35" fmla="*/ 20 h 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9"/>
                <a:gd name="T55" fmla="*/ 0 h 23"/>
                <a:gd name="T56" fmla="*/ 19 w 19"/>
                <a:gd name="T57" fmla="*/ 23 h 2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9" h="23">
                  <a:moveTo>
                    <a:pt x="13" y="20"/>
                  </a:moveTo>
                  <a:lnTo>
                    <a:pt x="12" y="19"/>
                  </a:lnTo>
                  <a:lnTo>
                    <a:pt x="12" y="21"/>
                  </a:lnTo>
                  <a:lnTo>
                    <a:pt x="9" y="23"/>
                  </a:lnTo>
                  <a:lnTo>
                    <a:pt x="4" y="22"/>
                  </a:lnTo>
                  <a:lnTo>
                    <a:pt x="1" y="19"/>
                  </a:lnTo>
                  <a:lnTo>
                    <a:pt x="1" y="16"/>
                  </a:lnTo>
                  <a:lnTo>
                    <a:pt x="1" y="13"/>
                  </a:lnTo>
                  <a:lnTo>
                    <a:pt x="0" y="9"/>
                  </a:lnTo>
                  <a:lnTo>
                    <a:pt x="2" y="6"/>
                  </a:lnTo>
                  <a:lnTo>
                    <a:pt x="5" y="8"/>
                  </a:lnTo>
                  <a:lnTo>
                    <a:pt x="7" y="2"/>
                  </a:lnTo>
                  <a:lnTo>
                    <a:pt x="12" y="4"/>
                  </a:lnTo>
                  <a:lnTo>
                    <a:pt x="14" y="0"/>
                  </a:lnTo>
                  <a:lnTo>
                    <a:pt x="18" y="5"/>
                  </a:lnTo>
                  <a:lnTo>
                    <a:pt x="19" y="9"/>
                  </a:lnTo>
                  <a:lnTo>
                    <a:pt x="17" y="15"/>
                  </a:lnTo>
                  <a:lnTo>
                    <a:pt x="13" y="20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43" name="Freeform 353"/>
            <p:cNvSpPr>
              <a:spLocks/>
            </p:cNvSpPr>
            <p:nvPr/>
          </p:nvSpPr>
          <p:spPr bwMode="auto">
            <a:xfrm>
              <a:off x="2454" y="1478"/>
              <a:ext cx="19" cy="23"/>
            </a:xfrm>
            <a:custGeom>
              <a:avLst/>
              <a:gdLst>
                <a:gd name="T0" fmla="*/ 13 w 19"/>
                <a:gd name="T1" fmla="*/ 20 h 23"/>
                <a:gd name="T2" fmla="*/ 12 w 19"/>
                <a:gd name="T3" fmla="*/ 19 h 23"/>
                <a:gd name="T4" fmla="*/ 12 w 19"/>
                <a:gd name="T5" fmla="*/ 21 h 23"/>
                <a:gd name="T6" fmla="*/ 9 w 19"/>
                <a:gd name="T7" fmla="*/ 23 h 23"/>
                <a:gd name="T8" fmla="*/ 4 w 19"/>
                <a:gd name="T9" fmla="*/ 22 h 23"/>
                <a:gd name="T10" fmla="*/ 1 w 19"/>
                <a:gd name="T11" fmla="*/ 19 h 23"/>
                <a:gd name="T12" fmla="*/ 1 w 19"/>
                <a:gd name="T13" fmla="*/ 16 h 23"/>
                <a:gd name="T14" fmla="*/ 1 w 19"/>
                <a:gd name="T15" fmla="*/ 13 h 23"/>
                <a:gd name="T16" fmla="*/ 0 w 19"/>
                <a:gd name="T17" fmla="*/ 9 h 23"/>
                <a:gd name="T18" fmla="*/ 2 w 19"/>
                <a:gd name="T19" fmla="*/ 6 h 23"/>
                <a:gd name="T20" fmla="*/ 5 w 19"/>
                <a:gd name="T21" fmla="*/ 8 h 23"/>
                <a:gd name="T22" fmla="*/ 7 w 19"/>
                <a:gd name="T23" fmla="*/ 2 h 23"/>
                <a:gd name="T24" fmla="*/ 12 w 19"/>
                <a:gd name="T25" fmla="*/ 4 h 23"/>
                <a:gd name="T26" fmla="*/ 14 w 19"/>
                <a:gd name="T27" fmla="*/ 0 h 23"/>
                <a:gd name="T28" fmla="*/ 18 w 19"/>
                <a:gd name="T29" fmla="*/ 5 h 23"/>
                <a:gd name="T30" fmla="*/ 19 w 19"/>
                <a:gd name="T31" fmla="*/ 9 h 23"/>
                <a:gd name="T32" fmla="*/ 17 w 19"/>
                <a:gd name="T33" fmla="*/ 15 h 23"/>
                <a:gd name="T34" fmla="*/ 13 w 19"/>
                <a:gd name="T35" fmla="*/ 20 h 2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9"/>
                <a:gd name="T55" fmla="*/ 0 h 23"/>
                <a:gd name="T56" fmla="*/ 19 w 19"/>
                <a:gd name="T57" fmla="*/ 23 h 2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9" h="23">
                  <a:moveTo>
                    <a:pt x="13" y="20"/>
                  </a:moveTo>
                  <a:lnTo>
                    <a:pt x="12" y="19"/>
                  </a:lnTo>
                  <a:lnTo>
                    <a:pt x="12" y="21"/>
                  </a:lnTo>
                  <a:lnTo>
                    <a:pt x="9" y="23"/>
                  </a:lnTo>
                  <a:lnTo>
                    <a:pt x="4" y="22"/>
                  </a:lnTo>
                  <a:lnTo>
                    <a:pt x="1" y="19"/>
                  </a:lnTo>
                  <a:lnTo>
                    <a:pt x="1" y="16"/>
                  </a:lnTo>
                  <a:lnTo>
                    <a:pt x="1" y="13"/>
                  </a:lnTo>
                  <a:lnTo>
                    <a:pt x="0" y="9"/>
                  </a:lnTo>
                  <a:lnTo>
                    <a:pt x="2" y="6"/>
                  </a:lnTo>
                  <a:lnTo>
                    <a:pt x="5" y="8"/>
                  </a:lnTo>
                  <a:lnTo>
                    <a:pt x="7" y="2"/>
                  </a:lnTo>
                  <a:lnTo>
                    <a:pt x="12" y="4"/>
                  </a:lnTo>
                  <a:lnTo>
                    <a:pt x="14" y="0"/>
                  </a:lnTo>
                  <a:lnTo>
                    <a:pt x="18" y="5"/>
                  </a:lnTo>
                  <a:lnTo>
                    <a:pt x="19" y="9"/>
                  </a:lnTo>
                  <a:lnTo>
                    <a:pt x="17" y="15"/>
                  </a:lnTo>
                  <a:lnTo>
                    <a:pt x="13" y="2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12" name="Group 357"/>
          <p:cNvGrpSpPr>
            <a:grpSpLocks/>
          </p:cNvGrpSpPr>
          <p:nvPr/>
        </p:nvGrpSpPr>
        <p:grpSpPr bwMode="auto">
          <a:xfrm>
            <a:off x="5133975" y="2322513"/>
            <a:ext cx="17463" cy="33337"/>
            <a:chOff x="2476" y="1463"/>
            <a:chExt cx="11" cy="21"/>
          </a:xfrm>
        </p:grpSpPr>
        <p:sp>
          <p:nvSpPr>
            <p:cNvPr id="34240" name="Freeform 355"/>
            <p:cNvSpPr>
              <a:spLocks/>
            </p:cNvSpPr>
            <p:nvPr/>
          </p:nvSpPr>
          <p:spPr bwMode="auto">
            <a:xfrm>
              <a:off x="2476" y="1463"/>
              <a:ext cx="11" cy="21"/>
            </a:xfrm>
            <a:custGeom>
              <a:avLst/>
              <a:gdLst>
                <a:gd name="T0" fmla="*/ 7 w 11"/>
                <a:gd name="T1" fmla="*/ 18 h 21"/>
                <a:gd name="T2" fmla="*/ 5 w 11"/>
                <a:gd name="T3" fmla="*/ 21 h 21"/>
                <a:gd name="T4" fmla="*/ 2 w 11"/>
                <a:gd name="T5" fmla="*/ 11 h 21"/>
                <a:gd name="T6" fmla="*/ 0 w 11"/>
                <a:gd name="T7" fmla="*/ 3 h 21"/>
                <a:gd name="T8" fmla="*/ 1 w 11"/>
                <a:gd name="T9" fmla="*/ 0 h 21"/>
                <a:gd name="T10" fmla="*/ 3 w 11"/>
                <a:gd name="T11" fmla="*/ 4 h 21"/>
                <a:gd name="T12" fmla="*/ 6 w 11"/>
                <a:gd name="T13" fmla="*/ 4 h 21"/>
                <a:gd name="T14" fmla="*/ 9 w 11"/>
                <a:gd name="T15" fmla="*/ 7 h 21"/>
                <a:gd name="T16" fmla="*/ 11 w 11"/>
                <a:gd name="T17" fmla="*/ 14 h 21"/>
                <a:gd name="T18" fmla="*/ 11 w 11"/>
                <a:gd name="T19" fmla="*/ 18 h 21"/>
                <a:gd name="T20" fmla="*/ 7 w 11"/>
                <a:gd name="T21" fmla="*/ 18 h 2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21"/>
                <a:gd name="T35" fmla="*/ 11 w 11"/>
                <a:gd name="T36" fmla="*/ 21 h 2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21">
                  <a:moveTo>
                    <a:pt x="7" y="18"/>
                  </a:moveTo>
                  <a:lnTo>
                    <a:pt x="5" y="21"/>
                  </a:lnTo>
                  <a:lnTo>
                    <a:pt x="2" y="11"/>
                  </a:lnTo>
                  <a:lnTo>
                    <a:pt x="0" y="3"/>
                  </a:lnTo>
                  <a:lnTo>
                    <a:pt x="1" y="0"/>
                  </a:lnTo>
                  <a:lnTo>
                    <a:pt x="3" y="4"/>
                  </a:lnTo>
                  <a:lnTo>
                    <a:pt x="6" y="4"/>
                  </a:lnTo>
                  <a:lnTo>
                    <a:pt x="9" y="7"/>
                  </a:lnTo>
                  <a:lnTo>
                    <a:pt x="11" y="14"/>
                  </a:lnTo>
                  <a:lnTo>
                    <a:pt x="11" y="18"/>
                  </a:lnTo>
                  <a:lnTo>
                    <a:pt x="7" y="18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41" name="Freeform 356"/>
            <p:cNvSpPr>
              <a:spLocks/>
            </p:cNvSpPr>
            <p:nvPr/>
          </p:nvSpPr>
          <p:spPr bwMode="auto">
            <a:xfrm>
              <a:off x="2476" y="1463"/>
              <a:ext cx="11" cy="21"/>
            </a:xfrm>
            <a:custGeom>
              <a:avLst/>
              <a:gdLst>
                <a:gd name="T0" fmla="*/ 7 w 11"/>
                <a:gd name="T1" fmla="*/ 18 h 21"/>
                <a:gd name="T2" fmla="*/ 5 w 11"/>
                <a:gd name="T3" fmla="*/ 21 h 21"/>
                <a:gd name="T4" fmla="*/ 2 w 11"/>
                <a:gd name="T5" fmla="*/ 11 h 21"/>
                <a:gd name="T6" fmla="*/ 0 w 11"/>
                <a:gd name="T7" fmla="*/ 3 h 21"/>
                <a:gd name="T8" fmla="*/ 1 w 11"/>
                <a:gd name="T9" fmla="*/ 0 h 21"/>
                <a:gd name="T10" fmla="*/ 3 w 11"/>
                <a:gd name="T11" fmla="*/ 4 h 21"/>
                <a:gd name="T12" fmla="*/ 6 w 11"/>
                <a:gd name="T13" fmla="*/ 4 h 21"/>
                <a:gd name="T14" fmla="*/ 9 w 11"/>
                <a:gd name="T15" fmla="*/ 7 h 21"/>
                <a:gd name="T16" fmla="*/ 11 w 11"/>
                <a:gd name="T17" fmla="*/ 14 h 21"/>
                <a:gd name="T18" fmla="*/ 11 w 11"/>
                <a:gd name="T19" fmla="*/ 18 h 21"/>
                <a:gd name="T20" fmla="*/ 7 w 11"/>
                <a:gd name="T21" fmla="*/ 18 h 2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21"/>
                <a:gd name="T35" fmla="*/ 11 w 11"/>
                <a:gd name="T36" fmla="*/ 21 h 2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21">
                  <a:moveTo>
                    <a:pt x="7" y="18"/>
                  </a:moveTo>
                  <a:lnTo>
                    <a:pt x="5" y="21"/>
                  </a:lnTo>
                  <a:lnTo>
                    <a:pt x="2" y="11"/>
                  </a:lnTo>
                  <a:lnTo>
                    <a:pt x="0" y="3"/>
                  </a:lnTo>
                  <a:lnTo>
                    <a:pt x="1" y="0"/>
                  </a:lnTo>
                  <a:lnTo>
                    <a:pt x="3" y="4"/>
                  </a:lnTo>
                  <a:lnTo>
                    <a:pt x="6" y="4"/>
                  </a:lnTo>
                  <a:lnTo>
                    <a:pt x="9" y="7"/>
                  </a:lnTo>
                  <a:lnTo>
                    <a:pt x="11" y="14"/>
                  </a:lnTo>
                  <a:lnTo>
                    <a:pt x="11" y="18"/>
                  </a:lnTo>
                  <a:lnTo>
                    <a:pt x="7" y="18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13" name="Group 360"/>
          <p:cNvGrpSpPr>
            <a:grpSpLocks/>
          </p:cNvGrpSpPr>
          <p:nvPr/>
        </p:nvGrpSpPr>
        <p:grpSpPr bwMode="auto">
          <a:xfrm>
            <a:off x="5205413" y="2270125"/>
            <a:ext cx="34925" cy="26988"/>
            <a:chOff x="2521" y="1430"/>
            <a:chExt cx="22" cy="17"/>
          </a:xfrm>
        </p:grpSpPr>
        <p:sp>
          <p:nvSpPr>
            <p:cNvPr id="34238" name="Freeform 358"/>
            <p:cNvSpPr>
              <a:spLocks/>
            </p:cNvSpPr>
            <p:nvPr/>
          </p:nvSpPr>
          <p:spPr bwMode="auto">
            <a:xfrm>
              <a:off x="2521" y="1430"/>
              <a:ext cx="22" cy="17"/>
            </a:xfrm>
            <a:custGeom>
              <a:avLst/>
              <a:gdLst>
                <a:gd name="T0" fmla="*/ 17 w 22"/>
                <a:gd name="T1" fmla="*/ 4 h 17"/>
                <a:gd name="T2" fmla="*/ 21 w 22"/>
                <a:gd name="T3" fmla="*/ 10 h 17"/>
                <a:gd name="T4" fmla="*/ 22 w 22"/>
                <a:gd name="T5" fmla="*/ 15 h 17"/>
                <a:gd name="T6" fmla="*/ 17 w 22"/>
                <a:gd name="T7" fmla="*/ 13 h 17"/>
                <a:gd name="T8" fmla="*/ 14 w 22"/>
                <a:gd name="T9" fmla="*/ 17 h 17"/>
                <a:gd name="T10" fmla="*/ 11 w 22"/>
                <a:gd name="T11" fmla="*/ 15 h 17"/>
                <a:gd name="T12" fmla="*/ 5 w 22"/>
                <a:gd name="T13" fmla="*/ 16 h 17"/>
                <a:gd name="T14" fmla="*/ 4 w 22"/>
                <a:gd name="T15" fmla="*/ 13 h 17"/>
                <a:gd name="T16" fmla="*/ 8 w 22"/>
                <a:gd name="T17" fmla="*/ 11 h 17"/>
                <a:gd name="T18" fmla="*/ 9 w 22"/>
                <a:gd name="T19" fmla="*/ 8 h 17"/>
                <a:gd name="T20" fmla="*/ 0 w 22"/>
                <a:gd name="T21" fmla="*/ 9 h 17"/>
                <a:gd name="T22" fmla="*/ 1 w 22"/>
                <a:gd name="T23" fmla="*/ 6 h 17"/>
                <a:gd name="T24" fmla="*/ 6 w 22"/>
                <a:gd name="T25" fmla="*/ 5 h 17"/>
                <a:gd name="T26" fmla="*/ 10 w 22"/>
                <a:gd name="T27" fmla="*/ 6 h 17"/>
                <a:gd name="T28" fmla="*/ 11 w 22"/>
                <a:gd name="T29" fmla="*/ 3 h 17"/>
                <a:gd name="T30" fmla="*/ 11 w 22"/>
                <a:gd name="T31" fmla="*/ 0 h 17"/>
                <a:gd name="T32" fmla="*/ 17 w 22"/>
                <a:gd name="T33" fmla="*/ 4 h 1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"/>
                <a:gd name="T52" fmla="*/ 0 h 17"/>
                <a:gd name="T53" fmla="*/ 22 w 22"/>
                <a:gd name="T54" fmla="*/ 17 h 1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" h="17">
                  <a:moveTo>
                    <a:pt x="17" y="4"/>
                  </a:moveTo>
                  <a:lnTo>
                    <a:pt x="21" y="10"/>
                  </a:lnTo>
                  <a:lnTo>
                    <a:pt x="22" y="15"/>
                  </a:lnTo>
                  <a:lnTo>
                    <a:pt x="17" y="13"/>
                  </a:lnTo>
                  <a:lnTo>
                    <a:pt x="14" y="17"/>
                  </a:lnTo>
                  <a:lnTo>
                    <a:pt x="11" y="15"/>
                  </a:lnTo>
                  <a:lnTo>
                    <a:pt x="5" y="16"/>
                  </a:lnTo>
                  <a:lnTo>
                    <a:pt x="4" y="13"/>
                  </a:lnTo>
                  <a:lnTo>
                    <a:pt x="8" y="11"/>
                  </a:lnTo>
                  <a:lnTo>
                    <a:pt x="9" y="8"/>
                  </a:lnTo>
                  <a:lnTo>
                    <a:pt x="0" y="9"/>
                  </a:lnTo>
                  <a:lnTo>
                    <a:pt x="1" y="6"/>
                  </a:lnTo>
                  <a:lnTo>
                    <a:pt x="6" y="5"/>
                  </a:lnTo>
                  <a:lnTo>
                    <a:pt x="10" y="6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17" y="4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39" name="Freeform 359"/>
            <p:cNvSpPr>
              <a:spLocks/>
            </p:cNvSpPr>
            <p:nvPr/>
          </p:nvSpPr>
          <p:spPr bwMode="auto">
            <a:xfrm>
              <a:off x="2521" y="1430"/>
              <a:ext cx="22" cy="17"/>
            </a:xfrm>
            <a:custGeom>
              <a:avLst/>
              <a:gdLst>
                <a:gd name="T0" fmla="*/ 17 w 22"/>
                <a:gd name="T1" fmla="*/ 4 h 17"/>
                <a:gd name="T2" fmla="*/ 21 w 22"/>
                <a:gd name="T3" fmla="*/ 10 h 17"/>
                <a:gd name="T4" fmla="*/ 22 w 22"/>
                <a:gd name="T5" fmla="*/ 15 h 17"/>
                <a:gd name="T6" fmla="*/ 17 w 22"/>
                <a:gd name="T7" fmla="*/ 13 h 17"/>
                <a:gd name="T8" fmla="*/ 14 w 22"/>
                <a:gd name="T9" fmla="*/ 17 h 17"/>
                <a:gd name="T10" fmla="*/ 11 w 22"/>
                <a:gd name="T11" fmla="*/ 15 h 17"/>
                <a:gd name="T12" fmla="*/ 5 w 22"/>
                <a:gd name="T13" fmla="*/ 16 h 17"/>
                <a:gd name="T14" fmla="*/ 4 w 22"/>
                <a:gd name="T15" fmla="*/ 13 h 17"/>
                <a:gd name="T16" fmla="*/ 8 w 22"/>
                <a:gd name="T17" fmla="*/ 11 h 17"/>
                <a:gd name="T18" fmla="*/ 9 w 22"/>
                <a:gd name="T19" fmla="*/ 8 h 17"/>
                <a:gd name="T20" fmla="*/ 0 w 22"/>
                <a:gd name="T21" fmla="*/ 9 h 17"/>
                <a:gd name="T22" fmla="*/ 1 w 22"/>
                <a:gd name="T23" fmla="*/ 6 h 17"/>
                <a:gd name="T24" fmla="*/ 6 w 22"/>
                <a:gd name="T25" fmla="*/ 5 h 17"/>
                <a:gd name="T26" fmla="*/ 10 w 22"/>
                <a:gd name="T27" fmla="*/ 6 h 17"/>
                <a:gd name="T28" fmla="*/ 11 w 22"/>
                <a:gd name="T29" fmla="*/ 3 h 17"/>
                <a:gd name="T30" fmla="*/ 11 w 22"/>
                <a:gd name="T31" fmla="*/ 0 h 17"/>
                <a:gd name="T32" fmla="*/ 17 w 22"/>
                <a:gd name="T33" fmla="*/ 4 h 1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"/>
                <a:gd name="T52" fmla="*/ 0 h 17"/>
                <a:gd name="T53" fmla="*/ 22 w 22"/>
                <a:gd name="T54" fmla="*/ 17 h 1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" h="17">
                  <a:moveTo>
                    <a:pt x="17" y="4"/>
                  </a:moveTo>
                  <a:lnTo>
                    <a:pt x="21" y="10"/>
                  </a:lnTo>
                  <a:lnTo>
                    <a:pt x="22" y="15"/>
                  </a:lnTo>
                  <a:lnTo>
                    <a:pt x="17" y="13"/>
                  </a:lnTo>
                  <a:lnTo>
                    <a:pt x="14" y="17"/>
                  </a:lnTo>
                  <a:lnTo>
                    <a:pt x="11" y="15"/>
                  </a:lnTo>
                  <a:lnTo>
                    <a:pt x="5" y="16"/>
                  </a:lnTo>
                  <a:lnTo>
                    <a:pt x="4" y="13"/>
                  </a:lnTo>
                  <a:lnTo>
                    <a:pt x="8" y="11"/>
                  </a:lnTo>
                  <a:lnTo>
                    <a:pt x="9" y="8"/>
                  </a:lnTo>
                  <a:lnTo>
                    <a:pt x="0" y="9"/>
                  </a:lnTo>
                  <a:lnTo>
                    <a:pt x="1" y="6"/>
                  </a:lnTo>
                  <a:lnTo>
                    <a:pt x="6" y="5"/>
                  </a:lnTo>
                  <a:lnTo>
                    <a:pt x="10" y="6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17" y="4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14" name="Group 363"/>
          <p:cNvGrpSpPr>
            <a:grpSpLocks/>
          </p:cNvGrpSpPr>
          <p:nvPr/>
        </p:nvGrpSpPr>
        <p:grpSpPr bwMode="auto">
          <a:xfrm>
            <a:off x="4438650" y="3154363"/>
            <a:ext cx="33338" cy="23812"/>
            <a:chOff x="2038" y="1987"/>
            <a:chExt cx="21" cy="15"/>
          </a:xfrm>
        </p:grpSpPr>
        <p:sp>
          <p:nvSpPr>
            <p:cNvPr id="34236" name="Freeform 361"/>
            <p:cNvSpPr>
              <a:spLocks/>
            </p:cNvSpPr>
            <p:nvPr/>
          </p:nvSpPr>
          <p:spPr bwMode="auto">
            <a:xfrm>
              <a:off x="2038" y="1987"/>
              <a:ext cx="21" cy="15"/>
            </a:xfrm>
            <a:custGeom>
              <a:avLst/>
              <a:gdLst>
                <a:gd name="T0" fmla="*/ 0 w 21"/>
                <a:gd name="T1" fmla="*/ 9 h 15"/>
                <a:gd name="T2" fmla="*/ 2 w 21"/>
                <a:gd name="T3" fmla="*/ 8 h 15"/>
                <a:gd name="T4" fmla="*/ 3 w 21"/>
                <a:gd name="T5" fmla="*/ 7 h 15"/>
                <a:gd name="T6" fmla="*/ 6 w 21"/>
                <a:gd name="T7" fmla="*/ 7 h 15"/>
                <a:gd name="T8" fmla="*/ 7 w 21"/>
                <a:gd name="T9" fmla="*/ 5 h 15"/>
                <a:gd name="T10" fmla="*/ 8 w 21"/>
                <a:gd name="T11" fmla="*/ 3 h 15"/>
                <a:gd name="T12" fmla="*/ 14 w 21"/>
                <a:gd name="T13" fmla="*/ 0 h 15"/>
                <a:gd name="T14" fmla="*/ 19 w 21"/>
                <a:gd name="T15" fmla="*/ 0 h 15"/>
                <a:gd name="T16" fmla="*/ 18 w 21"/>
                <a:gd name="T17" fmla="*/ 2 h 15"/>
                <a:gd name="T18" fmla="*/ 20 w 21"/>
                <a:gd name="T19" fmla="*/ 4 h 15"/>
                <a:gd name="T20" fmla="*/ 21 w 21"/>
                <a:gd name="T21" fmla="*/ 7 h 15"/>
                <a:gd name="T22" fmla="*/ 10 w 21"/>
                <a:gd name="T23" fmla="*/ 11 h 15"/>
                <a:gd name="T24" fmla="*/ 4 w 21"/>
                <a:gd name="T25" fmla="*/ 15 h 15"/>
                <a:gd name="T26" fmla="*/ 1 w 21"/>
                <a:gd name="T27" fmla="*/ 12 h 15"/>
                <a:gd name="T28" fmla="*/ 0 w 21"/>
                <a:gd name="T29" fmla="*/ 9 h 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"/>
                <a:gd name="T46" fmla="*/ 0 h 15"/>
                <a:gd name="T47" fmla="*/ 21 w 21"/>
                <a:gd name="T48" fmla="*/ 15 h 1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" h="15">
                  <a:moveTo>
                    <a:pt x="0" y="9"/>
                  </a:moveTo>
                  <a:lnTo>
                    <a:pt x="2" y="8"/>
                  </a:lnTo>
                  <a:lnTo>
                    <a:pt x="3" y="7"/>
                  </a:lnTo>
                  <a:lnTo>
                    <a:pt x="6" y="7"/>
                  </a:lnTo>
                  <a:lnTo>
                    <a:pt x="7" y="5"/>
                  </a:lnTo>
                  <a:lnTo>
                    <a:pt x="8" y="3"/>
                  </a:lnTo>
                  <a:lnTo>
                    <a:pt x="14" y="0"/>
                  </a:lnTo>
                  <a:lnTo>
                    <a:pt x="19" y="0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1" y="7"/>
                  </a:lnTo>
                  <a:lnTo>
                    <a:pt x="10" y="11"/>
                  </a:lnTo>
                  <a:lnTo>
                    <a:pt x="4" y="15"/>
                  </a:lnTo>
                  <a:lnTo>
                    <a:pt x="1" y="12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37" name="Freeform 362"/>
            <p:cNvSpPr>
              <a:spLocks/>
            </p:cNvSpPr>
            <p:nvPr/>
          </p:nvSpPr>
          <p:spPr bwMode="auto">
            <a:xfrm>
              <a:off x="2038" y="1987"/>
              <a:ext cx="21" cy="15"/>
            </a:xfrm>
            <a:custGeom>
              <a:avLst/>
              <a:gdLst>
                <a:gd name="T0" fmla="*/ 0 w 21"/>
                <a:gd name="T1" fmla="*/ 9 h 15"/>
                <a:gd name="T2" fmla="*/ 2 w 21"/>
                <a:gd name="T3" fmla="*/ 8 h 15"/>
                <a:gd name="T4" fmla="*/ 3 w 21"/>
                <a:gd name="T5" fmla="*/ 7 h 15"/>
                <a:gd name="T6" fmla="*/ 6 w 21"/>
                <a:gd name="T7" fmla="*/ 7 h 15"/>
                <a:gd name="T8" fmla="*/ 7 w 21"/>
                <a:gd name="T9" fmla="*/ 5 h 15"/>
                <a:gd name="T10" fmla="*/ 8 w 21"/>
                <a:gd name="T11" fmla="*/ 3 h 15"/>
                <a:gd name="T12" fmla="*/ 14 w 21"/>
                <a:gd name="T13" fmla="*/ 0 h 15"/>
                <a:gd name="T14" fmla="*/ 19 w 21"/>
                <a:gd name="T15" fmla="*/ 0 h 15"/>
                <a:gd name="T16" fmla="*/ 18 w 21"/>
                <a:gd name="T17" fmla="*/ 2 h 15"/>
                <a:gd name="T18" fmla="*/ 20 w 21"/>
                <a:gd name="T19" fmla="*/ 4 h 15"/>
                <a:gd name="T20" fmla="*/ 21 w 21"/>
                <a:gd name="T21" fmla="*/ 7 h 15"/>
                <a:gd name="T22" fmla="*/ 10 w 21"/>
                <a:gd name="T23" fmla="*/ 11 h 15"/>
                <a:gd name="T24" fmla="*/ 4 w 21"/>
                <a:gd name="T25" fmla="*/ 15 h 15"/>
                <a:gd name="T26" fmla="*/ 1 w 21"/>
                <a:gd name="T27" fmla="*/ 12 h 15"/>
                <a:gd name="T28" fmla="*/ 0 w 21"/>
                <a:gd name="T29" fmla="*/ 9 h 1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1"/>
                <a:gd name="T46" fmla="*/ 0 h 15"/>
                <a:gd name="T47" fmla="*/ 21 w 21"/>
                <a:gd name="T48" fmla="*/ 15 h 1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1" h="15">
                  <a:moveTo>
                    <a:pt x="0" y="9"/>
                  </a:moveTo>
                  <a:lnTo>
                    <a:pt x="2" y="8"/>
                  </a:lnTo>
                  <a:lnTo>
                    <a:pt x="3" y="7"/>
                  </a:lnTo>
                  <a:lnTo>
                    <a:pt x="6" y="7"/>
                  </a:lnTo>
                  <a:lnTo>
                    <a:pt x="7" y="5"/>
                  </a:lnTo>
                  <a:lnTo>
                    <a:pt x="8" y="3"/>
                  </a:lnTo>
                  <a:lnTo>
                    <a:pt x="14" y="0"/>
                  </a:lnTo>
                  <a:lnTo>
                    <a:pt x="19" y="0"/>
                  </a:lnTo>
                  <a:lnTo>
                    <a:pt x="18" y="2"/>
                  </a:lnTo>
                  <a:lnTo>
                    <a:pt x="20" y="4"/>
                  </a:lnTo>
                  <a:lnTo>
                    <a:pt x="21" y="7"/>
                  </a:lnTo>
                  <a:lnTo>
                    <a:pt x="10" y="11"/>
                  </a:lnTo>
                  <a:lnTo>
                    <a:pt x="4" y="15"/>
                  </a:lnTo>
                  <a:lnTo>
                    <a:pt x="1" y="12"/>
                  </a:lnTo>
                  <a:lnTo>
                    <a:pt x="0" y="9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15" name="Group 366"/>
          <p:cNvGrpSpPr>
            <a:grpSpLocks/>
          </p:cNvGrpSpPr>
          <p:nvPr/>
        </p:nvGrpSpPr>
        <p:grpSpPr bwMode="auto">
          <a:xfrm>
            <a:off x="4268788" y="3405188"/>
            <a:ext cx="7937" cy="14287"/>
            <a:chOff x="1931" y="2145"/>
            <a:chExt cx="5" cy="9"/>
          </a:xfrm>
        </p:grpSpPr>
        <p:sp>
          <p:nvSpPr>
            <p:cNvPr id="34234" name="Freeform 364"/>
            <p:cNvSpPr>
              <a:spLocks/>
            </p:cNvSpPr>
            <p:nvPr/>
          </p:nvSpPr>
          <p:spPr bwMode="auto">
            <a:xfrm>
              <a:off x="1931" y="2145"/>
              <a:ext cx="5" cy="9"/>
            </a:xfrm>
            <a:custGeom>
              <a:avLst/>
              <a:gdLst>
                <a:gd name="T0" fmla="*/ 5 w 5"/>
                <a:gd name="T1" fmla="*/ 1 h 9"/>
                <a:gd name="T2" fmla="*/ 5 w 5"/>
                <a:gd name="T3" fmla="*/ 0 h 9"/>
                <a:gd name="T4" fmla="*/ 1 w 5"/>
                <a:gd name="T5" fmla="*/ 5 h 9"/>
                <a:gd name="T6" fmla="*/ 0 w 5"/>
                <a:gd name="T7" fmla="*/ 8 h 9"/>
                <a:gd name="T8" fmla="*/ 1 w 5"/>
                <a:gd name="T9" fmla="*/ 9 h 9"/>
                <a:gd name="T10" fmla="*/ 4 w 5"/>
                <a:gd name="T11" fmla="*/ 8 h 9"/>
                <a:gd name="T12" fmla="*/ 5 w 5"/>
                <a:gd name="T13" fmla="*/ 3 h 9"/>
                <a:gd name="T14" fmla="*/ 5 w 5"/>
                <a:gd name="T15" fmla="*/ 1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9"/>
                <a:gd name="T26" fmla="*/ 5 w 5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9">
                  <a:moveTo>
                    <a:pt x="5" y="1"/>
                  </a:moveTo>
                  <a:lnTo>
                    <a:pt x="5" y="0"/>
                  </a:lnTo>
                  <a:lnTo>
                    <a:pt x="1" y="5"/>
                  </a:lnTo>
                  <a:lnTo>
                    <a:pt x="0" y="8"/>
                  </a:lnTo>
                  <a:lnTo>
                    <a:pt x="1" y="9"/>
                  </a:lnTo>
                  <a:lnTo>
                    <a:pt x="4" y="8"/>
                  </a:lnTo>
                  <a:lnTo>
                    <a:pt x="5" y="3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35" name="Freeform 365"/>
            <p:cNvSpPr>
              <a:spLocks/>
            </p:cNvSpPr>
            <p:nvPr/>
          </p:nvSpPr>
          <p:spPr bwMode="auto">
            <a:xfrm>
              <a:off x="1931" y="2145"/>
              <a:ext cx="5" cy="9"/>
            </a:xfrm>
            <a:custGeom>
              <a:avLst/>
              <a:gdLst>
                <a:gd name="T0" fmla="*/ 5 w 5"/>
                <a:gd name="T1" fmla="*/ 1 h 9"/>
                <a:gd name="T2" fmla="*/ 5 w 5"/>
                <a:gd name="T3" fmla="*/ 0 h 9"/>
                <a:gd name="T4" fmla="*/ 1 w 5"/>
                <a:gd name="T5" fmla="*/ 5 h 9"/>
                <a:gd name="T6" fmla="*/ 0 w 5"/>
                <a:gd name="T7" fmla="*/ 8 h 9"/>
                <a:gd name="T8" fmla="*/ 1 w 5"/>
                <a:gd name="T9" fmla="*/ 9 h 9"/>
                <a:gd name="T10" fmla="*/ 4 w 5"/>
                <a:gd name="T11" fmla="*/ 8 h 9"/>
                <a:gd name="T12" fmla="*/ 5 w 5"/>
                <a:gd name="T13" fmla="*/ 3 h 9"/>
                <a:gd name="T14" fmla="*/ 5 w 5"/>
                <a:gd name="T15" fmla="*/ 1 h 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"/>
                <a:gd name="T25" fmla="*/ 0 h 9"/>
                <a:gd name="T26" fmla="*/ 5 w 5"/>
                <a:gd name="T27" fmla="*/ 9 h 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" h="9">
                  <a:moveTo>
                    <a:pt x="5" y="1"/>
                  </a:moveTo>
                  <a:lnTo>
                    <a:pt x="5" y="0"/>
                  </a:lnTo>
                  <a:lnTo>
                    <a:pt x="1" y="5"/>
                  </a:lnTo>
                  <a:lnTo>
                    <a:pt x="0" y="8"/>
                  </a:lnTo>
                  <a:lnTo>
                    <a:pt x="1" y="9"/>
                  </a:lnTo>
                  <a:lnTo>
                    <a:pt x="4" y="8"/>
                  </a:lnTo>
                  <a:lnTo>
                    <a:pt x="5" y="3"/>
                  </a:lnTo>
                  <a:lnTo>
                    <a:pt x="5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16" name="Group 369"/>
          <p:cNvGrpSpPr>
            <a:grpSpLocks/>
          </p:cNvGrpSpPr>
          <p:nvPr/>
        </p:nvGrpSpPr>
        <p:grpSpPr bwMode="auto">
          <a:xfrm>
            <a:off x="4318000" y="3284538"/>
            <a:ext cx="9525" cy="17462"/>
            <a:chOff x="1962" y="2069"/>
            <a:chExt cx="6" cy="11"/>
          </a:xfrm>
        </p:grpSpPr>
        <p:sp>
          <p:nvSpPr>
            <p:cNvPr id="34232" name="Freeform 367"/>
            <p:cNvSpPr>
              <a:spLocks/>
            </p:cNvSpPr>
            <p:nvPr/>
          </p:nvSpPr>
          <p:spPr bwMode="auto">
            <a:xfrm>
              <a:off x="1962" y="2069"/>
              <a:ext cx="6" cy="11"/>
            </a:xfrm>
            <a:custGeom>
              <a:avLst/>
              <a:gdLst>
                <a:gd name="T0" fmla="*/ 2 w 6"/>
                <a:gd name="T1" fmla="*/ 11 h 11"/>
                <a:gd name="T2" fmla="*/ 6 w 6"/>
                <a:gd name="T3" fmla="*/ 3 h 11"/>
                <a:gd name="T4" fmla="*/ 4 w 6"/>
                <a:gd name="T5" fmla="*/ 1 h 11"/>
                <a:gd name="T6" fmla="*/ 1 w 6"/>
                <a:gd name="T7" fmla="*/ 0 h 11"/>
                <a:gd name="T8" fmla="*/ 0 w 6"/>
                <a:gd name="T9" fmla="*/ 2 h 11"/>
                <a:gd name="T10" fmla="*/ 0 w 6"/>
                <a:gd name="T11" fmla="*/ 11 h 11"/>
                <a:gd name="T12" fmla="*/ 2 w 6"/>
                <a:gd name="T13" fmla="*/ 11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1"/>
                <a:gd name="T23" fmla="*/ 6 w 6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1">
                  <a:moveTo>
                    <a:pt x="2" y="11"/>
                  </a:moveTo>
                  <a:lnTo>
                    <a:pt x="6" y="3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11"/>
                  </a:lnTo>
                  <a:lnTo>
                    <a:pt x="2" y="1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33" name="Freeform 368"/>
            <p:cNvSpPr>
              <a:spLocks/>
            </p:cNvSpPr>
            <p:nvPr/>
          </p:nvSpPr>
          <p:spPr bwMode="auto">
            <a:xfrm>
              <a:off x="1962" y="2069"/>
              <a:ext cx="6" cy="11"/>
            </a:xfrm>
            <a:custGeom>
              <a:avLst/>
              <a:gdLst>
                <a:gd name="T0" fmla="*/ 2 w 6"/>
                <a:gd name="T1" fmla="*/ 11 h 11"/>
                <a:gd name="T2" fmla="*/ 6 w 6"/>
                <a:gd name="T3" fmla="*/ 3 h 11"/>
                <a:gd name="T4" fmla="*/ 4 w 6"/>
                <a:gd name="T5" fmla="*/ 1 h 11"/>
                <a:gd name="T6" fmla="*/ 1 w 6"/>
                <a:gd name="T7" fmla="*/ 0 h 11"/>
                <a:gd name="T8" fmla="*/ 0 w 6"/>
                <a:gd name="T9" fmla="*/ 2 h 11"/>
                <a:gd name="T10" fmla="*/ 0 w 6"/>
                <a:gd name="T11" fmla="*/ 11 h 11"/>
                <a:gd name="T12" fmla="*/ 2 w 6"/>
                <a:gd name="T13" fmla="*/ 11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11"/>
                <a:gd name="T23" fmla="*/ 6 w 6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11">
                  <a:moveTo>
                    <a:pt x="2" y="11"/>
                  </a:moveTo>
                  <a:lnTo>
                    <a:pt x="6" y="3"/>
                  </a:lnTo>
                  <a:lnTo>
                    <a:pt x="4" y="1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11"/>
                  </a:lnTo>
                  <a:lnTo>
                    <a:pt x="2" y="1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17" name="Group 372"/>
          <p:cNvGrpSpPr>
            <a:grpSpLocks/>
          </p:cNvGrpSpPr>
          <p:nvPr/>
        </p:nvGrpSpPr>
        <p:grpSpPr bwMode="auto">
          <a:xfrm>
            <a:off x="4279900" y="3335338"/>
            <a:ext cx="6350" cy="11112"/>
            <a:chOff x="1938" y="2101"/>
            <a:chExt cx="4" cy="7"/>
          </a:xfrm>
        </p:grpSpPr>
        <p:sp>
          <p:nvSpPr>
            <p:cNvPr id="34230" name="Freeform 370"/>
            <p:cNvSpPr>
              <a:spLocks/>
            </p:cNvSpPr>
            <p:nvPr/>
          </p:nvSpPr>
          <p:spPr bwMode="auto">
            <a:xfrm>
              <a:off x="1938" y="2101"/>
              <a:ext cx="4" cy="7"/>
            </a:xfrm>
            <a:custGeom>
              <a:avLst/>
              <a:gdLst>
                <a:gd name="T0" fmla="*/ 0 w 4"/>
                <a:gd name="T1" fmla="*/ 7 h 7"/>
                <a:gd name="T2" fmla="*/ 1 w 4"/>
                <a:gd name="T3" fmla="*/ 5 h 7"/>
                <a:gd name="T4" fmla="*/ 4 w 4"/>
                <a:gd name="T5" fmla="*/ 3 h 7"/>
                <a:gd name="T6" fmla="*/ 4 w 4"/>
                <a:gd name="T7" fmla="*/ 2 h 7"/>
                <a:gd name="T8" fmla="*/ 0 w 4"/>
                <a:gd name="T9" fmla="*/ 0 h 7"/>
                <a:gd name="T10" fmla="*/ 0 w 4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7"/>
                <a:gd name="T20" fmla="*/ 4 w 4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7">
                  <a:moveTo>
                    <a:pt x="0" y="7"/>
                  </a:moveTo>
                  <a:lnTo>
                    <a:pt x="1" y="5"/>
                  </a:lnTo>
                  <a:lnTo>
                    <a:pt x="4" y="3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31" name="Freeform 371"/>
            <p:cNvSpPr>
              <a:spLocks/>
            </p:cNvSpPr>
            <p:nvPr/>
          </p:nvSpPr>
          <p:spPr bwMode="auto">
            <a:xfrm>
              <a:off x="1938" y="2101"/>
              <a:ext cx="4" cy="7"/>
            </a:xfrm>
            <a:custGeom>
              <a:avLst/>
              <a:gdLst>
                <a:gd name="T0" fmla="*/ 0 w 4"/>
                <a:gd name="T1" fmla="*/ 7 h 7"/>
                <a:gd name="T2" fmla="*/ 1 w 4"/>
                <a:gd name="T3" fmla="*/ 5 h 7"/>
                <a:gd name="T4" fmla="*/ 4 w 4"/>
                <a:gd name="T5" fmla="*/ 3 h 7"/>
                <a:gd name="T6" fmla="*/ 4 w 4"/>
                <a:gd name="T7" fmla="*/ 2 h 7"/>
                <a:gd name="T8" fmla="*/ 0 w 4"/>
                <a:gd name="T9" fmla="*/ 0 h 7"/>
                <a:gd name="T10" fmla="*/ 0 w 4"/>
                <a:gd name="T11" fmla="*/ 7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"/>
                <a:gd name="T19" fmla="*/ 0 h 7"/>
                <a:gd name="T20" fmla="*/ 4 w 4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" h="7">
                  <a:moveTo>
                    <a:pt x="0" y="7"/>
                  </a:moveTo>
                  <a:lnTo>
                    <a:pt x="1" y="5"/>
                  </a:lnTo>
                  <a:lnTo>
                    <a:pt x="4" y="3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7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18" name="Group 375"/>
          <p:cNvGrpSpPr>
            <a:grpSpLocks/>
          </p:cNvGrpSpPr>
          <p:nvPr/>
        </p:nvGrpSpPr>
        <p:grpSpPr bwMode="auto">
          <a:xfrm>
            <a:off x="4292600" y="3516313"/>
            <a:ext cx="7938" cy="17462"/>
            <a:chOff x="1946" y="2215"/>
            <a:chExt cx="5" cy="11"/>
          </a:xfrm>
        </p:grpSpPr>
        <p:sp>
          <p:nvSpPr>
            <p:cNvPr id="34228" name="Freeform 373"/>
            <p:cNvSpPr>
              <a:spLocks/>
            </p:cNvSpPr>
            <p:nvPr/>
          </p:nvSpPr>
          <p:spPr bwMode="auto">
            <a:xfrm>
              <a:off x="1946" y="2215"/>
              <a:ext cx="5" cy="11"/>
            </a:xfrm>
            <a:custGeom>
              <a:avLst/>
              <a:gdLst>
                <a:gd name="T0" fmla="*/ 5 w 5"/>
                <a:gd name="T1" fmla="*/ 11 h 11"/>
                <a:gd name="T2" fmla="*/ 5 w 5"/>
                <a:gd name="T3" fmla="*/ 3 h 11"/>
                <a:gd name="T4" fmla="*/ 3 w 5"/>
                <a:gd name="T5" fmla="*/ 0 h 11"/>
                <a:gd name="T6" fmla="*/ 1 w 5"/>
                <a:gd name="T7" fmla="*/ 0 h 11"/>
                <a:gd name="T8" fmla="*/ 0 w 5"/>
                <a:gd name="T9" fmla="*/ 6 h 11"/>
                <a:gd name="T10" fmla="*/ 0 w 5"/>
                <a:gd name="T11" fmla="*/ 8 h 11"/>
                <a:gd name="T12" fmla="*/ 5 w 5"/>
                <a:gd name="T13" fmla="*/ 11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1"/>
                <a:gd name="T23" fmla="*/ 5 w 5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1">
                  <a:moveTo>
                    <a:pt x="5" y="11"/>
                  </a:moveTo>
                  <a:lnTo>
                    <a:pt x="5" y="3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29" name="Freeform 374"/>
            <p:cNvSpPr>
              <a:spLocks/>
            </p:cNvSpPr>
            <p:nvPr/>
          </p:nvSpPr>
          <p:spPr bwMode="auto">
            <a:xfrm>
              <a:off x="1946" y="2215"/>
              <a:ext cx="5" cy="11"/>
            </a:xfrm>
            <a:custGeom>
              <a:avLst/>
              <a:gdLst>
                <a:gd name="T0" fmla="*/ 5 w 5"/>
                <a:gd name="T1" fmla="*/ 11 h 11"/>
                <a:gd name="T2" fmla="*/ 5 w 5"/>
                <a:gd name="T3" fmla="*/ 3 h 11"/>
                <a:gd name="T4" fmla="*/ 3 w 5"/>
                <a:gd name="T5" fmla="*/ 0 h 11"/>
                <a:gd name="T6" fmla="*/ 1 w 5"/>
                <a:gd name="T7" fmla="*/ 0 h 11"/>
                <a:gd name="T8" fmla="*/ 0 w 5"/>
                <a:gd name="T9" fmla="*/ 6 h 11"/>
                <a:gd name="T10" fmla="*/ 0 w 5"/>
                <a:gd name="T11" fmla="*/ 8 h 11"/>
                <a:gd name="T12" fmla="*/ 5 w 5"/>
                <a:gd name="T13" fmla="*/ 11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"/>
                <a:gd name="T22" fmla="*/ 0 h 11"/>
                <a:gd name="T23" fmla="*/ 5 w 5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" h="11">
                  <a:moveTo>
                    <a:pt x="5" y="11"/>
                  </a:moveTo>
                  <a:lnTo>
                    <a:pt x="5" y="3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5" y="1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19" name="Group 378"/>
          <p:cNvGrpSpPr>
            <a:grpSpLocks/>
          </p:cNvGrpSpPr>
          <p:nvPr/>
        </p:nvGrpSpPr>
        <p:grpSpPr bwMode="auto">
          <a:xfrm>
            <a:off x="4287838" y="3568700"/>
            <a:ext cx="4762" cy="17463"/>
            <a:chOff x="1943" y="2248"/>
            <a:chExt cx="3" cy="11"/>
          </a:xfrm>
        </p:grpSpPr>
        <p:sp>
          <p:nvSpPr>
            <p:cNvPr id="34226" name="Freeform 376"/>
            <p:cNvSpPr>
              <a:spLocks/>
            </p:cNvSpPr>
            <p:nvPr/>
          </p:nvSpPr>
          <p:spPr bwMode="auto">
            <a:xfrm>
              <a:off x="1943" y="2248"/>
              <a:ext cx="3" cy="11"/>
            </a:xfrm>
            <a:custGeom>
              <a:avLst/>
              <a:gdLst>
                <a:gd name="T0" fmla="*/ 3 w 3"/>
                <a:gd name="T1" fmla="*/ 11 h 11"/>
                <a:gd name="T2" fmla="*/ 3 w 3"/>
                <a:gd name="T3" fmla="*/ 1 h 11"/>
                <a:gd name="T4" fmla="*/ 2 w 3"/>
                <a:gd name="T5" fmla="*/ 0 h 11"/>
                <a:gd name="T6" fmla="*/ 1 w 3"/>
                <a:gd name="T7" fmla="*/ 1 h 11"/>
                <a:gd name="T8" fmla="*/ 0 w 3"/>
                <a:gd name="T9" fmla="*/ 11 h 11"/>
                <a:gd name="T10" fmla="*/ 3 w 3"/>
                <a:gd name="T11" fmla="*/ 1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1"/>
                <a:gd name="T20" fmla="*/ 3 w 3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1">
                  <a:moveTo>
                    <a:pt x="3" y="11"/>
                  </a:moveTo>
                  <a:lnTo>
                    <a:pt x="3" y="1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11"/>
                  </a:lnTo>
                  <a:lnTo>
                    <a:pt x="3" y="1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27" name="Freeform 377"/>
            <p:cNvSpPr>
              <a:spLocks/>
            </p:cNvSpPr>
            <p:nvPr/>
          </p:nvSpPr>
          <p:spPr bwMode="auto">
            <a:xfrm>
              <a:off x="1943" y="2248"/>
              <a:ext cx="3" cy="11"/>
            </a:xfrm>
            <a:custGeom>
              <a:avLst/>
              <a:gdLst>
                <a:gd name="T0" fmla="*/ 3 w 3"/>
                <a:gd name="T1" fmla="*/ 11 h 11"/>
                <a:gd name="T2" fmla="*/ 3 w 3"/>
                <a:gd name="T3" fmla="*/ 1 h 11"/>
                <a:gd name="T4" fmla="*/ 2 w 3"/>
                <a:gd name="T5" fmla="*/ 0 h 11"/>
                <a:gd name="T6" fmla="*/ 1 w 3"/>
                <a:gd name="T7" fmla="*/ 1 h 11"/>
                <a:gd name="T8" fmla="*/ 0 w 3"/>
                <a:gd name="T9" fmla="*/ 11 h 11"/>
                <a:gd name="T10" fmla="*/ 3 w 3"/>
                <a:gd name="T11" fmla="*/ 11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"/>
                <a:gd name="T19" fmla="*/ 0 h 11"/>
                <a:gd name="T20" fmla="*/ 3 w 3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" h="11">
                  <a:moveTo>
                    <a:pt x="3" y="11"/>
                  </a:moveTo>
                  <a:lnTo>
                    <a:pt x="3" y="1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11"/>
                  </a:lnTo>
                  <a:lnTo>
                    <a:pt x="3" y="1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20" name="Group 381"/>
          <p:cNvGrpSpPr>
            <a:grpSpLocks/>
          </p:cNvGrpSpPr>
          <p:nvPr/>
        </p:nvGrpSpPr>
        <p:grpSpPr bwMode="auto">
          <a:xfrm>
            <a:off x="4279900" y="2274888"/>
            <a:ext cx="1189038" cy="1411287"/>
            <a:chOff x="1938" y="1433"/>
            <a:chExt cx="749" cy="889"/>
          </a:xfrm>
        </p:grpSpPr>
        <p:sp>
          <p:nvSpPr>
            <p:cNvPr id="34224" name="Freeform 379"/>
            <p:cNvSpPr>
              <a:spLocks/>
            </p:cNvSpPr>
            <p:nvPr/>
          </p:nvSpPr>
          <p:spPr bwMode="auto">
            <a:xfrm>
              <a:off x="1938" y="1433"/>
              <a:ext cx="749" cy="889"/>
            </a:xfrm>
            <a:custGeom>
              <a:avLst/>
              <a:gdLst>
                <a:gd name="T0" fmla="*/ 713 w 749"/>
                <a:gd name="T1" fmla="*/ 112 h 889"/>
                <a:gd name="T2" fmla="*/ 694 w 749"/>
                <a:gd name="T3" fmla="*/ 82 h 889"/>
                <a:gd name="T4" fmla="*/ 711 w 749"/>
                <a:gd name="T5" fmla="*/ 39 h 889"/>
                <a:gd name="T6" fmla="*/ 678 w 749"/>
                <a:gd name="T7" fmla="*/ 36 h 889"/>
                <a:gd name="T8" fmla="*/ 661 w 749"/>
                <a:gd name="T9" fmla="*/ 24 h 889"/>
                <a:gd name="T10" fmla="*/ 639 w 749"/>
                <a:gd name="T11" fmla="*/ 35 h 889"/>
                <a:gd name="T12" fmla="*/ 617 w 749"/>
                <a:gd name="T13" fmla="*/ 16 h 889"/>
                <a:gd name="T14" fmla="*/ 581 w 749"/>
                <a:gd name="T15" fmla="*/ 58 h 889"/>
                <a:gd name="T16" fmla="*/ 564 w 749"/>
                <a:gd name="T17" fmla="*/ 13 h 889"/>
                <a:gd name="T18" fmla="*/ 527 w 749"/>
                <a:gd name="T19" fmla="*/ 83 h 889"/>
                <a:gd name="T20" fmla="*/ 495 w 749"/>
                <a:gd name="T21" fmla="*/ 78 h 889"/>
                <a:gd name="T22" fmla="*/ 489 w 749"/>
                <a:gd name="T23" fmla="*/ 93 h 889"/>
                <a:gd name="T24" fmla="*/ 459 w 749"/>
                <a:gd name="T25" fmla="*/ 105 h 889"/>
                <a:gd name="T26" fmla="*/ 442 w 749"/>
                <a:gd name="T27" fmla="*/ 110 h 889"/>
                <a:gd name="T28" fmla="*/ 417 w 749"/>
                <a:gd name="T29" fmla="*/ 152 h 889"/>
                <a:gd name="T30" fmla="*/ 382 w 749"/>
                <a:gd name="T31" fmla="*/ 149 h 889"/>
                <a:gd name="T32" fmla="*/ 370 w 749"/>
                <a:gd name="T33" fmla="*/ 186 h 889"/>
                <a:gd name="T34" fmla="*/ 331 w 749"/>
                <a:gd name="T35" fmla="*/ 212 h 889"/>
                <a:gd name="T36" fmla="*/ 333 w 749"/>
                <a:gd name="T37" fmla="*/ 220 h 889"/>
                <a:gd name="T38" fmla="*/ 308 w 749"/>
                <a:gd name="T39" fmla="*/ 246 h 889"/>
                <a:gd name="T40" fmla="*/ 294 w 749"/>
                <a:gd name="T41" fmla="*/ 283 h 889"/>
                <a:gd name="T42" fmla="*/ 273 w 749"/>
                <a:gd name="T43" fmla="*/ 308 h 889"/>
                <a:gd name="T44" fmla="*/ 241 w 749"/>
                <a:gd name="T45" fmla="*/ 352 h 889"/>
                <a:gd name="T46" fmla="*/ 229 w 749"/>
                <a:gd name="T47" fmla="*/ 383 h 889"/>
                <a:gd name="T48" fmla="*/ 221 w 749"/>
                <a:gd name="T49" fmla="*/ 416 h 889"/>
                <a:gd name="T50" fmla="*/ 204 w 749"/>
                <a:gd name="T51" fmla="*/ 447 h 889"/>
                <a:gd name="T52" fmla="*/ 189 w 749"/>
                <a:gd name="T53" fmla="*/ 471 h 889"/>
                <a:gd name="T54" fmla="*/ 160 w 749"/>
                <a:gd name="T55" fmla="*/ 506 h 889"/>
                <a:gd name="T56" fmla="*/ 168 w 749"/>
                <a:gd name="T57" fmla="*/ 550 h 889"/>
                <a:gd name="T58" fmla="*/ 149 w 749"/>
                <a:gd name="T59" fmla="*/ 572 h 889"/>
                <a:gd name="T60" fmla="*/ 119 w 749"/>
                <a:gd name="T61" fmla="*/ 573 h 889"/>
                <a:gd name="T62" fmla="*/ 88 w 749"/>
                <a:gd name="T63" fmla="*/ 586 h 889"/>
                <a:gd name="T64" fmla="*/ 72 w 749"/>
                <a:gd name="T65" fmla="*/ 617 h 889"/>
                <a:gd name="T66" fmla="*/ 40 w 749"/>
                <a:gd name="T67" fmla="*/ 634 h 889"/>
                <a:gd name="T68" fmla="*/ 28 w 749"/>
                <a:gd name="T69" fmla="*/ 655 h 889"/>
                <a:gd name="T70" fmla="*/ 28 w 749"/>
                <a:gd name="T71" fmla="*/ 668 h 889"/>
                <a:gd name="T72" fmla="*/ 8 w 749"/>
                <a:gd name="T73" fmla="*/ 684 h 889"/>
                <a:gd name="T74" fmla="*/ 39 w 749"/>
                <a:gd name="T75" fmla="*/ 704 h 889"/>
                <a:gd name="T76" fmla="*/ 67 w 749"/>
                <a:gd name="T77" fmla="*/ 707 h 889"/>
                <a:gd name="T78" fmla="*/ 30 w 749"/>
                <a:gd name="T79" fmla="*/ 715 h 889"/>
                <a:gd name="T80" fmla="*/ 0 w 749"/>
                <a:gd name="T81" fmla="*/ 735 h 889"/>
                <a:gd name="T82" fmla="*/ 16 w 749"/>
                <a:gd name="T83" fmla="*/ 763 h 889"/>
                <a:gd name="T84" fmla="*/ 46 w 749"/>
                <a:gd name="T85" fmla="*/ 746 h 889"/>
                <a:gd name="T86" fmla="*/ 21 w 749"/>
                <a:gd name="T87" fmla="*/ 787 h 889"/>
                <a:gd name="T88" fmla="*/ 9 w 749"/>
                <a:gd name="T89" fmla="*/ 815 h 889"/>
                <a:gd name="T90" fmla="*/ 34 w 749"/>
                <a:gd name="T91" fmla="*/ 821 h 889"/>
                <a:gd name="T92" fmla="*/ 45 w 749"/>
                <a:gd name="T93" fmla="*/ 876 h 889"/>
                <a:gd name="T94" fmla="*/ 100 w 749"/>
                <a:gd name="T95" fmla="*/ 873 h 889"/>
                <a:gd name="T96" fmla="*/ 154 w 749"/>
                <a:gd name="T97" fmla="*/ 813 h 889"/>
                <a:gd name="T98" fmla="*/ 157 w 749"/>
                <a:gd name="T99" fmla="*/ 787 h 889"/>
                <a:gd name="T100" fmla="*/ 178 w 749"/>
                <a:gd name="T101" fmla="*/ 843 h 889"/>
                <a:gd name="T102" fmla="*/ 210 w 749"/>
                <a:gd name="T103" fmla="*/ 728 h 889"/>
                <a:gd name="T104" fmla="*/ 203 w 749"/>
                <a:gd name="T105" fmla="*/ 619 h 889"/>
                <a:gd name="T106" fmla="*/ 256 w 749"/>
                <a:gd name="T107" fmla="*/ 532 h 889"/>
                <a:gd name="T108" fmla="*/ 285 w 749"/>
                <a:gd name="T109" fmla="*/ 392 h 889"/>
                <a:gd name="T110" fmla="*/ 333 w 749"/>
                <a:gd name="T111" fmla="*/ 278 h 889"/>
                <a:gd name="T112" fmla="*/ 383 w 749"/>
                <a:gd name="T113" fmla="*/ 211 h 889"/>
                <a:gd name="T114" fmla="*/ 433 w 749"/>
                <a:gd name="T115" fmla="*/ 170 h 889"/>
                <a:gd name="T116" fmla="*/ 503 w 749"/>
                <a:gd name="T117" fmla="*/ 194 h 889"/>
                <a:gd name="T118" fmla="*/ 598 w 749"/>
                <a:gd name="T119" fmla="*/ 168 h 889"/>
                <a:gd name="T120" fmla="*/ 696 w 749"/>
                <a:gd name="T121" fmla="*/ 118 h 889"/>
                <a:gd name="T122" fmla="*/ 725 w 749"/>
                <a:gd name="T123" fmla="*/ 124 h 88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49"/>
                <a:gd name="T187" fmla="*/ 0 h 889"/>
                <a:gd name="T188" fmla="*/ 749 w 749"/>
                <a:gd name="T189" fmla="*/ 889 h 88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49" h="889">
                  <a:moveTo>
                    <a:pt x="745" y="113"/>
                  </a:moveTo>
                  <a:lnTo>
                    <a:pt x="733" y="110"/>
                  </a:lnTo>
                  <a:lnTo>
                    <a:pt x="732" y="121"/>
                  </a:lnTo>
                  <a:lnTo>
                    <a:pt x="729" y="121"/>
                  </a:lnTo>
                  <a:lnTo>
                    <a:pt x="729" y="119"/>
                  </a:lnTo>
                  <a:lnTo>
                    <a:pt x="724" y="118"/>
                  </a:lnTo>
                  <a:lnTo>
                    <a:pt x="723" y="114"/>
                  </a:lnTo>
                  <a:lnTo>
                    <a:pt x="723" y="121"/>
                  </a:lnTo>
                  <a:lnTo>
                    <a:pt x="721" y="122"/>
                  </a:lnTo>
                  <a:lnTo>
                    <a:pt x="719" y="117"/>
                  </a:lnTo>
                  <a:lnTo>
                    <a:pt x="713" y="118"/>
                  </a:lnTo>
                  <a:lnTo>
                    <a:pt x="707" y="121"/>
                  </a:lnTo>
                  <a:lnTo>
                    <a:pt x="709" y="115"/>
                  </a:lnTo>
                  <a:lnTo>
                    <a:pt x="713" y="112"/>
                  </a:lnTo>
                  <a:lnTo>
                    <a:pt x="717" y="111"/>
                  </a:lnTo>
                  <a:lnTo>
                    <a:pt x="718" y="107"/>
                  </a:lnTo>
                  <a:lnTo>
                    <a:pt x="717" y="105"/>
                  </a:lnTo>
                  <a:lnTo>
                    <a:pt x="715" y="101"/>
                  </a:lnTo>
                  <a:lnTo>
                    <a:pt x="704" y="102"/>
                  </a:lnTo>
                  <a:lnTo>
                    <a:pt x="706" y="99"/>
                  </a:lnTo>
                  <a:lnTo>
                    <a:pt x="703" y="96"/>
                  </a:lnTo>
                  <a:lnTo>
                    <a:pt x="696" y="92"/>
                  </a:lnTo>
                  <a:lnTo>
                    <a:pt x="690" y="87"/>
                  </a:lnTo>
                  <a:lnTo>
                    <a:pt x="683" y="85"/>
                  </a:lnTo>
                  <a:lnTo>
                    <a:pt x="681" y="82"/>
                  </a:lnTo>
                  <a:lnTo>
                    <a:pt x="682" y="80"/>
                  </a:lnTo>
                  <a:lnTo>
                    <a:pt x="682" y="78"/>
                  </a:lnTo>
                  <a:lnTo>
                    <a:pt x="694" y="82"/>
                  </a:lnTo>
                  <a:lnTo>
                    <a:pt x="720" y="87"/>
                  </a:lnTo>
                  <a:lnTo>
                    <a:pt x="739" y="71"/>
                  </a:lnTo>
                  <a:lnTo>
                    <a:pt x="745" y="69"/>
                  </a:lnTo>
                  <a:lnTo>
                    <a:pt x="749" y="65"/>
                  </a:lnTo>
                  <a:lnTo>
                    <a:pt x="747" y="58"/>
                  </a:lnTo>
                  <a:lnTo>
                    <a:pt x="741" y="55"/>
                  </a:lnTo>
                  <a:lnTo>
                    <a:pt x="737" y="48"/>
                  </a:lnTo>
                  <a:lnTo>
                    <a:pt x="729" y="47"/>
                  </a:lnTo>
                  <a:lnTo>
                    <a:pt x="724" y="45"/>
                  </a:lnTo>
                  <a:lnTo>
                    <a:pt x="729" y="42"/>
                  </a:lnTo>
                  <a:lnTo>
                    <a:pt x="721" y="38"/>
                  </a:lnTo>
                  <a:lnTo>
                    <a:pt x="718" y="32"/>
                  </a:lnTo>
                  <a:lnTo>
                    <a:pt x="715" y="37"/>
                  </a:lnTo>
                  <a:lnTo>
                    <a:pt x="711" y="39"/>
                  </a:lnTo>
                  <a:lnTo>
                    <a:pt x="711" y="35"/>
                  </a:lnTo>
                  <a:lnTo>
                    <a:pt x="710" y="32"/>
                  </a:lnTo>
                  <a:lnTo>
                    <a:pt x="700" y="37"/>
                  </a:lnTo>
                  <a:lnTo>
                    <a:pt x="699" y="35"/>
                  </a:lnTo>
                  <a:lnTo>
                    <a:pt x="699" y="33"/>
                  </a:lnTo>
                  <a:lnTo>
                    <a:pt x="699" y="31"/>
                  </a:lnTo>
                  <a:lnTo>
                    <a:pt x="699" y="26"/>
                  </a:lnTo>
                  <a:lnTo>
                    <a:pt x="697" y="24"/>
                  </a:lnTo>
                  <a:lnTo>
                    <a:pt x="696" y="20"/>
                  </a:lnTo>
                  <a:lnTo>
                    <a:pt x="691" y="22"/>
                  </a:lnTo>
                  <a:lnTo>
                    <a:pt x="687" y="20"/>
                  </a:lnTo>
                  <a:lnTo>
                    <a:pt x="683" y="21"/>
                  </a:lnTo>
                  <a:lnTo>
                    <a:pt x="679" y="29"/>
                  </a:lnTo>
                  <a:lnTo>
                    <a:pt x="678" y="36"/>
                  </a:lnTo>
                  <a:lnTo>
                    <a:pt x="677" y="46"/>
                  </a:lnTo>
                  <a:lnTo>
                    <a:pt x="679" y="54"/>
                  </a:lnTo>
                  <a:lnTo>
                    <a:pt x="672" y="57"/>
                  </a:lnTo>
                  <a:lnTo>
                    <a:pt x="667" y="53"/>
                  </a:lnTo>
                  <a:lnTo>
                    <a:pt x="661" y="55"/>
                  </a:lnTo>
                  <a:lnTo>
                    <a:pt x="660" y="52"/>
                  </a:lnTo>
                  <a:lnTo>
                    <a:pt x="665" y="47"/>
                  </a:lnTo>
                  <a:lnTo>
                    <a:pt x="670" y="40"/>
                  </a:lnTo>
                  <a:lnTo>
                    <a:pt x="668" y="35"/>
                  </a:lnTo>
                  <a:lnTo>
                    <a:pt x="660" y="41"/>
                  </a:lnTo>
                  <a:lnTo>
                    <a:pt x="655" y="41"/>
                  </a:lnTo>
                  <a:lnTo>
                    <a:pt x="663" y="34"/>
                  </a:lnTo>
                  <a:lnTo>
                    <a:pt x="658" y="29"/>
                  </a:lnTo>
                  <a:lnTo>
                    <a:pt x="661" y="24"/>
                  </a:lnTo>
                  <a:lnTo>
                    <a:pt x="671" y="26"/>
                  </a:lnTo>
                  <a:lnTo>
                    <a:pt x="674" y="18"/>
                  </a:lnTo>
                  <a:lnTo>
                    <a:pt x="675" y="10"/>
                  </a:lnTo>
                  <a:lnTo>
                    <a:pt x="669" y="10"/>
                  </a:lnTo>
                  <a:lnTo>
                    <a:pt x="670" y="5"/>
                  </a:lnTo>
                  <a:lnTo>
                    <a:pt x="666" y="1"/>
                  </a:lnTo>
                  <a:lnTo>
                    <a:pt x="663" y="1"/>
                  </a:lnTo>
                  <a:lnTo>
                    <a:pt x="656" y="7"/>
                  </a:lnTo>
                  <a:lnTo>
                    <a:pt x="650" y="0"/>
                  </a:lnTo>
                  <a:lnTo>
                    <a:pt x="649" y="9"/>
                  </a:lnTo>
                  <a:lnTo>
                    <a:pt x="646" y="19"/>
                  </a:lnTo>
                  <a:lnTo>
                    <a:pt x="644" y="26"/>
                  </a:lnTo>
                  <a:lnTo>
                    <a:pt x="640" y="31"/>
                  </a:lnTo>
                  <a:lnTo>
                    <a:pt x="639" y="35"/>
                  </a:lnTo>
                  <a:lnTo>
                    <a:pt x="640" y="41"/>
                  </a:lnTo>
                  <a:lnTo>
                    <a:pt x="636" y="41"/>
                  </a:lnTo>
                  <a:lnTo>
                    <a:pt x="634" y="46"/>
                  </a:lnTo>
                  <a:lnTo>
                    <a:pt x="634" y="54"/>
                  </a:lnTo>
                  <a:lnTo>
                    <a:pt x="628" y="54"/>
                  </a:lnTo>
                  <a:lnTo>
                    <a:pt x="621" y="62"/>
                  </a:lnTo>
                  <a:lnTo>
                    <a:pt x="621" y="53"/>
                  </a:lnTo>
                  <a:lnTo>
                    <a:pt x="624" y="44"/>
                  </a:lnTo>
                  <a:lnTo>
                    <a:pt x="619" y="37"/>
                  </a:lnTo>
                  <a:lnTo>
                    <a:pt x="624" y="32"/>
                  </a:lnTo>
                  <a:lnTo>
                    <a:pt x="624" y="21"/>
                  </a:lnTo>
                  <a:lnTo>
                    <a:pt x="623" y="15"/>
                  </a:lnTo>
                  <a:lnTo>
                    <a:pt x="621" y="14"/>
                  </a:lnTo>
                  <a:lnTo>
                    <a:pt x="617" y="16"/>
                  </a:lnTo>
                  <a:lnTo>
                    <a:pt x="599" y="47"/>
                  </a:lnTo>
                  <a:lnTo>
                    <a:pt x="596" y="50"/>
                  </a:lnTo>
                  <a:lnTo>
                    <a:pt x="593" y="58"/>
                  </a:lnTo>
                  <a:lnTo>
                    <a:pt x="588" y="64"/>
                  </a:lnTo>
                  <a:lnTo>
                    <a:pt x="585" y="73"/>
                  </a:lnTo>
                  <a:lnTo>
                    <a:pt x="590" y="69"/>
                  </a:lnTo>
                  <a:lnTo>
                    <a:pt x="578" y="87"/>
                  </a:lnTo>
                  <a:lnTo>
                    <a:pt x="574" y="90"/>
                  </a:lnTo>
                  <a:lnTo>
                    <a:pt x="573" y="83"/>
                  </a:lnTo>
                  <a:lnTo>
                    <a:pt x="574" y="77"/>
                  </a:lnTo>
                  <a:lnTo>
                    <a:pt x="577" y="73"/>
                  </a:lnTo>
                  <a:lnTo>
                    <a:pt x="579" y="71"/>
                  </a:lnTo>
                  <a:lnTo>
                    <a:pt x="579" y="68"/>
                  </a:lnTo>
                  <a:lnTo>
                    <a:pt x="581" y="58"/>
                  </a:lnTo>
                  <a:lnTo>
                    <a:pt x="580" y="54"/>
                  </a:lnTo>
                  <a:lnTo>
                    <a:pt x="583" y="45"/>
                  </a:lnTo>
                  <a:lnTo>
                    <a:pt x="595" y="30"/>
                  </a:lnTo>
                  <a:lnTo>
                    <a:pt x="599" y="22"/>
                  </a:lnTo>
                  <a:lnTo>
                    <a:pt x="594" y="19"/>
                  </a:lnTo>
                  <a:lnTo>
                    <a:pt x="586" y="25"/>
                  </a:lnTo>
                  <a:lnTo>
                    <a:pt x="581" y="26"/>
                  </a:lnTo>
                  <a:lnTo>
                    <a:pt x="581" y="19"/>
                  </a:lnTo>
                  <a:lnTo>
                    <a:pt x="577" y="17"/>
                  </a:lnTo>
                  <a:lnTo>
                    <a:pt x="575" y="14"/>
                  </a:lnTo>
                  <a:lnTo>
                    <a:pt x="575" y="10"/>
                  </a:lnTo>
                  <a:lnTo>
                    <a:pt x="570" y="17"/>
                  </a:lnTo>
                  <a:lnTo>
                    <a:pt x="568" y="13"/>
                  </a:lnTo>
                  <a:lnTo>
                    <a:pt x="564" y="13"/>
                  </a:lnTo>
                  <a:lnTo>
                    <a:pt x="563" y="26"/>
                  </a:lnTo>
                  <a:lnTo>
                    <a:pt x="556" y="24"/>
                  </a:lnTo>
                  <a:lnTo>
                    <a:pt x="559" y="31"/>
                  </a:lnTo>
                  <a:lnTo>
                    <a:pt x="563" y="35"/>
                  </a:lnTo>
                  <a:lnTo>
                    <a:pt x="564" y="37"/>
                  </a:lnTo>
                  <a:lnTo>
                    <a:pt x="557" y="41"/>
                  </a:lnTo>
                  <a:lnTo>
                    <a:pt x="553" y="47"/>
                  </a:lnTo>
                  <a:lnTo>
                    <a:pt x="555" y="54"/>
                  </a:lnTo>
                  <a:lnTo>
                    <a:pt x="542" y="54"/>
                  </a:lnTo>
                  <a:lnTo>
                    <a:pt x="535" y="62"/>
                  </a:lnTo>
                  <a:lnTo>
                    <a:pt x="533" y="67"/>
                  </a:lnTo>
                  <a:lnTo>
                    <a:pt x="526" y="75"/>
                  </a:lnTo>
                  <a:lnTo>
                    <a:pt x="525" y="78"/>
                  </a:lnTo>
                  <a:lnTo>
                    <a:pt x="527" y="83"/>
                  </a:lnTo>
                  <a:lnTo>
                    <a:pt x="525" y="88"/>
                  </a:lnTo>
                  <a:lnTo>
                    <a:pt x="525" y="96"/>
                  </a:lnTo>
                  <a:lnTo>
                    <a:pt x="521" y="96"/>
                  </a:lnTo>
                  <a:lnTo>
                    <a:pt x="518" y="93"/>
                  </a:lnTo>
                  <a:lnTo>
                    <a:pt x="518" y="88"/>
                  </a:lnTo>
                  <a:lnTo>
                    <a:pt x="521" y="87"/>
                  </a:lnTo>
                  <a:lnTo>
                    <a:pt x="514" y="84"/>
                  </a:lnTo>
                  <a:lnTo>
                    <a:pt x="517" y="79"/>
                  </a:lnTo>
                  <a:lnTo>
                    <a:pt x="517" y="78"/>
                  </a:lnTo>
                  <a:lnTo>
                    <a:pt x="501" y="76"/>
                  </a:lnTo>
                  <a:lnTo>
                    <a:pt x="502" y="83"/>
                  </a:lnTo>
                  <a:lnTo>
                    <a:pt x="500" y="83"/>
                  </a:lnTo>
                  <a:lnTo>
                    <a:pt x="495" y="82"/>
                  </a:lnTo>
                  <a:lnTo>
                    <a:pt x="495" y="78"/>
                  </a:lnTo>
                  <a:lnTo>
                    <a:pt x="494" y="73"/>
                  </a:lnTo>
                  <a:lnTo>
                    <a:pt x="492" y="75"/>
                  </a:lnTo>
                  <a:lnTo>
                    <a:pt x="491" y="69"/>
                  </a:lnTo>
                  <a:lnTo>
                    <a:pt x="488" y="72"/>
                  </a:lnTo>
                  <a:lnTo>
                    <a:pt x="486" y="69"/>
                  </a:lnTo>
                  <a:lnTo>
                    <a:pt x="484" y="72"/>
                  </a:lnTo>
                  <a:lnTo>
                    <a:pt x="483" y="81"/>
                  </a:lnTo>
                  <a:lnTo>
                    <a:pt x="480" y="76"/>
                  </a:lnTo>
                  <a:lnTo>
                    <a:pt x="478" y="71"/>
                  </a:lnTo>
                  <a:lnTo>
                    <a:pt x="476" y="69"/>
                  </a:lnTo>
                  <a:lnTo>
                    <a:pt x="476" y="82"/>
                  </a:lnTo>
                  <a:lnTo>
                    <a:pt x="485" y="87"/>
                  </a:lnTo>
                  <a:lnTo>
                    <a:pt x="489" y="87"/>
                  </a:lnTo>
                  <a:lnTo>
                    <a:pt x="489" y="93"/>
                  </a:lnTo>
                  <a:lnTo>
                    <a:pt x="487" y="98"/>
                  </a:lnTo>
                  <a:lnTo>
                    <a:pt x="487" y="104"/>
                  </a:lnTo>
                  <a:lnTo>
                    <a:pt x="489" y="110"/>
                  </a:lnTo>
                  <a:lnTo>
                    <a:pt x="489" y="117"/>
                  </a:lnTo>
                  <a:lnTo>
                    <a:pt x="486" y="114"/>
                  </a:lnTo>
                  <a:lnTo>
                    <a:pt x="476" y="99"/>
                  </a:lnTo>
                  <a:lnTo>
                    <a:pt x="468" y="91"/>
                  </a:lnTo>
                  <a:lnTo>
                    <a:pt x="470" y="102"/>
                  </a:lnTo>
                  <a:lnTo>
                    <a:pt x="467" y="101"/>
                  </a:lnTo>
                  <a:lnTo>
                    <a:pt x="466" y="107"/>
                  </a:lnTo>
                  <a:lnTo>
                    <a:pt x="463" y="107"/>
                  </a:lnTo>
                  <a:lnTo>
                    <a:pt x="461" y="110"/>
                  </a:lnTo>
                  <a:lnTo>
                    <a:pt x="459" y="109"/>
                  </a:lnTo>
                  <a:lnTo>
                    <a:pt x="459" y="105"/>
                  </a:lnTo>
                  <a:lnTo>
                    <a:pt x="461" y="99"/>
                  </a:lnTo>
                  <a:lnTo>
                    <a:pt x="457" y="102"/>
                  </a:lnTo>
                  <a:lnTo>
                    <a:pt x="453" y="107"/>
                  </a:lnTo>
                  <a:lnTo>
                    <a:pt x="451" y="113"/>
                  </a:lnTo>
                  <a:lnTo>
                    <a:pt x="448" y="115"/>
                  </a:lnTo>
                  <a:lnTo>
                    <a:pt x="449" y="123"/>
                  </a:lnTo>
                  <a:lnTo>
                    <a:pt x="450" y="126"/>
                  </a:lnTo>
                  <a:lnTo>
                    <a:pt x="442" y="133"/>
                  </a:lnTo>
                  <a:lnTo>
                    <a:pt x="438" y="144"/>
                  </a:lnTo>
                  <a:lnTo>
                    <a:pt x="434" y="149"/>
                  </a:lnTo>
                  <a:lnTo>
                    <a:pt x="439" y="138"/>
                  </a:lnTo>
                  <a:lnTo>
                    <a:pt x="440" y="132"/>
                  </a:lnTo>
                  <a:lnTo>
                    <a:pt x="441" y="120"/>
                  </a:lnTo>
                  <a:lnTo>
                    <a:pt x="442" y="110"/>
                  </a:lnTo>
                  <a:lnTo>
                    <a:pt x="440" y="99"/>
                  </a:lnTo>
                  <a:lnTo>
                    <a:pt x="435" y="102"/>
                  </a:lnTo>
                  <a:lnTo>
                    <a:pt x="432" y="109"/>
                  </a:lnTo>
                  <a:lnTo>
                    <a:pt x="426" y="116"/>
                  </a:lnTo>
                  <a:lnTo>
                    <a:pt x="425" y="128"/>
                  </a:lnTo>
                  <a:lnTo>
                    <a:pt x="422" y="139"/>
                  </a:lnTo>
                  <a:lnTo>
                    <a:pt x="421" y="111"/>
                  </a:lnTo>
                  <a:lnTo>
                    <a:pt x="408" y="113"/>
                  </a:lnTo>
                  <a:lnTo>
                    <a:pt x="403" y="123"/>
                  </a:lnTo>
                  <a:lnTo>
                    <a:pt x="403" y="125"/>
                  </a:lnTo>
                  <a:lnTo>
                    <a:pt x="404" y="136"/>
                  </a:lnTo>
                  <a:lnTo>
                    <a:pt x="409" y="143"/>
                  </a:lnTo>
                  <a:lnTo>
                    <a:pt x="413" y="145"/>
                  </a:lnTo>
                  <a:lnTo>
                    <a:pt x="417" y="152"/>
                  </a:lnTo>
                  <a:lnTo>
                    <a:pt x="417" y="157"/>
                  </a:lnTo>
                  <a:lnTo>
                    <a:pt x="412" y="157"/>
                  </a:lnTo>
                  <a:lnTo>
                    <a:pt x="409" y="148"/>
                  </a:lnTo>
                  <a:lnTo>
                    <a:pt x="403" y="145"/>
                  </a:lnTo>
                  <a:lnTo>
                    <a:pt x="398" y="136"/>
                  </a:lnTo>
                  <a:lnTo>
                    <a:pt x="394" y="132"/>
                  </a:lnTo>
                  <a:lnTo>
                    <a:pt x="388" y="133"/>
                  </a:lnTo>
                  <a:lnTo>
                    <a:pt x="392" y="142"/>
                  </a:lnTo>
                  <a:lnTo>
                    <a:pt x="398" y="148"/>
                  </a:lnTo>
                  <a:lnTo>
                    <a:pt x="394" y="153"/>
                  </a:lnTo>
                  <a:lnTo>
                    <a:pt x="389" y="150"/>
                  </a:lnTo>
                  <a:lnTo>
                    <a:pt x="387" y="153"/>
                  </a:lnTo>
                  <a:lnTo>
                    <a:pt x="386" y="146"/>
                  </a:lnTo>
                  <a:lnTo>
                    <a:pt x="382" y="149"/>
                  </a:lnTo>
                  <a:lnTo>
                    <a:pt x="381" y="146"/>
                  </a:lnTo>
                  <a:lnTo>
                    <a:pt x="383" y="139"/>
                  </a:lnTo>
                  <a:lnTo>
                    <a:pt x="380" y="136"/>
                  </a:lnTo>
                  <a:lnTo>
                    <a:pt x="379" y="139"/>
                  </a:lnTo>
                  <a:lnTo>
                    <a:pt x="375" y="151"/>
                  </a:lnTo>
                  <a:lnTo>
                    <a:pt x="376" y="156"/>
                  </a:lnTo>
                  <a:lnTo>
                    <a:pt x="378" y="160"/>
                  </a:lnTo>
                  <a:lnTo>
                    <a:pt x="366" y="167"/>
                  </a:lnTo>
                  <a:lnTo>
                    <a:pt x="363" y="169"/>
                  </a:lnTo>
                  <a:lnTo>
                    <a:pt x="361" y="174"/>
                  </a:lnTo>
                  <a:lnTo>
                    <a:pt x="361" y="179"/>
                  </a:lnTo>
                  <a:lnTo>
                    <a:pt x="362" y="183"/>
                  </a:lnTo>
                  <a:lnTo>
                    <a:pt x="367" y="181"/>
                  </a:lnTo>
                  <a:lnTo>
                    <a:pt x="370" y="186"/>
                  </a:lnTo>
                  <a:lnTo>
                    <a:pt x="364" y="186"/>
                  </a:lnTo>
                  <a:lnTo>
                    <a:pt x="365" y="191"/>
                  </a:lnTo>
                  <a:lnTo>
                    <a:pt x="366" y="195"/>
                  </a:lnTo>
                  <a:lnTo>
                    <a:pt x="359" y="192"/>
                  </a:lnTo>
                  <a:lnTo>
                    <a:pt x="356" y="193"/>
                  </a:lnTo>
                  <a:lnTo>
                    <a:pt x="360" y="197"/>
                  </a:lnTo>
                  <a:lnTo>
                    <a:pt x="357" y="200"/>
                  </a:lnTo>
                  <a:lnTo>
                    <a:pt x="351" y="198"/>
                  </a:lnTo>
                  <a:lnTo>
                    <a:pt x="350" y="202"/>
                  </a:lnTo>
                  <a:lnTo>
                    <a:pt x="346" y="200"/>
                  </a:lnTo>
                  <a:lnTo>
                    <a:pt x="338" y="203"/>
                  </a:lnTo>
                  <a:lnTo>
                    <a:pt x="335" y="208"/>
                  </a:lnTo>
                  <a:lnTo>
                    <a:pt x="332" y="210"/>
                  </a:lnTo>
                  <a:lnTo>
                    <a:pt x="331" y="212"/>
                  </a:lnTo>
                  <a:lnTo>
                    <a:pt x="337" y="216"/>
                  </a:lnTo>
                  <a:lnTo>
                    <a:pt x="342" y="214"/>
                  </a:lnTo>
                  <a:lnTo>
                    <a:pt x="345" y="211"/>
                  </a:lnTo>
                  <a:lnTo>
                    <a:pt x="353" y="216"/>
                  </a:lnTo>
                  <a:lnTo>
                    <a:pt x="359" y="212"/>
                  </a:lnTo>
                  <a:lnTo>
                    <a:pt x="361" y="214"/>
                  </a:lnTo>
                  <a:lnTo>
                    <a:pt x="363" y="218"/>
                  </a:lnTo>
                  <a:lnTo>
                    <a:pt x="357" y="218"/>
                  </a:lnTo>
                  <a:lnTo>
                    <a:pt x="355" y="222"/>
                  </a:lnTo>
                  <a:lnTo>
                    <a:pt x="354" y="229"/>
                  </a:lnTo>
                  <a:lnTo>
                    <a:pt x="346" y="225"/>
                  </a:lnTo>
                  <a:lnTo>
                    <a:pt x="340" y="224"/>
                  </a:lnTo>
                  <a:lnTo>
                    <a:pt x="339" y="222"/>
                  </a:lnTo>
                  <a:lnTo>
                    <a:pt x="333" y="220"/>
                  </a:lnTo>
                  <a:lnTo>
                    <a:pt x="325" y="224"/>
                  </a:lnTo>
                  <a:lnTo>
                    <a:pt x="323" y="228"/>
                  </a:lnTo>
                  <a:lnTo>
                    <a:pt x="328" y="237"/>
                  </a:lnTo>
                  <a:lnTo>
                    <a:pt x="329" y="241"/>
                  </a:lnTo>
                  <a:lnTo>
                    <a:pt x="325" y="241"/>
                  </a:lnTo>
                  <a:lnTo>
                    <a:pt x="328" y="248"/>
                  </a:lnTo>
                  <a:lnTo>
                    <a:pt x="328" y="254"/>
                  </a:lnTo>
                  <a:lnTo>
                    <a:pt x="324" y="252"/>
                  </a:lnTo>
                  <a:lnTo>
                    <a:pt x="324" y="258"/>
                  </a:lnTo>
                  <a:lnTo>
                    <a:pt x="320" y="259"/>
                  </a:lnTo>
                  <a:lnTo>
                    <a:pt x="317" y="239"/>
                  </a:lnTo>
                  <a:lnTo>
                    <a:pt x="313" y="240"/>
                  </a:lnTo>
                  <a:lnTo>
                    <a:pt x="311" y="247"/>
                  </a:lnTo>
                  <a:lnTo>
                    <a:pt x="308" y="246"/>
                  </a:lnTo>
                  <a:lnTo>
                    <a:pt x="306" y="248"/>
                  </a:lnTo>
                  <a:lnTo>
                    <a:pt x="311" y="250"/>
                  </a:lnTo>
                  <a:lnTo>
                    <a:pt x="310" y="252"/>
                  </a:lnTo>
                  <a:lnTo>
                    <a:pt x="306" y="253"/>
                  </a:lnTo>
                  <a:lnTo>
                    <a:pt x="302" y="256"/>
                  </a:lnTo>
                  <a:lnTo>
                    <a:pt x="301" y="261"/>
                  </a:lnTo>
                  <a:lnTo>
                    <a:pt x="301" y="266"/>
                  </a:lnTo>
                  <a:lnTo>
                    <a:pt x="306" y="269"/>
                  </a:lnTo>
                  <a:lnTo>
                    <a:pt x="302" y="271"/>
                  </a:lnTo>
                  <a:lnTo>
                    <a:pt x="305" y="274"/>
                  </a:lnTo>
                  <a:lnTo>
                    <a:pt x="302" y="276"/>
                  </a:lnTo>
                  <a:lnTo>
                    <a:pt x="299" y="282"/>
                  </a:lnTo>
                  <a:lnTo>
                    <a:pt x="297" y="283"/>
                  </a:lnTo>
                  <a:lnTo>
                    <a:pt x="294" y="283"/>
                  </a:lnTo>
                  <a:lnTo>
                    <a:pt x="295" y="285"/>
                  </a:lnTo>
                  <a:lnTo>
                    <a:pt x="300" y="287"/>
                  </a:lnTo>
                  <a:lnTo>
                    <a:pt x="310" y="283"/>
                  </a:lnTo>
                  <a:lnTo>
                    <a:pt x="303" y="291"/>
                  </a:lnTo>
                  <a:lnTo>
                    <a:pt x="300" y="293"/>
                  </a:lnTo>
                  <a:lnTo>
                    <a:pt x="290" y="291"/>
                  </a:lnTo>
                  <a:lnTo>
                    <a:pt x="288" y="289"/>
                  </a:lnTo>
                  <a:lnTo>
                    <a:pt x="287" y="285"/>
                  </a:lnTo>
                  <a:lnTo>
                    <a:pt x="283" y="286"/>
                  </a:lnTo>
                  <a:lnTo>
                    <a:pt x="278" y="291"/>
                  </a:lnTo>
                  <a:lnTo>
                    <a:pt x="275" y="299"/>
                  </a:lnTo>
                  <a:lnTo>
                    <a:pt x="270" y="304"/>
                  </a:lnTo>
                  <a:lnTo>
                    <a:pt x="269" y="308"/>
                  </a:lnTo>
                  <a:lnTo>
                    <a:pt x="273" y="308"/>
                  </a:lnTo>
                  <a:lnTo>
                    <a:pt x="272" y="313"/>
                  </a:lnTo>
                  <a:lnTo>
                    <a:pt x="272" y="315"/>
                  </a:lnTo>
                  <a:lnTo>
                    <a:pt x="267" y="317"/>
                  </a:lnTo>
                  <a:lnTo>
                    <a:pt x="265" y="327"/>
                  </a:lnTo>
                  <a:lnTo>
                    <a:pt x="261" y="326"/>
                  </a:lnTo>
                  <a:lnTo>
                    <a:pt x="258" y="328"/>
                  </a:lnTo>
                  <a:lnTo>
                    <a:pt x="254" y="328"/>
                  </a:lnTo>
                  <a:lnTo>
                    <a:pt x="250" y="334"/>
                  </a:lnTo>
                  <a:lnTo>
                    <a:pt x="253" y="339"/>
                  </a:lnTo>
                  <a:lnTo>
                    <a:pt x="251" y="342"/>
                  </a:lnTo>
                  <a:lnTo>
                    <a:pt x="245" y="343"/>
                  </a:lnTo>
                  <a:lnTo>
                    <a:pt x="245" y="348"/>
                  </a:lnTo>
                  <a:lnTo>
                    <a:pt x="240" y="349"/>
                  </a:lnTo>
                  <a:lnTo>
                    <a:pt x="241" y="352"/>
                  </a:lnTo>
                  <a:lnTo>
                    <a:pt x="238" y="354"/>
                  </a:lnTo>
                  <a:lnTo>
                    <a:pt x="238" y="358"/>
                  </a:lnTo>
                  <a:lnTo>
                    <a:pt x="244" y="360"/>
                  </a:lnTo>
                  <a:lnTo>
                    <a:pt x="243" y="363"/>
                  </a:lnTo>
                  <a:lnTo>
                    <a:pt x="238" y="365"/>
                  </a:lnTo>
                  <a:lnTo>
                    <a:pt x="235" y="363"/>
                  </a:lnTo>
                  <a:lnTo>
                    <a:pt x="235" y="364"/>
                  </a:lnTo>
                  <a:lnTo>
                    <a:pt x="235" y="371"/>
                  </a:lnTo>
                  <a:lnTo>
                    <a:pt x="238" y="376"/>
                  </a:lnTo>
                  <a:lnTo>
                    <a:pt x="241" y="372"/>
                  </a:lnTo>
                  <a:lnTo>
                    <a:pt x="243" y="374"/>
                  </a:lnTo>
                  <a:lnTo>
                    <a:pt x="242" y="379"/>
                  </a:lnTo>
                  <a:lnTo>
                    <a:pt x="231" y="381"/>
                  </a:lnTo>
                  <a:lnTo>
                    <a:pt x="229" y="383"/>
                  </a:lnTo>
                  <a:lnTo>
                    <a:pt x="228" y="391"/>
                  </a:lnTo>
                  <a:lnTo>
                    <a:pt x="224" y="394"/>
                  </a:lnTo>
                  <a:lnTo>
                    <a:pt x="220" y="396"/>
                  </a:lnTo>
                  <a:lnTo>
                    <a:pt x="217" y="403"/>
                  </a:lnTo>
                  <a:lnTo>
                    <a:pt x="221" y="402"/>
                  </a:lnTo>
                  <a:lnTo>
                    <a:pt x="225" y="398"/>
                  </a:lnTo>
                  <a:lnTo>
                    <a:pt x="231" y="395"/>
                  </a:lnTo>
                  <a:lnTo>
                    <a:pt x="231" y="400"/>
                  </a:lnTo>
                  <a:lnTo>
                    <a:pt x="234" y="407"/>
                  </a:lnTo>
                  <a:lnTo>
                    <a:pt x="224" y="403"/>
                  </a:lnTo>
                  <a:lnTo>
                    <a:pt x="223" y="408"/>
                  </a:lnTo>
                  <a:lnTo>
                    <a:pt x="225" y="410"/>
                  </a:lnTo>
                  <a:lnTo>
                    <a:pt x="222" y="413"/>
                  </a:lnTo>
                  <a:lnTo>
                    <a:pt x="221" y="416"/>
                  </a:lnTo>
                  <a:lnTo>
                    <a:pt x="222" y="421"/>
                  </a:lnTo>
                  <a:lnTo>
                    <a:pt x="220" y="422"/>
                  </a:lnTo>
                  <a:lnTo>
                    <a:pt x="217" y="420"/>
                  </a:lnTo>
                  <a:lnTo>
                    <a:pt x="215" y="423"/>
                  </a:lnTo>
                  <a:lnTo>
                    <a:pt x="216" y="429"/>
                  </a:lnTo>
                  <a:lnTo>
                    <a:pt x="220" y="431"/>
                  </a:lnTo>
                  <a:lnTo>
                    <a:pt x="221" y="441"/>
                  </a:lnTo>
                  <a:lnTo>
                    <a:pt x="217" y="437"/>
                  </a:lnTo>
                  <a:lnTo>
                    <a:pt x="213" y="436"/>
                  </a:lnTo>
                  <a:lnTo>
                    <a:pt x="210" y="429"/>
                  </a:lnTo>
                  <a:lnTo>
                    <a:pt x="211" y="438"/>
                  </a:lnTo>
                  <a:lnTo>
                    <a:pt x="209" y="441"/>
                  </a:lnTo>
                  <a:lnTo>
                    <a:pt x="205" y="442"/>
                  </a:lnTo>
                  <a:lnTo>
                    <a:pt x="204" y="447"/>
                  </a:lnTo>
                  <a:lnTo>
                    <a:pt x="206" y="449"/>
                  </a:lnTo>
                  <a:lnTo>
                    <a:pt x="209" y="447"/>
                  </a:lnTo>
                  <a:lnTo>
                    <a:pt x="212" y="443"/>
                  </a:lnTo>
                  <a:lnTo>
                    <a:pt x="213" y="445"/>
                  </a:lnTo>
                  <a:lnTo>
                    <a:pt x="212" y="447"/>
                  </a:lnTo>
                  <a:lnTo>
                    <a:pt x="212" y="451"/>
                  </a:lnTo>
                  <a:lnTo>
                    <a:pt x="213" y="455"/>
                  </a:lnTo>
                  <a:lnTo>
                    <a:pt x="209" y="458"/>
                  </a:lnTo>
                  <a:lnTo>
                    <a:pt x="204" y="455"/>
                  </a:lnTo>
                  <a:lnTo>
                    <a:pt x="201" y="460"/>
                  </a:lnTo>
                  <a:lnTo>
                    <a:pt x="197" y="458"/>
                  </a:lnTo>
                  <a:lnTo>
                    <a:pt x="193" y="463"/>
                  </a:lnTo>
                  <a:lnTo>
                    <a:pt x="193" y="468"/>
                  </a:lnTo>
                  <a:lnTo>
                    <a:pt x="189" y="471"/>
                  </a:lnTo>
                  <a:lnTo>
                    <a:pt x="185" y="472"/>
                  </a:lnTo>
                  <a:lnTo>
                    <a:pt x="182" y="483"/>
                  </a:lnTo>
                  <a:lnTo>
                    <a:pt x="187" y="482"/>
                  </a:lnTo>
                  <a:lnTo>
                    <a:pt x="192" y="478"/>
                  </a:lnTo>
                  <a:lnTo>
                    <a:pt x="194" y="480"/>
                  </a:lnTo>
                  <a:lnTo>
                    <a:pt x="185" y="484"/>
                  </a:lnTo>
                  <a:lnTo>
                    <a:pt x="185" y="489"/>
                  </a:lnTo>
                  <a:lnTo>
                    <a:pt x="187" y="495"/>
                  </a:lnTo>
                  <a:lnTo>
                    <a:pt x="185" y="499"/>
                  </a:lnTo>
                  <a:lnTo>
                    <a:pt x="179" y="501"/>
                  </a:lnTo>
                  <a:lnTo>
                    <a:pt x="172" y="495"/>
                  </a:lnTo>
                  <a:lnTo>
                    <a:pt x="170" y="495"/>
                  </a:lnTo>
                  <a:lnTo>
                    <a:pt x="166" y="502"/>
                  </a:lnTo>
                  <a:lnTo>
                    <a:pt x="160" y="506"/>
                  </a:lnTo>
                  <a:lnTo>
                    <a:pt x="159" y="509"/>
                  </a:lnTo>
                  <a:lnTo>
                    <a:pt x="156" y="513"/>
                  </a:lnTo>
                  <a:lnTo>
                    <a:pt x="147" y="526"/>
                  </a:lnTo>
                  <a:lnTo>
                    <a:pt x="146" y="529"/>
                  </a:lnTo>
                  <a:lnTo>
                    <a:pt x="147" y="534"/>
                  </a:lnTo>
                  <a:lnTo>
                    <a:pt x="147" y="536"/>
                  </a:lnTo>
                  <a:lnTo>
                    <a:pt x="136" y="542"/>
                  </a:lnTo>
                  <a:lnTo>
                    <a:pt x="135" y="548"/>
                  </a:lnTo>
                  <a:lnTo>
                    <a:pt x="138" y="550"/>
                  </a:lnTo>
                  <a:lnTo>
                    <a:pt x="144" y="548"/>
                  </a:lnTo>
                  <a:lnTo>
                    <a:pt x="142" y="556"/>
                  </a:lnTo>
                  <a:lnTo>
                    <a:pt x="145" y="562"/>
                  </a:lnTo>
                  <a:lnTo>
                    <a:pt x="149" y="563"/>
                  </a:lnTo>
                  <a:lnTo>
                    <a:pt x="168" y="550"/>
                  </a:lnTo>
                  <a:lnTo>
                    <a:pt x="179" y="544"/>
                  </a:lnTo>
                  <a:lnTo>
                    <a:pt x="182" y="541"/>
                  </a:lnTo>
                  <a:lnTo>
                    <a:pt x="185" y="542"/>
                  </a:lnTo>
                  <a:lnTo>
                    <a:pt x="183" y="545"/>
                  </a:lnTo>
                  <a:lnTo>
                    <a:pt x="176" y="550"/>
                  </a:lnTo>
                  <a:lnTo>
                    <a:pt x="172" y="550"/>
                  </a:lnTo>
                  <a:lnTo>
                    <a:pt x="166" y="554"/>
                  </a:lnTo>
                  <a:lnTo>
                    <a:pt x="162" y="558"/>
                  </a:lnTo>
                  <a:lnTo>
                    <a:pt x="165" y="562"/>
                  </a:lnTo>
                  <a:lnTo>
                    <a:pt x="164" y="564"/>
                  </a:lnTo>
                  <a:lnTo>
                    <a:pt x="155" y="567"/>
                  </a:lnTo>
                  <a:lnTo>
                    <a:pt x="150" y="567"/>
                  </a:lnTo>
                  <a:lnTo>
                    <a:pt x="148" y="569"/>
                  </a:lnTo>
                  <a:lnTo>
                    <a:pt x="149" y="572"/>
                  </a:lnTo>
                  <a:lnTo>
                    <a:pt x="147" y="573"/>
                  </a:lnTo>
                  <a:lnTo>
                    <a:pt x="142" y="572"/>
                  </a:lnTo>
                  <a:lnTo>
                    <a:pt x="142" y="567"/>
                  </a:lnTo>
                  <a:lnTo>
                    <a:pt x="138" y="560"/>
                  </a:lnTo>
                  <a:lnTo>
                    <a:pt x="136" y="557"/>
                  </a:lnTo>
                  <a:lnTo>
                    <a:pt x="133" y="557"/>
                  </a:lnTo>
                  <a:lnTo>
                    <a:pt x="131" y="560"/>
                  </a:lnTo>
                  <a:lnTo>
                    <a:pt x="128" y="561"/>
                  </a:lnTo>
                  <a:lnTo>
                    <a:pt x="124" y="564"/>
                  </a:lnTo>
                  <a:lnTo>
                    <a:pt x="124" y="568"/>
                  </a:lnTo>
                  <a:lnTo>
                    <a:pt x="127" y="570"/>
                  </a:lnTo>
                  <a:lnTo>
                    <a:pt x="128" y="573"/>
                  </a:lnTo>
                  <a:lnTo>
                    <a:pt x="122" y="576"/>
                  </a:lnTo>
                  <a:lnTo>
                    <a:pt x="119" y="573"/>
                  </a:lnTo>
                  <a:lnTo>
                    <a:pt x="119" y="568"/>
                  </a:lnTo>
                  <a:lnTo>
                    <a:pt x="118" y="565"/>
                  </a:lnTo>
                  <a:lnTo>
                    <a:pt x="104" y="571"/>
                  </a:lnTo>
                  <a:lnTo>
                    <a:pt x="102" y="574"/>
                  </a:lnTo>
                  <a:lnTo>
                    <a:pt x="100" y="580"/>
                  </a:lnTo>
                  <a:lnTo>
                    <a:pt x="96" y="579"/>
                  </a:lnTo>
                  <a:lnTo>
                    <a:pt x="97" y="583"/>
                  </a:lnTo>
                  <a:lnTo>
                    <a:pt x="96" y="585"/>
                  </a:lnTo>
                  <a:lnTo>
                    <a:pt x="92" y="585"/>
                  </a:lnTo>
                  <a:lnTo>
                    <a:pt x="92" y="583"/>
                  </a:lnTo>
                  <a:lnTo>
                    <a:pt x="91" y="581"/>
                  </a:lnTo>
                  <a:lnTo>
                    <a:pt x="89" y="581"/>
                  </a:lnTo>
                  <a:lnTo>
                    <a:pt x="88" y="584"/>
                  </a:lnTo>
                  <a:lnTo>
                    <a:pt x="88" y="586"/>
                  </a:lnTo>
                  <a:lnTo>
                    <a:pt x="87" y="587"/>
                  </a:lnTo>
                  <a:lnTo>
                    <a:pt x="82" y="587"/>
                  </a:lnTo>
                  <a:lnTo>
                    <a:pt x="75" y="591"/>
                  </a:lnTo>
                  <a:lnTo>
                    <a:pt x="74" y="598"/>
                  </a:lnTo>
                  <a:lnTo>
                    <a:pt x="71" y="604"/>
                  </a:lnTo>
                  <a:lnTo>
                    <a:pt x="67" y="601"/>
                  </a:lnTo>
                  <a:lnTo>
                    <a:pt x="62" y="601"/>
                  </a:lnTo>
                  <a:lnTo>
                    <a:pt x="57" y="604"/>
                  </a:lnTo>
                  <a:lnTo>
                    <a:pt x="56" y="608"/>
                  </a:lnTo>
                  <a:lnTo>
                    <a:pt x="61" y="611"/>
                  </a:lnTo>
                  <a:lnTo>
                    <a:pt x="59" y="615"/>
                  </a:lnTo>
                  <a:lnTo>
                    <a:pt x="64" y="616"/>
                  </a:lnTo>
                  <a:lnTo>
                    <a:pt x="69" y="614"/>
                  </a:lnTo>
                  <a:lnTo>
                    <a:pt x="72" y="617"/>
                  </a:lnTo>
                  <a:lnTo>
                    <a:pt x="74" y="619"/>
                  </a:lnTo>
                  <a:lnTo>
                    <a:pt x="71" y="623"/>
                  </a:lnTo>
                  <a:lnTo>
                    <a:pt x="72" y="626"/>
                  </a:lnTo>
                  <a:lnTo>
                    <a:pt x="68" y="624"/>
                  </a:lnTo>
                  <a:lnTo>
                    <a:pt x="64" y="625"/>
                  </a:lnTo>
                  <a:lnTo>
                    <a:pt x="52" y="623"/>
                  </a:lnTo>
                  <a:lnTo>
                    <a:pt x="48" y="623"/>
                  </a:lnTo>
                  <a:lnTo>
                    <a:pt x="46" y="625"/>
                  </a:lnTo>
                  <a:lnTo>
                    <a:pt x="42" y="625"/>
                  </a:lnTo>
                  <a:lnTo>
                    <a:pt x="39" y="627"/>
                  </a:lnTo>
                  <a:lnTo>
                    <a:pt x="40" y="628"/>
                  </a:lnTo>
                  <a:lnTo>
                    <a:pt x="43" y="630"/>
                  </a:lnTo>
                  <a:lnTo>
                    <a:pt x="40" y="631"/>
                  </a:lnTo>
                  <a:lnTo>
                    <a:pt x="40" y="634"/>
                  </a:lnTo>
                  <a:lnTo>
                    <a:pt x="44" y="634"/>
                  </a:lnTo>
                  <a:lnTo>
                    <a:pt x="47" y="632"/>
                  </a:lnTo>
                  <a:lnTo>
                    <a:pt x="43" y="637"/>
                  </a:lnTo>
                  <a:lnTo>
                    <a:pt x="43" y="641"/>
                  </a:lnTo>
                  <a:lnTo>
                    <a:pt x="45" y="649"/>
                  </a:lnTo>
                  <a:lnTo>
                    <a:pt x="43" y="650"/>
                  </a:lnTo>
                  <a:lnTo>
                    <a:pt x="41" y="643"/>
                  </a:lnTo>
                  <a:lnTo>
                    <a:pt x="39" y="640"/>
                  </a:lnTo>
                  <a:lnTo>
                    <a:pt x="34" y="643"/>
                  </a:lnTo>
                  <a:lnTo>
                    <a:pt x="31" y="647"/>
                  </a:lnTo>
                  <a:lnTo>
                    <a:pt x="29" y="652"/>
                  </a:lnTo>
                  <a:lnTo>
                    <a:pt x="32" y="654"/>
                  </a:lnTo>
                  <a:lnTo>
                    <a:pt x="33" y="658"/>
                  </a:lnTo>
                  <a:lnTo>
                    <a:pt x="28" y="655"/>
                  </a:lnTo>
                  <a:lnTo>
                    <a:pt x="26" y="651"/>
                  </a:lnTo>
                  <a:lnTo>
                    <a:pt x="22" y="652"/>
                  </a:lnTo>
                  <a:lnTo>
                    <a:pt x="15" y="652"/>
                  </a:lnTo>
                  <a:lnTo>
                    <a:pt x="15" y="655"/>
                  </a:lnTo>
                  <a:lnTo>
                    <a:pt x="15" y="658"/>
                  </a:lnTo>
                  <a:lnTo>
                    <a:pt x="7" y="651"/>
                  </a:lnTo>
                  <a:lnTo>
                    <a:pt x="5" y="653"/>
                  </a:lnTo>
                  <a:lnTo>
                    <a:pt x="8" y="662"/>
                  </a:lnTo>
                  <a:lnTo>
                    <a:pt x="6" y="664"/>
                  </a:lnTo>
                  <a:lnTo>
                    <a:pt x="7" y="666"/>
                  </a:lnTo>
                  <a:lnTo>
                    <a:pt x="22" y="666"/>
                  </a:lnTo>
                  <a:lnTo>
                    <a:pt x="35" y="662"/>
                  </a:lnTo>
                  <a:lnTo>
                    <a:pt x="27" y="667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6"/>
                  </a:lnTo>
                  <a:lnTo>
                    <a:pt x="40" y="668"/>
                  </a:lnTo>
                  <a:lnTo>
                    <a:pt x="35" y="671"/>
                  </a:lnTo>
                  <a:lnTo>
                    <a:pt x="27" y="672"/>
                  </a:lnTo>
                  <a:lnTo>
                    <a:pt x="19" y="672"/>
                  </a:lnTo>
                  <a:lnTo>
                    <a:pt x="16" y="669"/>
                  </a:lnTo>
                  <a:lnTo>
                    <a:pt x="13" y="669"/>
                  </a:lnTo>
                  <a:lnTo>
                    <a:pt x="6" y="674"/>
                  </a:lnTo>
                  <a:lnTo>
                    <a:pt x="6" y="677"/>
                  </a:lnTo>
                  <a:lnTo>
                    <a:pt x="2" y="677"/>
                  </a:lnTo>
                  <a:lnTo>
                    <a:pt x="1" y="678"/>
                  </a:lnTo>
                  <a:lnTo>
                    <a:pt x="0" y="681"/>
                  </a:lnTo>
                  <a:lnTo>
                    <a:pt x="8" y="684"/>
                  </a:lnTo>
                  <a:lnTo>
                    <a:pt x="8" y="687"/>
                  </a:lnTo>
                  <a:lnTo>
                    <a:pt x="8" y="691"/>
                  </a:lnTo>
                  <a:lnTo>
                    <a:pt x="5" y="693"/>
                  </a:lnTo>
                  <a:lnTo>
                    <a:pt x="2" y="698"/>
                  </a:lnTo>
                  <a:lnTo>
                    <a:pt x="3" y="701"/>
                  </a:lnTo>
                  <a:lnTo>
                    <a:pt x="2" y="703"/>
                  </a:lnTo>
                  <a:lnTo>
                    <a:pt x="2" y="707"/>
                  </a:lnTo>
                  <a:lnTo>
                    <a:pt x="4" y="709"/>
                  </a:lnTo>
                  <a:lnTo>
                    <a:pt x="4" y="713"/>
                  </a:lnTo>
                  <a:lnTo>
                    <a:pt x="12" y="715"/>
                  </a:lnTo>
                  <a:lnTo>
                    <a:pt x="28" y="708"/>
                  </a:lnTo>
                  <a:lnTo>
                    <a:pt x="31" y="711"/>
                  </a:lnTo>
                  <a:lnTo>
                    <a:pt x="37" y="711"/>
                  </a:lnTo>
                  <a:lnTo>
                    <a:pt x="39" y="704"/>
                  </a:lnTo>
                  <a:lnTo>
                    <a:pt x="44" y="696"/>
                  </a:lnTo>
                  <a:lnTo>
                    <a:pt x="45" y="701"/>
                  </a:lnTo>
                  <a:lnTo>
                    <a:pt x="43" y="709"/>
                  </a:lnTo>
                  <a:lnTo>
                    <a:pt x="46" y="710"/>
                  </a:lnTo>
                  <a:lnTo>
                    <a:pt x="52" y="710"/>
                  </a:lnTo>
                  <a:lnTo>
                    <a:pt x="55" y="709"/>
                  </a:lnTo>
                  <a:lnTo>
                    <a:pt x="58" y="711"/>
                  </a:lnTo>
                  <a:lnTo>
                    <a:pt x="64" y="704"/>
                  </a:lnTo>
                  <a:lnTo>
                    <a:pt x="66" y="692"/>
                  </a:lnTo>
                  <a:lnTo>
                    <a:pt x="72" y="688"/>
                  </a:lnTo>
                  <a:lnTo>
                    <a:pt x="73" y="691"/>
                  </a:lnTo>
                  <a:lnTo>
                    <a:pt x="69" y="699"/>
                  </a:lnTo>
                  <a:lnTo>
                    <a:pt x="68" y="705"/>
                  </a:lnTo>
                  <a:lnTo>
                    <a:pt x="67" y="707"/>
                  </a:lnTo>
                  <a:lnTo>
                    <a:pt x="70" y="707"/>
                  </a:lnTo>
                  <a:lnTo>
                    <a:pt x="74" y="704"/>
                  </a:lnTo>
                  <a:lnTo>
                    <a:pt x="76" y="706"/>
                  </a:lnTo>
                  <a:lnTo>
                    <a:pt x="69" y="712"/>
                  </a:lnTo>
                  <a:lnTo>
                    <a:pt x="59" y="715"/>
                  </a:lnTo>
                  <a:lnTo>
                    <a:pt x="59" y="720"/>
                  </a:lnTo>
                  <a:lnTo>
                    <a:pt x="62" y="724"/>
                  </a:lnTo>
                  <a:lnTo>
                    <a:pt x="55" y="728"/>
                  </a:lnTo>
                  <a:lnTo>
                    <a:pt x="55" y="722"/>
                  </a:lnTo>
                  <a:lnTo>
                    <a:pt x="53" y="719"/>
                  </a:lnTo>
                  <a:lnTo>
                    <a:pt x="48" y="715"/>
                  </a:lnTo>
                  <a:lnTo>
                    <a:pt x="43" y="715"/>
                  </a:lnTo>
                  <a:lnTo>
                    <a:pt x="36" y="717"/>
                  </a:lnTo>
                  <a:lnTo>
                    <a:pt x="30" y="715"/>
                  </a:lnTo>
                  <a:lnTo>
                    <a:pt x="25" y="717"/>
                  </a:lnTo>
                  <a:lnTo>
                    <a:pt x="20" y="716"/>
                  </a:lnTo>
                  <a:lnTo>
                    <a:pt x="15" y="720"/>
                  </a:lnTo>
                  <a:lnTo>
                    <a:pt x="6" y="718"/>
                  </a:lnTo>
                  <a:lnTo>
                    <a:pt x="3" y="724"/>
                  </a:lnTo>
                  <a:lnTo>
                    <a:pt x="2" y="729"/>
                  </a:lnTo>
                  <a:lnTo>
                    <a:pt x="7" y="730"/>
                  </a:lnTo>
                  <a:lnTo>
                    <a:pt x="9" y="729"/>
                  </a:lnTo>
                  <a:lnTo>
                    <a:pt x="9" y="737"/>
                  </a:lnTo>
                  <a:lnTo>
                    <a:pt x="5" y="735"/>
                  </a:lnTo>
                  <a:lnTo>
                    <a:pt x="2" y="732"/>
                  </a:lnTo>
                  <a:lnTo>
                    <a:pt x="1" y="733"/>
                  </a:lnTo>
                  <a:lnTo>
                    <a:pt x="0" y="733"/>
                  </a:lnTo>
                  <a:lnTo>
                    <a:pt x="0" y="735"/>
                  </a:lnTo>
                  <a:lnTo>
                    <a:pt x="5" y="744"/>
                  </a:lnTo>
                  <a:lnTo>
                    <a:pt x="9" y="745"/>
                  </a:lnTo>
                  <a:lnTo>
                    <a:pt x="16" y="740"/>
                  </a:lnTo>
                  <a:lnTo>
                    <a:pt x="20" y="739"/>
                  </a:lnTo>
                  <a:lnTo>
                    <a:pt x="13" y="747"/>
                  </a:lnTo>
                  <a:lnTo>
                    <a:pt x="11" y="750"/>
                  </a:lnTo>
                  <a:lnTo>
                    <a:pt x="13" y="752"/>
                  </a:lnTo>
                  <a:lnTo>
                    <a:pt x="7" y="756"/>
                  </a:lnTo>
                  <a:lnTo>
                    <a:pt x="5" y="759"/>
                  </a:lnTo>
                  <a:lnTo>
                    <a:pt x="6" y="763"/>
                  </a:lnTo>
                  <a:lnTo>
                    <a:pt x="8" y="766"/>
                  </a:lnTo>
                  <a:lnTo>
                    <a:pt x="9" y="769"/>
                  </a:lnTo>
                  <a:lnTo>
                    <a:pt x="13" y="766"/>
                  </a:lnTo>
                  <a:lnTo>
                    <a:pt x="16" y="763"/>
                  </a:lnTo>
                  <a:lnTo>
                    <a:pt x="16" y="768"/>
                  </a:lnTo>
                  <a:lnTo>
                    <a:pt x="21" y="774"/>
                  </a:lnTo>
                  <a:lnTo>
                    <a:pt x="16" y="775"/>
                  </a:lnTo>
                  <a:lnTo>
                    <a:pt x="12" y="778"/>
                  </a:lnTo>
                  <a:lnTo>
                    <a:pt x="12" y="781"/>
                  </a:lnTo>
                  <a:lnTo>
                    <a:pt x="15" y="783"/>
                  </a:lnTo>
                  <a:lnTo>
                    <a:pt x="20" y="780"/>
                  </a:lnTo>
                  <a:lnTo>
                    <a:pt x="23" y="774"/>
                  </a:lnTo>
                  <a:lnTo>
                    <a:pt x="24" y="768"/>
                  </a:lnTo>
                  <a:lnTo>
                    <a:pt x="28" y="764"/>
                  </a:lnTo>
                  <a:lnTo>
                    <a:pt x="33" y="758"/>
                  </a:lnTo>
                  <a:lnTo>
                    <a:pt x="38" y="747"/>
                  </a:lnTo>
                  <a:lnTo>
                    <a:pt x="43" y="743"/>
                  </a:lnTo>
                  <a:lnTo>
                    <a:pt x="46" y="746"/>
                  </a:lnTo>
                  <a:lnTo>
                    <a:pt x="46" y="748"/>
                  </a:lnTo>
                  <a:lnTo>
                    <a:pt x="53" y="746"/>
                  </a:lnTo>
                  <a:lnTo>
                    <a:pt x="57" y="747"/>
                  </a:lnTo>
                  <a:lnTo>
                    <a:pt x="49" y="751"/>
                  </a:lnTo>
                  <a:lnTo>
                    <a:pt x="48" y="756"/>
                  </a:lnTo>
                  <a:lnTo>
                    <a:pt x="47" y="760"/>
                  </a:lnTo>
                  <a:lnTo>
                    <a:pt x="46" y="754"/>
                  </a:lnTo>
                  <a:lnTo>
                    <a:pt x="43" y="753"/>
                  </a:lnTo>
                  <a:lnTo>
                    <a:pt x="39" y="761"/>
                  </a:lnTo>
                  <a:lnTo>
                    <a:pt x="34" y="766"/>
                  </a:lnTo>
                  <a:lnTo>
                    <a:pt x="37" y="769"/>
                  </a:lnTo>
                  <a:lnTo>
                    <a:pt x="37" y="771"/>
                  </a:lnTo>
                  <a:lnTo>
                    <a:pt x="31" y="774"/>
                  </a:lnTo>
                  <a:lnTo>
                    <a:pt x="21" y="787"/>
                  </a:lnTo>
                  <a:lnTo>
                    <a:pt x="25" y="790"/>
                  </a:lnTo>
                  <a:lnTo>
                    <a:pt x="35" y="789"/>
                  </a:lnTo>
                  <a:lnTo>
                    <a:pt x="38" y="787"/>
                  </a:lnTo>
                  <a:lnTo>
                    <a:pt x="39" y="789"/>
                  </a:lnTo>
                  <a:lnTo>
                    <a:pt x="28" y="793"/>
                  </a:lnTo>
                  <a:lnTo>
                    <a:pt x="25" y="796"/>
                  </a:lnTo>
                  <a:lnTo>
                    <a:pt x="25" y="798"/>
                  </a:lnTo>
                  <a:lnTo>
                    <a:pt x="19" y="798"/>
                  </a:lnTo>
                  <a:lnTo>
                    <a:pt x="17" y="800"/>
                  </a:lnTo>
                  <a:lnTo>
                    <a:pt x="14" y="798"/>
                  </a:lnTo>
                  <a:lnTo>
                    <a:pt x="9" y="804"/>
                  </a:lnTo>
                  <a:lnTo>
                    <a:pt x="7" y="809"/>
                  </a:lnTo>
                  <a:lnTo>
                    <a:pt x="7" y="813"/>
                  </a:lnTo>
                  <a:lnTo>
                    <a:pt x="9" y="815"/>
                  </a:lnTo>
                  <a:lnTo>
                    <a:pt x="9" y="817"/>
                  </a:lnTo>
                  <a:lnTo>
                    <a:pt x="14" y="816"/>
                  </a:lnTo>
                  <a:lnTo>
                    <a:pt x="16" y="812"/>
                  </a:lnTo>
                  <a:lnTo>
                    <a:pt x="18" y="816"/>
                  </a:lnTo>
                  <a:lnTo>
                    <a:pt x="21" y="816"/>
                  </a:lnTo>
                  <a:lnTo>
                    <a:pt x="22" y="813"/>
                  </a:lnTo>
                  <a:lnTo>
                    <a:pt x="22" y="810"/>
                  </a:lnTo>
                  <a:lnTo>
                    <a:pt x="25" y="812"/>
                  </a:lnTo>
                  <a:lnTo>
                    <a:pt x="33" y="808"/>
                  </a:lnTo>
                  <a:lnTo>
                    <a:pt x="36" y="805"/>
                  </a:lnTo>
                  <a:lnTo>
                    <a:pt x="38" y="807"/>
                  </a:lnTo>
                  <a:lnTo>
                    <a:pt x="31" y="816"/>
                  </a:lnTo>
                  <a:lnTo>
                    <a:pt x="34" y="815"/>
                  </a:lnTo>
                  <a:lnTo>
                    <a:pt x="34" y="821"/>
                  </a:lnTo>
                  <a:lnTo>
                    <a:pt x="31" y="825"/>
                  </a:lnTo>
                  <a:lnTo>
                    <a:pt x="30" y="829"/>
                  </a:lnTo>
                  <a:lnTo>
                    <a:pt x="26" y="832"/>
                  </a:lnTo>
                  <a:lnTo>
                    <a:pt x="27" y="836"/>
                  </a:lnTo>
                  <a:lnTo>
                    <a:pt x="27" y="838"/>
                  </a:lnTo>
                  <a:lnTo>
                    <a:pt x="24" y="838"/>
                  </a:lnTo>
                  <a:lnTo>
                    <a:pt x="21" y="839"/>
                  </a:lnTo>
                  <a:lnTo>
                    <a:pt x="19" y="835"/>
                  </a:lnTo>
                  <a:lnTo>
                    <a:pt x="18" y="835"/>
                  </a:lnTo>
                  <a:lnTo>
                    <a:pt x="13" y="852"/>
                  </a:lnTo>
                  <a:lnTo>
                    <a:pt x="20" y="861"/>
                  </a:lnTo>
                  <a:lnTo>
                    <a:pt x="31" y="870"/>
                  </a:lnTo>
                  <a:lnTo>
                    <a:pt x="39" y="875"/>
                  </a:lnTo>
                  <a:lnTo>
                    <a:pt x="45" y="876"/>
                  </a:lnTo>
                  <a:lnTo>
                    <a:pt x="49" y="869"/>
                  </a:lnTo>
                  <a:lnTo>
                    <a:pt x="49" y="879"/>
                  </a:lnTo>
                  <a:lnTo>
                    <a:pt x="47" y="885"/>
                  </a:lnTo>
                  <a:lnTo>
                    <a:pt x="51" y="883"/>
                  </a:lnTo>
                  <a:lnTo>
                    <a:pt x="56" y="886"/>
                  </a:lnTo>
                  <a:lnTo>
                    <a:pt x="58" y="881"/>
                  </a:lnTo>
                  <a:lnTo>
                    <a:pt x="66" y="881"/>
                  </a:lnTo>
                  <a:lnTo>
                    <a:pt x="62" y="886"/>
                  </a:lnTo>
                  <a:lnTo>
                    <a:pt x="70" y="889"/>
                  </a:lnTo>
                  <a:lnTo>
                    <a:pt x="77" y="886"/>
                  </a:lnTo>
                  <a:lnTo>
                    <a:pt x="83" y="881"/>
                  </a:lnTo>
                  <a:lnTo>
                    <a:pt x="86" y="874"/>
                  </a:lnTo>
                  <a:lnTo>
                    <a:pt x="89" y="880"/>
                  </a:lnTo>
                  <a:lnTo>
                    <a:pt x="100" y="873"/>
                  </a:lnTo>
                  <a:lnTo>
                    <a:pt x="110" y="859"/>
                  </a:lnTo>
                  <a:lnTo>
                    <a:pt x="117" y="855"/>
                  </a:lnTo>
                  <a:lnTo>
                    <a:pt x="118" y="850"/>
                  </a:lnTo>
                  <a:lnTo>
                    <a:pt x="122" y="847"/>
                  </a:lnTo>
                  <a:lnTo>
                    <a:pt x="123" y="844"/>
                  </a:lnTo>
                  <a:lnTo>
                    <a:pt x="132" y="835"/>
                  </a:lnTo>
                  <a:lnTo>
                    <a:pt x="130" y="830"/>
                  </a:lnTo>
                  <a:lnTo>
                    <a:pt x="137" y="834"/>
                  </a:lnTo>
                  <a:lnTo>
                    <a:pt x="144" y="834"/>
                  </a:lnTo>
                  <a:lnTo>
                    <a:pt x="148" y="832"/>
                  </a:lnTo>
                  <a:lnTo>
                    <a:pt x="150" y="826"/>
                  </a:lnTo>
                  <a:lnTo>
                    <a:pt x="150" y="822"/>
                  </a:lnTo>
                  <a:lnTo>
                    <a:pt x="154" y="818"/>
                  </a:lnTo>
                  <a:lnTo>
                    <a:pt x="154" y="813"/>
                  </a:lnTo>
                  <a:lnTo>
                    <a:pt x="151" y="809"/>
                  </a:lnTo>
                  <a:lnTo>
                    <a:pt x="148" y="805"/>
                  </a:lnTo>
                  <a:lnTo>
                    <a:pt x="150" y="804"/>
                  </a:lnTo>
                  <a:lnTo>
                    <a:pt x="151" y="801"/>
                  </a:lnTo>
                  <a:lnTo>
                    <a:pt x="149" y="795"/>
                  </a:lnTo>
                  <a:lnTo>
                    <a:pt x="152" y="797"/>
                  </a:lnTo>
                  <a:lnTo>
                    <a:pt x="154" y="801"/>
                  </a:lnTo>
                  <a:lnTo>
                    <a:pt x="154" y="805"/>
                  </a:lnTo>
                  <a:lnTo>
                    <a:pt x="157" y="804"/>
                  </a:lnTo>
                  <a:lnTo>
                    <a:pt x="158" y="801"/>
                  </a:lnTo>
                  <a:lnTo>
                    <a:pt x="155" y="796"/>
                  </a:lnTo>
                  <a:lnTo>
                    <a:pt x="155" y="788"/>
                  </a:lnTo>
                  <a:lnTo>
                    <a:pt x="156" y="786"/>
                  </a:lnTo>
                  <a:lnTo>
                    <a:pt x="157" y="787"/>
                  </a:lnTo>
                  <a:lnTo>
                    <a:pt x="160" y="785"/>
                  </a:lnTo>
                  <a:lnTo>
                    <a:pt x="163" y="786"/>
                  </a:lnTo>
                  <a:lnTo>
                    <a:pt x="163" y="790"/>
                  </a:lnTo>
                  <a:lnTo>
                    <a:pt x="159" y="792"/>
                  </a:lnTo>
                  <a:lnTo>
                    <a:pt x="159" y="795"/>
                  </a:lnTo>
                  <a:lnTo>
                    <a:pt x="160" y="801"/>
                  </a:lnTo>
                  <a:lnTo>
                    <a:pt x="161" y="816"/>
                  </a:lnTo>
                  <a:lnTo>
                    <a:pt x="163" y="822"/>
                  </a:lnTo>
                  <a:lnTo>
                    <a:pt x="167" y="821"/>
                  </a:lnTo>
                  <a:lnTo>
                    <a:pt x="172" y="826"/>
                  </a:lnTo>
                  <a:lnTo>
                    <a:pt x="175" y="825"/>
                  </a:lnTo>
                  <a:lnTo>
                    <a:pt x="177" y="829"/>
                  </a:lnTo>
                  <a:lnTo>
                    <a:pt x="178" y="832"/>
                  </a:lnTo>
                  <a:lnTo>
                    <a:pt x="178" y="843"/>
                  </a:lnTo>
                  <a:lnTo>
                    <a:pt x="180" y="836"/>
                  </a:lnTo>
                  <a:lnTo>
                    <a:pt x="182" y="841"/>
                  </a:lnTo>
                  <a:lnTo>
                    <a:pt x="187" y="838"/>
                  </a:lnTo>
                  <a:lnTo>
                    <a:pt x="190" y="818"/>
                  </a:lnTo>
                  <a:lnTo>
                    <a:pt x="188" y="812"/>
                  </a:lnTo>
                  <a:lnTo>
                    <a:pt x="188" y="803"/>
                  </a:lnTo>
                  <a:lnTo>
                    <a:pt x="194" y="792"/>
                  </a:lnTo>
                  <a:lnTo>
                    <a:pt x="194" y="785"/>
                  </a:lnTo>
                  <a:lnTo>
                    <a:pt x="209" y="779"/>
                  </a:lnTo>
                  <a:lnTo>
                    <a:pt x="212" y="774"/>
                  </a:lnTo>
                  <a:lnTo>
                    <a:pt x="213" y="766"/>
                  </a:lnTo>
                  <a:lnTo>
                    <a:pt x="210" y="761"/>
                  </a:lnTo>
                  <a:lnTo>
                    <a:pt x="214" y="746"/>
                  </a:lnTo>
                  <a:lnTo>
                    <a:pt x="210" y="728"/>
                  </a:lnTo>
                  <a:lnTo>
                    <a:pt x="204" y="722"/>
                  </a:lnTo>
                  <a:lnTo>
                    <a:pt x="206" y="718"/>
                  </a:lnTo>
                  <a:lnTo>
                    <a:pt x="214" y="715"/>
                  </a:lnTo>
                  <a:lnTo>
                    <a:pt x="219" y="709"/>
                  </a:lnTo>
                  <a:lnTo>
                    <a:pt x="222" y="700"/>
                  </a:lnTo>
                  <a:lnTo>
                    <a:pt x="221" y="689"/>
                  </a:lnTo>
                  <a:lnTo>
                    <a:pt x="210" y="681"/>
                  </a:lnTo>
                  <a:lnTo>
                    <a:pt x="205" y="673"/>
                  </a:lnTo>
                  <a:lnTo>
                    <a:pt x="204" y="662"/>
                  </a:lnTo>
                  <a:lnTo>
                    <a:pt x="205" y="640"/>
                  </a:lnTo>
                  <a:lnTo>
                    <a:pt x="203" y="632"/>
                  </a:lnTo>
                  <a:lnTo>
                    <a:pt x="201" y="630"/>
                  </a:lnTo>
                  <a:lnTo>
                    <a:pt x="201" y="624"/>
                  </a:lnTo>
                  <a:lnTo>
                    <a:pt x="203" y="619"/>
                  </a:lnTo>
                  <a:lnTo>
                    <a:pt x="203" y="609"/>
                  </a:lnTo>
                  <a:lnTo>
                    <a:pt x="204" y="604"/>
                  </a:lnTo>
                  <a:lnTo>
                    <a:pt x="205" y="598"/>
                  </a:lnTo>
                  <a:lnTo>
                    <a:pt x="209" y="593"/>
                  </a:lnTo>
                  <a:lnTo>
                    <a:pt x="206" y="590"/>
                  </a:lnTo>
                  <a:lnTo>
                    <a:pt x="203" y="583"/>
                  </a:lnTo>
                  <a:lnTo>
                    <a:pt x="201" y="573"/>
                  </a:lnTo>
                  <a:lnTo>
                    <a:pt x="203" y="563"/>
                  </a:lnTo>
                  <a:lnTo>
                    <a:pt x="207" y="555"/>
                  </a:lnTo>
                  <a:lnTo>
                    <a:pt x="220" y="539"/>
                  </a:lnTo>
                  <a:lnTo>
                    <a:pt x="228" y="533"/>
                  </a:lnTo>
                  <a:lnTo>
                    <a:pt x="240" y="530"/>
                  </a:lnTo>
                  <a:lnTo>
                    <a:pt x="249" y="532"/>
                  </a:lnTo>
                  <a:lnTo>
                    <a:pt x="256" y="532"/>
                  </a:lnTo>
                  <a:lnTo>
                    <a:pt x="261" y="526"/>
                  </a:lnTo>
                  <a:lnTo>
                    <a:pt x="263" y="520"/>
                  </a:lnTo>
                  <a:lnTo>
                    <a:pt x="263" y="510"/>
                  </a:lnTo>
                  <a:lnTo>
                    <a:pt x="259" y="504"/>
                  </a:lnTo>
                  <a:lnTo>
                    <a:pt x="252" y="495"/>
                  </a:lnTo>
                  <a:lnTo>
                    <a:pt x="251" y="490"/>
                  </a:lnTo>
                  <a:lnTo>
                    <a:pt x="262" y="474"/>
                  </a:lnTo>
                  <a:lnTo>
                    <a:pt x="270" y="454"/>
                  </a:lnTo>
                  <a:lnTo>
                    <a:pt x="275" y="428"/>
                  </a:lnTo>
                  <a:lnTo>
                    <a:pt x="276" y="413"/>
                  </a:lnTo>
                  <a:lnTo>
                    <a:pt x="276" y="402"/>
                  </a:lnTo>
                  <a:lnTo>
                    <a:pt x="275" y="394"/>
                  </a:lnTo>
                  <a:lnTo>
                    <a:pt x="279" y="392"/>
                  </a:lnTo>
                  <a:lnTo>
                    <a:pt x="285" y="392"/>
                  </a:lnTo>
                  <a:lnTo>
                    <a:pt x="294" y="385"/>
                  </a:lnTo>
                  <a:lnTo>
                    <a:pt x="296" y="378"/>
                  </a:lnTo>
                  <a:lnTo>
                    <a:pt x="298" y="367"/>
                  </a:lnTo>
                  <a:lnTo>
                    <a:pt x="301" y="359"/>
                  </a:lnTo>
                  <a:lnTo>
                    <a:pt x="313" y="343"/>
                  </a:lnTo>
                  <a:lnTo>
                    <a:pt x="317" y="336"/>
                  </a:lnTo>
                  <a:lnTo>
                    <a:pt x="323" y="329"/>
                  </a:lnTo>
                  <a:lnTo>
                    <a:pt x="327" y="323"/>
                  </a:lnTo>
                  <a:lnTo>
                    <a:pt x="328" y="318"/>
                  </a:lnTo>
                  <a:lnTo>
                    <a:pt x="327" y="311"/>
                  </a:lnTo>
                  <a:lnTo>
                    <a:pt x="320" y="299"/>
                  </a:lnTo>
                  <a:lnTo>
                    <a:pt x="322" y="292"/>
                  </a:lnTo>
                  <a:lnTo>
                    <a:pt x="329" y="283"/>
                  </a:lnTo>
                  <a:lnTo>
                    <a:pt x="333" y="278"/>
                  </a:lnTo>
                  <a:lnTo>
                    <a:pt x="333" y="271"/>
                  </a:lnTo>
                  <a:lnTo>
                    <a:pt x="336" y="262"/>
                  </a:lnTo>
                  <a:lnTo>
                    <a:pt x="340" y="256"/>
                  </a:lnTo>
                  <a:lnTo>
                    <a:pt x="350" y="246"/>
                  </a:lnTo>
                  <a:lnTo>
                    <a:pt x="356" y="245"/>
                  </a:lnTo>
                  <a:lnTo>
                    <a:pt x="363" y="248"/>
                  </a:lnTo>
                  <a:lnTo>
                    <a:pt x="368" y="255"/>
                  </a:lnTo>
                  <a:lnTo>
                    <a:pt x="370" y="256"/>
                  </a:lnTo>
                  <a:lnTo>
                    <a:pt x="375" y="247"/>
                  </a:lnTo>
                  <a:lnTo>
                    <a:pt x="378" y="236"/>
                  </a:lnTo>
                  <a:lnTo>
                    <a:pt x="379" y="231"/>
                  </a:lnTo>
                  <a:lnTo>
                    <a:pt x="378" y="219"/>
                  </a:lnTo>
                  <a:lnTo>
                    <a:pt x="380" y="214"/>
                  </a:lnTo>
                  <a:lnTo>
                    <a:pt x="383" y="211"/>
                  </a:lnTo>
                  <a:lnTo>
                    <a:pt x="388" y="211"/>
                  </a:lnTo>
                  <a:lnTo>
                    <a:pt x="404" y="213"/>
                  </a:lnTo>
                  <a:lnTo>
                    <a:pt x="427" y="221"/>
                  </a:lnTo>
                  <a:lnTo>
                    <a:pt x="431" y="220"/>
                  </a:lnTo>
                  <a:lnTo>
                    <a:pt x="435" y="215"/>
                  </a:lnTo>
                  <a:lnTo>
                    <a:pt x="430" y="210"/>
                  </a:lnTo>
                  <a:lnTo>
                    <a:pt x="429" y="205"/>
                  </a:lnTo>
                  <a:lnTo>
                    <a:pt x="432" y="199"/>
                  </a:lnTo>
                  <a:lnTo>
                    <a:pt x="434" y="191"/>
                  </a:lnTo>
                  <a:lnTo>
                    <a:pt x="436" y="189"/>
                  </a:lnTo>
                  <a:lnTo>
                    <a:pt x="437" y="184"/>
                  </a:lnTo>
                  <a:lnTo>
                    <a:pt x="437" y="178"/>
                  </a:lnTo>
                  <a:lnTo>
                    <a:pt x="434" y="175"/>
                  </a:lnTo>
                  <a:lnTo>
                    <a:pt x="433" y="170"/>
                  </a:lnTo>
                  <a:lnTo>
                    <a:pt x="436" y="169"/>
                  </a:lnTo>
                  <a:lnTo>
                    <a:pt x="448" y="169"/>
                  </a:lnTo>
                  <a:lnTo>
                    <a:pt x="450" y="165"/>
                  </a:lnTo>
                  <a:lnTo>
                    <a:pt x="454" y="164"/>
                  </a:lnTo>
                  <a:lnTo>
                    <a:pt x="459" y="165"/>
                  </a:lnTo>
                  <a:lnTo>
                    <a:pt x="464" y="164"/>
                  </a:lnTo>
                  <a:lnTo>
                    <a:pt x="462" y="158"/>
                  </a:lnTo>
                  <a:lnTo>
                    <a:pt x="461" y="151"/>
                  </a:lnTo>
                  <a:lnTo>
                    <a:pt x="468" y="148"/>
                  </a:lnTo>
                  <a:lnTo>
                    <a:pt x="475" y="151"/>
                  </a:lnTo>
                  <a:lnTo>
                    <a:pt x="482" y="157"/>
                  </a:lnTo>
                  <a:lnTo>
                    <a:pt x="497" y="180"/>
                  </a:lnTo>
                  <a:lnTo>
                    <a:pt x="500" y="190"/>
                  </a:lnTo>
                  <a:lnTo>
                    <a:pt x="503" y="194"/>
                  </a:lnTo>
                  <a:lnTo>
                    <a:pt x="516" y="196"/>
                  </a:lnTo>
                  <a:lnTo>
                    <a:pt x="524" y="200"/>
                  </a:lnTo>
                  <a:lnTo>
                    <a:pt x="530" y="199"/>
                  </a:lnTo>
                  <a:lnTo>
                    <a:pt x="538" y="195"/>
                  </a:lnTo>
                  <a:lnTo>
                    <a:pt x="547" y="184"/>
                  </a:lnTo>
                  <a:lnTo>
                    <a:pt x="552" y="188"/>
                  </a:lnTo>
                  <a:lnTo>
                    <a:pt x="557" y="195"/>
                  </a:lnTo>
                  <a:lnTo>
                    <a:pt x="558" y="199"/>
                  </a:lnTo>
                  <a:lnTo>
                    <a:pt x="564" y="201"/>
                  </a:lnTo>
                  <a:lnTo>
                    <a:pt x="572" y="197"/>
                  </a:lnTo>
                  <a:lnTo>
                    <a:pt x="579" y="192"/>
                  </a:lnTo>
                  <a:lnTo>
                    <a:pt x="583" y="185"/>
                  </a:lnTo>
                  <a:lnTo>
                    <a:pt x="597" y="175"/>
                  </a:lnTo>
                  <a:lnTo>
                    <a:pt x="598" y="168"/>
                  </a:lnTo>
                  <a:lnTo>
                    <a:pt x="597" y="156"/>
                  </a:lnTo>
                  <a:lnTo>
                    <a:pt x="597" y="149"/>
                  </a:lnTo>
                  <a:lnTo>
                    <a:pt x="599" y="127"/>
                  </a:lnTo>
                  <a:lnTo>
                    <a:pt x="605" y="111"/>
                  </a:lnTo>
                  <a:lnTo>
                    <a:pt x="611" y="104"/>
                  </a:lnTo>
                  <a:lnTo>
                    <a:pt x="618" y="100"/>
                  </a:lnTo>
                  <a:lnTo>
                    <a:pt x="631" y="99"/>
                  </a:lnTo>
                  <a:lnTo>
                    <a:pt x="651" y="90"/>
                  </a:lnTo>
                  <a:lnTo>
                    <a:pt x="663" y="87"/>
                  </a:lnTo>
                  <a:lnTo>
                    <a:pt x="666" y="90"/>
                  </a:lnTo>
                  <a:lnTo>
                    <a:pt x="671" y="101"/>
                  </a:lnTo>
                  <a:lnTo>
                    <a:pt x="677" y="105"/>
                  </a:lnTo>
                  <a:lnTo>
                    <a:pt x="686" y="109"/>
                  </a:lnTo>
                  <a:lnTo>
                    <a:pt x="696" y="118"/>
                  </a:lnTo>
                  <a:lnTo>
                    <a:pt x="699" y="132"/>
                  </a:lnTo>
                  <a:lnTo>
                    <a:pt x="700" y="141"/>
                  </a:lnTo>
                  <a:lnTo>
                    <a:pt x="690" y="153"/>
                  </a:lnTo>
                  <a:lnTo>
                    <a:pt x="688" y="160"/>
                  </a:lnTo>
                  <a:lnTo>
                    <a:pt x="688" y="165"/>
                  </a:lnTo>
                  <a:lnTo>
                    <a:pt x="693" y="169"/>
                  </a:lnTo>
                  <a:lnTo>
                    <a:pt x="695" y="169"/>
                  </a:lnTo>
                  <a:lnTo>
                    <a:pt x="699" y="164"/>
                  </a:lnTo>
                  <a:lnTo>
                    <a:pt x="700" y="162"/>
                  </a:lnTo>
                  <a:lnTo>
                    <a:pt x="701" y="156"/>
                  </a:lnTo>
                  <a:lnTo>
                    <a:pt x="702" y="154"/>
                  </a:lnTo>
                  <a:lnTo>
                    <a:pt x="718" y="144"/>
                  </a:lnTo>
                  <a:lnTo>
                    <a:pt x="722" y="140"/>
                  </a:lnTo>
                  <a:lnTo>
                    <a:pt x="725" y="124"/>
                  </a:lnTo>
                  <a:lnTo>
                    <a:pt x="737" y="132"/>
                  </a:lnTo>
                  <a:lnTo>
                    <a:pt x="743" y="130"/>
                  </a:lnTo>
                  <a:lnTo>
                    <a:pt x="744" y="127"/>
                  </a:lnTo>
                  <a:lnTo>
                    <a:pt x="746" y="121"/>
                  </a:lnTo>
                  <a:lnTo>
                    <a:pt x="747" y="115"/>
                  </a:lnTo>
                  <a:lnTo>
                    <a:pt x="745" y="113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25" name="Freeform 380"/>
            <p:cNvSpPr>
              <a:spLocks/>
            </p:cNvSpPr>
            <p:nvPr/>
          </p:nvSpPr>
          <p:spPr bwMode="auto">
            <a:xfrm>
              <a:off x="1938" y="1433"/>
              <a:ext cx="749" cy="889"/>
            </a:xfrm>
            <a:custGeom>
              <a:avLst/>
              <a:gdLst>
                <a:gd name="T0" fmla="*/ 713 w 749"/>
                <a:gd name="T1" fmla="*/ 112 h 889"/>
                <a:gd name="T2" fmla="*/ 694 w 749"/>
                <a:gd name="T3" fmla="*/ 82 h 889"/>
                <a:gd name="T4" fmla="*/ 711 w 749"/>
                <a:gd name="T5" fmla="*/ 39 h 889"/>
                <a:gd name="T6" fmla="*/ 678 w 749"/>
                <a:gd name="T7" fmla="*/ 36 h 889"/>
                <a:gd name="T8" fmla="*/ 661 w 749"/>
                <a:gd name="T9" fmla="*/ 24 h 889"/>
                <a:gd name="T10" fmla="*/ 639 w 749"/>
                <a:gd name="T11" fmla="*/ 35 h 889"/>
                <a:gd name="T12" fmla="*/ 617 w 749"/>
                <a:gd name="T13" fmla="*/ 16 h 889"/>
                <a:gd name="T14" fmla="*/ 581 w 749"/>
                <a:gd name="T15" fmla="*/ 58 h 889"/>
                <a:gd name="T16" fmla="*/ 564 w 749"/>
                <a:gd name="T17" fmla="*/ 13 h 889"/>
                <a:gd name="T18" fmla="*/ 527 w 749"/>
                <a:gd name="T19" fmla="*/ 83 h 889"/>
                <a:gd name="T20" fmla="*/ 495 w 749"/>
                <a:gd name="T21" fmla="*/ 78 h 889"/>
                <a:gd name="T22" fmla="*/ 489 w 749"/>
                <a:gd name="T23" fmla="*/ 93 h 889"/>
                <a:gd name="T24" fmla="*/ 459 w 749"/>
                <a:gd name="T25" fmla="*/ 105 h 889"/>
                <a:gd name="T26" fmla="*/ 442 w 749"/>
                <a:gd name="T27" fmla="*/ 110 h 889"/>
                <a:gd name="T28" fmla="*/ 417 w 749"/>
                <a:gd name="T29" fmla="*/ 152 h 889"/>
                <a:gd name="T30" fmla="*/ 382 w 749"/>
                <a:gd name="T31" fmla="*/ 149 h 889"/>
                <a:gd name="T32" fmla="*/ 370 w 749"/>
                <a:gd name="T33" fmla="*/ 186 h 889"/>
                <a:gd name="T34" fmla="*/ 331 w 749"/>
                <a:gd name="T35" fmla="*/ 212 h 889"/>
                <a:gd name="T36" fmla="*/ 333 w 749"/>
                <a:gd name="T37" fmla="*/ 220 h 889"/>
                <a:gd name="T38" fmla="*/ 308 w 749"/>
                <a:gd name="T39" fmla="*/ 246 h 889"/>
                <a:gd name="T40" fmla="*/ 294 w 749"/>
                <a:gd name="T41" fmla="*/ 283 h 889"/>
                <a:gd name="T42" fmla="*/ 273 w 749"/>
                <a:gd name="T43" fmla="*/ 308 h 889"/>
                <a:gd name="T44" fmla="*/ 241 w 749"/>
                <a:gd name="T45" fmla="*/ 352 h 889"/>
                <a:gd name="T46" fmla="*/ 229 w 749"/>
                <a:gd name="T47" fmla="*/ 383 h 889"/>
                <a:gd name="T48" fmla="*/ 221 w 749"/>
                <a:gd name="T49" fmla="*/ 416 h 889"/>
                <a:gd name="T50" fmla="*/ 204 w 749"/>
                <a:gd name="T51" fmla="*/ 447 h 889"/>
                <a:gd name="T52" fmla="*/ 189 w 749"/>
                <a:gd name="T53" fmla="*/ 471 h 889"/>
                <a:gd name="T54" fmla="*/ 160 w 749"/>
                <a:gd name="T55" fmla="*/ 506 h 889"/>
                <a:gd name="T56" fmla="*/ 168 w 749"/>
                <a:gd name="T57" fmla="*/ 550 h 889"/>
                <a:gd name="T58" fmla="*/ 149 w 749"/>
                <a:gd name="T59" fmla="*/ 572 h 889"/>
                <a:gd name="T60" fmla="*/ 119 w 749"/>
                <a:gd name="T61" fmla="*/ 573 h 889"/>
                <a:gd name="T62" fmla="*/ 88 w 749"/>
                <a:gd name="T63" fmla="*/ 586 h 889"/>
                <a:gd name="T64" fmla="*/ 72 w 749"/>
                <a:gd name="T65" fmla="*/ 617 h 889"/>
                <a:gd name="T66" fmla="*/ 40 w 749"/>
                <a:gd name="T67" fmla="*/ 634 h 889"/>
                <a:gd name="T68" fmla="*/ 28 w 749"/>
                <a:gd name="T69" fmla="*/ 655 h 889"/>
                <a:gd name="T70" fmla="*/ 28 w 749"/>
                <a:gd name="T71" fmla="*/ 668 h 889"/>
                <a:gd name="T72" fmla="*/ 8 w 749"/>
                <a:gd name="T73" fmla="*/ 684 h 889"/>
                <a:gd name="T74" fmla="*/ 39 w 749"/>
                <a:gd name="T75" fmla="*/ 704 h 889"/>
                <a:gd name="T76" fmla="*/ 67 w 749"/>
                <a:gd name="T77" fmla="*/ 707 h 889"/>
                <a:gd name="T78" fmla="*/ 30 w 749"/>
                <a:gd name="T79" fmla="*/ 715 h 889"/>
                <a:gd name="T80" fmla="*/ 0 w 749"/>
                <a:gd name="T81" fmla="*/ 735 h 889"/>
                <a:gd name="T82" fmla="*/ 16 w 749"/>
                <a:gd name="T83" fmla="*/ 763 h 889"/>
                <a:gd name="T84" fmla="*/ 46 w 749"/>
                <a:gd name="T85" fmla="*/ 746 h 889"/>
                <a:gd name="T86" fmla="*/ 21 w 749"/>
                <a:gd name="T87" fmla="*/ 787 h 889"/>
                <a:gd name="T88" fmla="*/ 9 w 749"/>
                <a:gd name="T89" fmla="*/ 815 h 889"/>
                <a:gd name="T90" fmla="*/ 34 w 749"/>
                <a:gd name="T91" fmla="*/ 821 h 889"/>
                <a:gd name="T92" fmla="*/ 45 w 749"/>
                <a:gd name="T93" fmla="*/ 876 h 889"/>
                <a:gd name="T94" fmla="*/ 100 w 749"/>
                <a:gd name="T95" fmla="*/ 873 h 889"/>
                <a:gd name="T96" fmla="*/ 154 w 749"/>
                <a:gd name="T97" fmla="*/ 813 h 889"/>
                <a:gd name="T98" fmla="*/ 157 w 749"/>
                <a:gd name="T99" fmla="*/ 787 h 889"/>
                <a:gd name="T100" fmla="*/ 178 w 749"/>
                <a:gd name="T101" fmla="*/ 843 h 889"/>
                <a:gd name="T102" fmla="*/ 210 w 749"/>
                <a:gd name="T103" fmla="*/ 728 h 889"/>
                <a:gd name="T104" fmla="*/ 203 w 749"/>
                <a:gd name="T105" fmla="*/ 619 h 889"/>
                <a:gd name="T106" fmla="*/ 256 w 749"/>
                <a:gd name="T107" fmla="*/ 532 h 889"/>
                <a:gd name="T108" fmla="*/ 285 w 749"/>
                <a:gd name="T109" fmla="*/ 392 h 889"/>
                <a:gd name="T110" fmla="*/ 333 w 749"/>
                <a:gd name="T111" fmla="*/ 278 h 889"/>
                <a:gd name="T112" fmla="*/ 383 w 749"/>
                <a:gd name="T113" fmla="*/ 211 h 889"/>
                <a:gd name="T114" fmla="*/ 433 w 749"/>
                <a:gd name="T115" fmla="*/ 170 h 889"/>
                <a:gd name="T116" fmla="*/ 503 w 749"/>
                <a:gd name="T117" fmla="*/ 194 h 889"/>
                <a:gd name="T118" fmla="*/ 598 w 749"/>
                <a:gd name="T119" fmla="*/ 168 h 889"/>
                <a:gd name="T120" fmla="*/ 696 w 749"/>
                <a:gd name="T121" fmla="*/ 118 h 889"/>
                <a:gd name="T122" fmla="*/ 725 w 749"/>
                <a:gd name="T123" fmla="*/ 124 h 88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49"/>
                <a:gd name="T187" fmla="*/ 0 h 889"/>
                <a:gd name="T188" fmla="*/ 749 w 749"/>
                <a:gd name="T189" fmla="*/ 889 h 88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49" h="889">
                  <a:moveTo>
                    <a:pt x="745" y="113"/>
                  </a:moveTo>
                  <a:lnTo>
                    <a:pt x="733" y="110"/>
                  </a:lnTo>
                  <a:lnTo>
                    <a:pt x="732" y="121"/>
                  </a:lnTo>
                  <a:lnTo>
                    <a:pt x="729" y="121"/>
                  </a:lnTo>
                  <a:lnTo>
                    <a:pt x="729" y="119"/>
                  </a:lnTo>
                  <a:lnTo>
                    <a:pt x="724" y="118"/>
                  </a:lnTo>
                  <a:lnTo>
                    <a:pt x="723" y="114"/>
                  </a:lnTo>
                  <a:lnTo>
                    <a:pt x="723" y="121"/>
                  </a:lnTo>
                  <a:lnTo>
                    <a:pt x="721" y="122"/>
                  </a:lnTo>
                  <a:lnTo>
                    <a:pt x="719" y="117"/>
                  </a:lnTo>
                  <a:lnTo>
                    <a:pt x="713" y="118"/>
                  </a:lnTo>
                  <a:lnTo>
                    <a:pt x="707" y="121"/>
                  </a:lnTo>
                  <a:lnTo>
                    <a:pt x="709" y="115"/>
                  </a:lnTo>
                  <a:lnTo>
                    <a:pt x="713" y="112"/>
                  </a:lnTo>
                  <a:lnTo>
                    <a:pt x="717" y="111"/>
                  </a:lnTo>
                  <a:lnTo>
                    <a:pt x="718" y="107"/>
                  </a:lnTo>
                  <a:lnTo>
                    <a:pt x="717" y="105"/>
                  </a:lnTo>
                  <a:lnTo>
                    <a:pt x="715" y="101"/>
                  </a:lnTo>
                  <a:lnTo>
                    <a:pt x="704" y="102"/>
                  </a:lnTo>
                  <a:lnTo>
                    <a:pt x="706" y="99"/>
                  </a:lnTo>
                  <a:lnTo>
                    <a:pt x="703" y="96"/>
                  </a:lnTo>
                  <a:lnTo>
                    <a:pt x="696" y="92"/>
                  </a:lnTo>
                  <a:lnTo>
                    <a:pt x="690" y="87"/>
                  </a:lnTo>
                  <a:lnTo>
                    <a:pt x="683" y="85"/>
                  </a:lnTo>
                  <a:lnTo>
                    <a:pt x="681" y="82"/>
                  </a:lnTo>
                  <a:lnTo>
                    <a:pt x="682" y="80"/>
                  </a:lnTo>
                  <a:lnTo>
                    <a:pt x="682" y="78"/>
                  </a:lnTo>
                  <a:lnTo>
                    <a:pt x="694" y="82"/>
                  </a:lnTo>
                  <a:lnTo>
                    <a:pt x="720" y="87"/>
                  </a:lnTo>
                  <a:lnTo>
                    <a:pt x="739" y="71"/>
                  </a:lnTo>
                  <a:lnTo>
                    <a:pt x="745" y="69"/>
                  </a:lnTo>
                  <a:lnTo>
                    <a:pt x="749" y="65"/>
                  </a:lnTo>
                  <a:lnTo>
                    <a:pt x="747" y="58"/>
                  </a:lnTo>
                  <a:lnTo>
                    <a:pt x="741" y="55"/>
                  </a:lnTo>
                  <a:lnTo>
                    <a:pt x="737" y="48"/>
                  </a:lnTo>
                  <a:lnTo>
                    <a:pt x="729" y="47"/>
                  </a:lnTo>
                  <a:lnTo>
                    <a:pt x="724" y="45"/>
                  </a:lnTo>
                  <a:lnTo>
                    <a:pt x="729" y="42"/>
                  </a:lnTo>
                  <a:lnTo>
                    <a:pt x="721" y="38"/>
                  </a:lnTo>
                  <a:lnTo>
                    <a:pt x="718" y="32"/>
                  </a:lnTo>
                  <a:lnTo>
                    <a:pt x="715" y="37"/>
                  </a:lnTo>
                  <a:lnTo>
                    <a:pt x="711" y="39"/>
                  </a:lnTo>
                  <a:lnTo>
                    <a:pt x="711" y="35"/>
                  </a:lnTo>
                  <a:lnTo>
                    <a:pt x="710" y="32"/>
                  </a:lnTo>
                  <a:lnTo>
                    <a:pt x="700" y="37"/>
                  </a:lnTo>
                  <a:lnTo>
                    <a:pt x="699" y="35"/>
                  </a:lnTo>
                  <a:lnTo>
                    <a:pt x="699" y="33"/>
                  </a:lnTo>
                  <a:lnTo>
                    <a:pt x="699" y="31"/>
                  </a:lnTo>
                  <a:lnTo>
                    <a:pt x="699" y="26"/>
                  </a:lnTo>
                  <a:lnTo>
                    <a:pt x="697" y="24"/>
                  </a:lnTo>
                  <a:lnTo>
                    <a:pt x="696" y="20"/>
                  </a:lnTo>
                  <a:lnTo>
                    <a:pt x="691" y="22"/>
                  </a:lnTo>
                  <a:lnTo>
                    <a:pt x="687" y="20"/>
                  </a:lnTo>
                  <a:lnTo>
                    <a:pt x="683" y="21"/>
                  </a:lnTo>
                  <a:lnTo>
                    <a:pt x="679" y="29"/>
                  </a:lnTo>
                  <a:lnTo>
                    <a:pt x="678" y="36"/>
                  </a:lnTo>
                  <a:lnTo>
                    <a:pt x="677" y="46"/>
                  </a:lnTo>
                  <a:lnTo>
                    <a:pt x="679" y="54"/>
                  </a:lnTo>
                  <a:lnTo>
                    <a:pt x="672" y="57"/>
                  </a:lnTo>
                  <a:lnTo>
                    <a:pt x="667" y="53"/>
                  </a:lnTo>
                  <a:lnTo>
                    <a:pt x="661" y="55"/>
                  </a:lnTo>
                  <a:lnTo>
                    <a:pt x="660" y="52"/>
                  </a:lnTo>
                  <a:lnTo>
                    <a:pt x="665" y="47"/>
                  </a:lnTo>
                  <a:lnTo>
                    <a:pt x="670" y="40"/>
                  </a:lnTo>
                  <a:lnTo>
                    <a:pt x="668" y="35"/>
                  </a:lnTo>
                  <a:lnTo>
                    <a:pt x="660" y="41"/>
                  </a:lnTo>
                  <a:lnTo>
                    <a:pt x="655" y="41"/>
                  </a:lnTo>
                  <a:lnTo>
                    <a:pt x="663" y="34"/>
                  </a:lnTo>
                  <a:lnTo>
                    <a:pt x="658" y="29"/>
                  </a:lnTo>
                  <a:lnTo>
                    <a:pt x="661" y="24"/>
                  </a:lnTo>
                  <a:lnTo>
                    <a:pt x="671" y="26"/>
                  </a:lnTo>
                  <a:lnTo>
                    <a:pt x="674" y="18"/>
                  </a:lnTo>
                  <a:lnTo>
                    <a:pt x="675" y="10"/>
                  </a:lnTo>
                  <a:lnTo>
                    <a:pt x="669" y="10"/>
                  </a:lnTo>
                  <a:lnTo>
                    <a:pt x="670" y="5"/>
                  </a:lnTo>
                  <a:lnTo>
                    <a:pt x="666" y="1"/>
                  </a:lnTo>
                  <a:lnTo>
                    <a:pt x="663" y="1"/>
                  </a:lnTo>
                  <a:lnTo>
                    <a:pt x="656" y="7"/>
                  </a:lnTo>
                  <a:lnTo>
                    <a:pt x="650" y="0"/>
                  </a:lnTo>
                  <a:lnTo>
                    <a:pt x="649" y="9"/>
                  </a:lnTo>
                  <a:lnTo>
                    <a:pt x="646" y="19"/>
                  </a:lnTo>
                  <a:lnTo>
                    <a:pt x="644" y="26"/>
                  </a:lnTo>
                  <a:lnTo>
                    <a:pt x="640" y="31"/>
                  </a:lnTo>
                  <a:lnTo>
                    <a:pt x="639" y="35"/>
                  </a:lnTo>
                  <a:lnTo>
                    <a:pt x="640" y="41"/>
                  </a:lnTo>
                  <a:lnTo>
                    <a:pt x="636" y="41"/>
                  </a:lnTo>
                  <a:lnTo>
                    <a:pt x="634" y="46"/>
                  </a:lnTo>
                  <a:lnTo>
                    <a:pt x="634" y="54"/>
                  </a:lnTo>
                  <a:lnTo>
                    <a:pt x="628" y="54"/>
                  </a:lnTo>
                  <a:lnTo>
                    <a:pt x="621" y="62"/>
                  </a:lnTo>
                  <a:lnTo>
                    <a:pt x="621" y="53"/>
                  </a:lnTo>
                  <a:lnTo>
                    <a:pt x="624" y="44"/>
                  </a:lnTo>
                  <a:lnTo>
                    <a:pt x="619" y="37"/>
                  </a:lnTo>
                  <a:lnTo>
                    <a:pt x="624" y="32"/>
                  </a:lnTo>
                  <a:lnTo>
                    <a:pt x="624" y="21"/>
                  </a:lnTo>
                  <a:lnTo>
                    <a:pt x="623" y="15"/>
                  </a:lnTo>
                  <a:lnTo>
                    <a:pt x="621" y="14"/>
                  </a:lnTo>
                  <a:lnTo>
                    <a:pt x="617" y="16"/>
                  </a:lnTo>
                  <a:lnTo>
                    <a:pt x="599" y="47"/>
                  </a:lnTo>
                  <a:lnTo>
                    <a:pt x="596" y="50"/>
                  </a:lnTo>
                  <a:lnTo>
                    <a:pt x="593" y="58"/>
                  </a:lnTo>
                  <a:lnTo>
                    <a:pt x="588" y="64"/>
                  </a:lnTo>
                  <a:lnTo>
                    <a:pt x="585" y="73"/>
                  </a:lnTo>
                  <a:lnTo>
                    <a:pt x="590" y="69"/>
                  </a:lnTo>
                  <a:lnTo>
                    <a:pt x="578" y="87"/>
                  </a:lnTo>
                  <a:lnTo>
                    <a:pt x="574" y="90"/>
                  </a:lnTo>
                  <a:lnTo>
                    <a:pt x="573" y="83"/>
                  </a:lnTo>
                  <a:lnTo>
                    <a:pt x="574" y="77"/>
                  </a:lnTo>
                  <a:lnTo>
                    <a:pt x="577" y="73"/>
                  </a:lnTo>
                  <a:lnTo>
                    <a:pt x="579" y="71"/>
                  </a:lnTo>
                  <a:lnTo>
                    <a:pt x="579" y="68"/>
                  </a:lnTo>
                  <a:lnTo>
                    <a:pt x="581" y="58"/>
                  </a:lnTo>
                  <a:lnTo>
                    <a:pt x="580" y="54"/>
                  </a:lnTo>
                  <a:lnTo>
                    <a:pt x="583" y="45"/>
                  </a:lnTo>
                  <a:lnTo>
                    <a:pt x="595" y="30"/>
                  </a:lnTo>
                  <a:lnTo>
                    <a:pt x="599" y="22"/>
                  </a:lnTo>
                  <a:lnTo>
                    <a:pt x="594" y="19"/>
                  </a:lnTo>
                  <a:lnTo>
                    <a:pt x="586" y="25"/>
                  </a:lnTo>
                  <a:lnTo>
                    <a:pt x="581" y="26"/>
                  </a:lnTo>
                  <a:lnTo>
                    <a:pt x="581" y="19"/>
                  </a:lnTo>
                  <a:lnTo>
                    <a:pt x="577" y="17"/>
                  </a:lnTo>
                  <a:lnTo>
                    <a:pt x="575" y="14"/>
                  </a:lnTo>
                  <a:lnTo>
                    <a:pt x="575" y="10"/>
                  </a:lnTo>
                  <a:lnTo>
                    <a:pt x="570" y="17"/>
                  </a:lnTo>
                  <a:lnTo>
                    <a:pt x="568" y="13"/>
                  </a:lnTo>
                  <a:lnTo>
                    <a:pt x="564" y="13"/>
                  </a:lnTo>
                  <a:lnTo>
                    <a:pt x="563" y="26"/>
                  </a:lnTo>
                  <a:lnTo>
                    <a:pt x="556" y="24"/>
                  </a:lnTo>
                  <a:lnTo>
                    <a:pt x="559" y="31"/>
                  </a:lnTo>
                  <a:lnTo>
                    <a:pt x="563" y="35"/>
                  </a:lnTo>
                  <a:lnTo>
                    <a:pt x="564" y="37"/>
                  </a:lnTo>
                  <a:lnTo>
                    <a:pt x="557" y="41"/>
                  </a:lnTo>
                  <a:lnTo>
                    <a:pt x="553" y="47"/>
                  </a:lnTo>
                  <a:lnTo>
                    <a:pt x="555" y="54"/>
                  </a:lnTo>
                  <a:lnTo>
                    <a:pt x="542" y="54"/>
                  </a:lnTo>
                  <a:lnTo>
                    <a:pt x="535" y="62"/>
                  </a:lnTo>
                  <a:lnTo>
                    <a:pt x="533" y="67"/>
                  </a:lnTo>
                  <a:lnTo>
                    <a:pt x="526" y="75"/>
                  </a:lnTo>
                  <a:lnTo>
                    <a:pt x="525" y="78"/>
                  </a:lnTo>
                  <a:lnTo>
                    <a:pt x="527" y="83"/>
                  </a:lnTo>
                  <a:lnTo>
                    <a:pt x="525" y="88"/>
                  </a:lnTo>
                  <a:lnTo>
                    <a:pt x="525" y="96"/>
                  </a:lnTo>
                  <a:lnTo>
                    <a:pt x="521" y="96"/>
                  </a:lnTo>
                  <a:lnTo>
                    <a:pt x="518" y="93"/>
                  </a:lnTo>
                  <a:lnTo>
                    <a:pt x="518" y="88"/>
                  </a:lnTo>
                  <a:lnTo>
                    <a:pt x="521" y="87"/>
                  </a:lnTo>
                  <a:lnTo>
                    <a:pt x="514" y="84"/>
                  </a:lnTo>
                  <a:lnTo>
                    <a:pt x="517" y="79"/>
                  </a:lnTo>
                  <a:lnTo>
                    <a:pt x="517" y="78"/>
                  </a:lnTo>
                  <a:lnTo>
                    <a:pt x="501" y="76"/>
                  </a:lnTo>
                  <a:lnTo>
                    <a:pt x="502" y="83"/>
                  </a:lnTo>
                  <a:lnTo>
                    <a:pt x="500" y="83"/>
                  </a:lnTo>
                  <a:lnTo>
                    <a:pt x="495" y="82"/>
                  </a:lnTo>
                  <a:lnTo>
                    <a:pt x="495" y="78"/>
                  </a:lnTo>
                  <a:lnTo>
                    <a:pt x="494" y="73"/>
                  </a:lnTo>
                  <a:lnTo>
                    <a:pt x="492" y="75"/>
                  </a:lnTo>
                  <a:lnTo>
                    <a:pt x="491" y="69"/>
                  </a:lnTo>
                  <a:lnTo>
                    <a:pt x="488" y="72"/>
                  </a:lnTo>
                  <a:lnTo>
                    <a:pt x="486" y="69"/>
                  </a:lnTo>
                  <a:lnTo>
                    <a:pt x="484" y="72"/>
                  </a:lnTo>
                  <a:lnTo>
                    <a:pt x="483" y="81"/>
                  </a:lnTo>
                  <a:lnTo>
                    <a:pt x="480" y="76"/>
                  </a:lnTo>
                  <a:lnTo>
                    <a:pt x="478" y="71"/>
                  </a:lnTo>
                  <a:lnTo>
                    <a:pt x="476" y="69"/>
                  </a:lnTo>
                  <a:lnTo>
                    <a:pt x="476" y="82"/>
                  </a:lnTo>
                  <a:lnTo>
                    <a:pt x="485" y="87"/>
                  </a:lnTo>
                  <a:lnTo>
                    <a:pt x="489" y="87"/>
                  </a:lnTo>
                  <a:lnTo>
                    <a:pt x="489" y="93"/>
                  </a:lnTo>
                  <a:lnTo>
                    <a:pt x="487" y="98"/>
                  </a:lnTo>
                  <a:lnTo>
                    <a:pt x="487" y="104"/>
                  </a:lnTo>
                  <a:lnTo>
                    <a:pt x="489" y="110"/>
                  </a:lnTo>
                  <a:lnTo>
                    <a:pt x="489" y="117"/>
                  </a:lnTo>
                  <a:lnTo>
                    <a:pt x="486" y="114"/>
                  </a:lnTo>
                  <a:lnTo>
                    <a:pt x="476" y="99"/>
                  </a:lnTo>
                  <a:lnTo>
                    <a:pt x="468" y="91"/>
                  </a:lnTo>
                  <a:lnTo>
                    <a:pt x="470" y="102"/>
                  </a:lnTo>
                  <a:lnTo>
                    <a:pt x="467" y="101"/>
                  </a:lnTo>
                  <a:lnTo>
                    <a:pt x="466" y="107"/>
                  </a:lnTo>
                  <a:lnTo>
                    <a:pt x="463" y="107"/>
                  </a:lnTo>
                  <a:lnTo>
                    <a:pt x="461" y="110"/>
                  </a:lnTo>
                  <a:lnTo>
                    <a:pt x="459" y="109"/>
                  </a:lnTo>
                  <a:lnTo>
                    <a:pt x="459" y="105"/>
                  </a:lnTo>
                  <a:lnTo>
                    <a:pt x="461" y="99"/>
                  </a:lnTo>
                  <a:lnTo>
                    <a:pt x="457" y="102"/>
                  </a:lnTo>
                  <a:lnTo>
                    <a:pt x="453" y="107"/>
                  </a:lnTo>
                  <a:lnTo>
                    <a:pt x="451" y="113"/>
                  </a:lnTo>
                  <a:lnTo>
                    <a:pt x="448" y="115"/>
                  </a:lnTo>
                  <a:lnTo>
                    <a:pt x="449" y="123"/>
                  </a:lnTo>
                  <a:lnTo>
                    <a:pt x="450" y="126"/>
                  </a:lnTo>
                  <a:lnTo>
                    <a:pt x="442" y="133"/>
                  </a:lnTo>
                  <a:lnTo>
                    <a:pt x="438" y="144"/>
                  </a:lnTo>
                  <a:lnTo>
                    <a:pt x="434" y="149"/>
                  </a:lnTo>
                  <a:lnTo>
                    <a:pt x="439" y="138"/>
                  </a:lnTo>
                  <a:lnTo>
                    <a:pt x="440" y="132"/>
                  </a:lnTo>
                  <a:lnTo>
                    <a:pt x="441" y="120"/>
                  </a:lnTo>
                  <a:lnTo>
                    <a:pt x="442" y="110"/>
                  </a:lnTo>
                  <a:lnTo>
                    <a:pt x="440" y="99"/>
                  </a:lnTo>
                  <a:lnTo>
                    <a:pt x="435" y="102"/>
                  </a:lnTo>
                  <a:lnTo>
                    <a:pt x="432" y="109"/>
                  </a:lnTo>
                  <a:lnTo>
                    <a:pt x="426" y="116"/>
                  </a:lnTo>
                  <a:lnTo>
                    <a:pt x="425" y="128"/>
                  </a:lnTo>
                  <a:lnTo>
                    <a:pt x="422" y="139"/>
                  </a:lnTo>
                  <a:lnTo>
                    <a:pt x="421" y="111"/>
                  </a:lnTo>
                  <a:lnTo>
                    <a:pt x="408" y="113"/>
                  </a:lnTo>
                  <a:lnTo>
                    <a:pt x="403" y="123"/>
                  </a:lnTo>
                  <a:lnTo>
                    <a:pt x="403" y="125"/>
                  </a:lnTo>
                  <a:lnTo>
                    <a:pt x="404" y="136"/>
                  </a:lnTo>
                  <a:lnTo>
                    <a:pt x="409" y="143"/>
                  </a:lnTo>
                  <a:lnTo>
                    <a:pt x="413" y="145"/>
                  </a:lnTo>
                  <a:lnTo>
                    <a:pt x="417" y="152"/>
                  </a:lnTo>
                  <a:lnTo>
                    <a:pt x="417" y="157"/>
                  </a:lnTo>
                  <a:lnTo>
                    <a:pt x="412" y="157"/>
                  </a:lnTo>
                  <a:lnTo>
                    <a:pt x="409" y="148"/>
                  </a:lnTo>
                  <a:lnTo>
                    <a:pt x="403" y="145"/>
                  </a:lnTo>
                  <a:lnTo>
                    <a:pt x="398" y="136"/>
                  </a:lnTo>
                  <a:lnTo>
                    <a:pt x="394" y="132"/>
                  </a:lnTo>
                  <a:lnTo>
                    <a:pt x="388" y="133"/>
                  </a:lnTo>
                  <a:lnTo>
                    <a:pt x="392" y="142"/>
                  </a:lnTo>
                  <a:lnTo>
                    <a:pt x="398" y="148"/>
                  </a:lnTo>
                  <a:lnTo>
                    <a:pt x="394" y="153"/>
                  </a:lnTo>
                  <a:lnTo>
                    <a:pt x="389" y="150"/>
                  </a:lnTo>
                  <a:lnTo>
                    <a:pt x="387" y="153"/>
                  </a:lnTo>
                  <a:lnTo>
                    <a:pt x="386" y="146"/>
                  </a:lnTo>
                  <a:lnTo>
                    <a:pt x="382" y="149"/>
                  </a:lnTo>
                  <a:lnTo>
                    <a:pt x="381" y="146"/>
                  </a:lnTo>
                  <a:lnTo>
                    <a:pt x="383" y="139"/>
                  </a:lnTo>
                  <a:lnTo>
                    <a:pt x="380" y="136"/>
                  </a:lnTo>
                  <a:lnTo>
                    <a:pt x="379" y="139"/>
                  </a:lnTo>
                  <a:lnTo>
                    <a:pt x="375" y="151"/>
                  </a:lnTo>
                  <a:lnTo>
                    <a:pt x="376" y="156"/>
                  </a:lnTo>
                  <a:lnTo>
                    <a:pt x="378" y="160"/>
                  </a:lnTo>
                  <a:lnTo>
                    <a:pt x="366" y="167"/>
                  </a:lnTo>
                  <a:lnTo>
                    <a:pt x="363" y="169"/>
                  </a:lnTo>
                  <a:lnTo>
                    <a:pt x="361" y="174"/>
                  </a:lnTo>
                  <a:lnTo>
                    <a:pt x="361" y="179"/>
                  </a:lnTo>
                  <a:lnTo>
                    <a:pt x="362" y="183"/>
                  </a:lnTo>
                  <a:lnTo>
                    <a:pt x="367" y="181"/>
                  </a:lnTo>
                  <a:lnTo>
                    <a:pt x="370" y="186"/>
                  </a:lnTo>
                  <a:lnTo>
                    <a:pt x="364" y="186"/>
                  </a:lnTo>
                  <a:lnTo>
                    <a:pt x="365" y="191"/>
                  </a:lnTo>
                  <a:lnTo>
                    <a:pt x="366" y="195"/>
                  </a:lnTo>
                  <a:lnTo>
                    <a:pt x="359" y="192"/>
                  </a:lnTo>
                  <a:lnTo>
                    <a:pt x="356" y="193"/>
                  </a:lnTo>
                  <a:lnTo>
                    <a:pt x="360" y="197"/>
                  </a:lnTo>
                  <a:lnTo>
                    <a:pt x="357" y="200"/>
                  </a:lnTo>
                  <a:lnTo>
                    <a:pt x="351" y="198"/>
                  </a:lnTo>
                  <a:lnTo>
                    <a:pt x="350" y="202"/>
                  </a:lnTo>
                  <a:lnTo>
                    <a:pt x="346" y="200"/>
                  </a:lnTo>
                  <a:lnTo>
                    <a:pt x="338" y="203"/>
                  </a:lnTo>
                  <a:lnTo>
                    <a:pt x="335" y="208"/>
                  </a:lnTo>
                  <a:lnTo>
                    <a:pt x="332" y="210"/>
                  </a:lnTo>
                  <a:lnTo>
                    <a:pt x="331" y="212"/>
                  </a:lnTo>
                  <a:lnTo>
                    <a:pt x="337" y="216"/>
                  </a:lnTo>
                  <a:lnTo>
                    <a:pt x="342" y="214"/>
                  </a:lnTo>
                  <a:lnTo>
                    <a:pt x="345" y="211"/>
                  </a:lnTo>
                  <a:lnTo>
                    <a:pt x="353" y="216"/>
                  </a:lnTo>
                  <a:lnTo>
                    <a:pt x="359" y="212"/>
                  </a:lnTo>
                  <a:lnTo>
                    <a:pt x="361" y="214"/>
                  </a:lnTo>
                  <a:lnTo>
                    <a:pt x="363" y="218"/>
                  </a:lnTo>
                  <a:lnTo>
                    <a:pt x="357" y="218"/>
                  </a:lnTo>
                  <a:lnTo>
                    <a:pt x="355" y="222"/>
                  </a:lnTo>
                  <a:lnTo>
                    <a:pt x="354" y="229"/>
                  </a:lnTo>
                  <a:lnTo>
                    <a:pt x="346" y="225"/>
                  </a:lnTo>
                  <a:lnTo>
                    <a:pt x="340" y="224"/>
                  </a:lnTo>
                  <a:lnTo>
                    <a:pt x="339" y="222"/>
                  </a:lnTo>
                  <a:lnTo>
                    <a:pt x="333" y="220"/>
                  </a:lnTo>
                  <a:lnTo>
                    <a:pt x="325" y="224"/>
                  </a:lnTo>
                  <a:lnTo>
                    <a:pt x="323" y="228"/>
                  </a:lnTo>
                  <a:lnTo>
                    <a:pt x="328" y="237"/>
                  </a:lnTo>
                  <a:lnTo>
                    <a:pt x="329" y="241"/>
                  </a:lnTo>
                  <a:lnTo>
                    <a:pt x="325" y="241"/>
                  </a:lnTo>
                  <a:lnTo>
                    <a:pt x="328" y="248"/>
                  </a:lnTo>
                  <a:lnTo>
                    <a:pt x="328" y="254"/>
                  </a:lnTo>
                  <a:lnTo>
                    <a:pt x="324" y="252"/>
                  </a:lnTo>
                  <a:lnTo>
                    <a:pt x="324" y="258"/>
                  </a:lnTo>
                  <a:lnTo>
                    <a:pt x="320" y="259"/>
                  </a:lnTo>
                  <a:lnTo>
                    <a:pt x="317" y="239"/>
                  </a:lnTo>
                  <a:lnTo>
                    <a:pt x="313" y="240"/>
                  </a:lnTo>
                  <a:lnTo>
                    <a:pt x="311" y="247"/>
                  </a:lnTo>
                  <a:lnTo>
                    <a:pt x="308" y="246"/>
                  </a:lnTo>
                  <a:lnTo>
                    <a:pt x="306" y="248"/>
                  </a:lnTo>
                  <a:lnTo>
                    <a:pt x="311" y="250"/>
                  </a:lnTo>
                  <a:lnTo>
                    <a:pt x="310" y="252"/>
                  </a:lnTo>
                  <a:lnTo>
                    <a:pt x="306" y="253"/>
                  </a:lnTo>
                  <a:lnTo>
                    <a:pt x="302" y="256"/>
                  </a:lnTo>
                  <a:lnTo>
                    <a:pt x="301" y="261"/>
                  </a:lnTo>
                  <a:lnTo>
                    <a:pt x="301" y="266"/>
                  </a:lnTo>
                  <a:lnTo>
                    <a:pt x="306" y="269"/>
                  </a:lnTo>
                  <a:lnTo>
                    <a:pt x="302" y="271"/>
                  </a:lnTo>
                  <a:lnTo>
                    <a:pt x="305" y="274"/>
                  </a:lnTo>
                  <a:lnTo>
                    <a:pt x="302" y="276"/>
                  </a:lnTo>
                  <a:lnTo>
                    <a:pt x="299" y="282"/>
                  </a:lnTo>
                  <a:lnTo>
                    <a:pt x="297" y="283"/>
                  </a:lnTo>
                  <a:lnTo>
                    <a:pt x="294" y="283"/>
                  </a:lnTo>
                  <a:lnTo>
                    <a:pt x="295" y="285"/>
                  </a:lnTo>
                  <a:lnTo>
                    <a:pt x="300" y="287"/>
                  </a:lnTo>
                  <a:lnTo>
                    <a:pt x="310" y="283"/>
                  </a:lnTo>
                  <a:lnTo>
                    <a:pt x="303" y="291"/>
                  </a:lnTo>
                  <a:lnTo>
                    <a:pt x="300" y="293"/>
                  </a:lnTo>
                  <a:lnTo>
                    <a:pt x="290" y="291"/>
                  </a:lnTo>
                  <a:lnTo>
                    <a:pt x="288" y="289"/>
                  </a:lnTo>
                  <a:lnTo>
                    <a:pt x="287" y="285"/>
                  </a:lnTo>
                  <a:lnTo>
                    <a:pt x="283" y="286"/>
                  </a:lnTo>
                  <a:lnTo>
                    <a:pt x="278" y="291"/>
                  </a:lnTo>
                  <a:lnTo>
                    <a:pt x="275" y="299"/>
                  </a:lnTo>
                  <a:lnTo>
                    <a:pt x="270" y="304"/>
                  </a:lnTo>
                  <a:lnTo>
                    <a:pt x="269" y="308"/>
                  </a:lnTo>
                  <a:lnTo>
                    <a:pt x="273" y="308"/>
                  </a:lnTo>
                  <a:lnTo>
                    <a:pt x="272" y="313"/>
                  </a:lnTo>
                  <a:lnTo>
                    <a:pt x="272" y="315"/>
                  </a:lnTo>
                  <a:lnTo>
                    <a:pt x="267" y="317"/>
                  </a:lnTo>
                  <a:lnTo>
                    <a:pt x="265" y="327"/>
                  </a:lnTo>
                  <a:lnTo>
                    <a:pt x="261" y="326"/>
                  </a:lnTo>
                  <a:lnTo>
                    <a:pt x="258" y="328"/>
                  </a:lnTo>
                  <a:lnTo>
                    <a:pt x="254" y="328"/>
                  </a:lnTo>
                  <a:lnTo>
                    <a:pt x="250" y="334"/>
                  </a:lnTo>
                  <a:lnTo>
                    <a:pt x="253" y="339"/>
                  </a:lnTo>
                  <a:lnTo>
                    <a:pt x="251" y="342"/>
                  </a:lnTo>
                  <a:lnTo>
                    <a:pt x="245" y="343"/>
                  </a:lnTo>
                  <a:lnTo>
                    <a:pt x="245" y="348"/>
                  </a:lnTo>
                  <a:lnTo>
                    <a:pt x="240" y="349"/>
                  </a:lnTo>
                  <a:lnTo>
                    <a:pt x="241" y="352"/>
                  </a:lnTo>
                  <a:lnTo>
                    <a:pt x="238" y="354"/>
                  </a:lnTo>
                  <a:lnTo>
                    <a:pt x="238" y="358"/>
                  </a:lnTo>
                  <a:lnTo>
                    <a:pt x="244" y="360"/>
                  </a:lnTo>
                  <a:lnTo>
                    <a:pt x="243" y="363"/>
                  </a:lnTo>
                  <a:lnTo>
                    <a:pt x="238" y="365"/>
                  </a:lnTo>
                  <a:lnTo>
                    <a:pt x="235" y="363"/>
                  </a:lnTo>
                  <a:lnTo>
                    <a:pt x="235" y="364"/>
                  </a:lnTo>
                  <a:lnTo>
                    <a:pt x="235" y="371"/>
                  </a:lnTo>
                  <a:lnTo>
                    <a:pt x="238" y="376"/>
                  </a:lnTo>
                  <a:lnTo>
                    <a:pt x="241" y="372"/>
                  </a:lnTo>
                  <a:lnTo>
                    <a:pt x="243" y="374"/>
                  </a:lnTo>
                  <a:lnTo>
                    <a:pt x="242" y="379"/>
                  </a:lnTo>
                  <a:lnTo>
                    <a:pt x="231" y="381"/>
                  </a:lnTo>
                  <a:lnTo>
                    <a:pt x="229" y="383"/>
                  </a:lnTo>
                  <a:lnTo>
                    <a:pt x="228" y="391"/>
                  </a:lnTo>
                  <a:lnTo>
                    <a:pt x="224" y="394"/>
                  </a:lnTo>
                  <a:lnTo>
                    <a:pt x="220" y="396"/>
                  </a:lnTo>
                  <a:lnTo>
                    <a:pt x="217" y="403"/>
                  </a:lnTo>
                  <a:lnTo>
                    <a:pt x="221" y="402"/>
                  </a:lnTo>
                  <a:lnTo>
                    <a:pt x="225" y="398"/>
                  </a:lnTo>
                  <a:lnTo>
                    <a:pt x="231" y="395"/>
                  </a:lnTo>
                  <a:lnTo>
                    <a:pt x="231" y="400"/>
                  </a:lnTo>
                  <a:lnTo>
                    <a:pt x="234" y="407"/>
                  </a:lnTo>
                  <a:lnTo>
                    <a:pt x="224" y="403"/>
                  </a:lnTo>
                  <a:lnTo>
                    <a:pt x="223" y="408"/>
                  </a:lnTo>
                  <a:lnTo>
                    <a:pt x="225" y="410"/>
                  </a:lnTo>
                  <a:lnTo>
                    <a:pt x="222" y="413"/>
                  </a:lnTo>
                  <a:lnTo>
                    <a:pt x="221" y="416"/>
                  </a:lnTo>
                  <a:lnTo>
                    <a:pt x="222" y="421"/>
                  </a:lnTo>
                  <a:lnTo>
                    <a:pt x="220" y="422"/>
                  </a:lnTo>
                  <a:lnTo>
                    <a:pt x="217" y="420"/>
                  </a:lnTo>
                  <a:lnTo>
                    <a:pt x="215" y="423"/>
                  </a:lnTo>
                  <a:lnTo>
                    <a:pt x="216" y="429"/>
                  </a:lnTo>
                  <a:lnTo>
                    <a:pt x="220" y="431"/>
                  </a:lnTo>
                  <a:lnTo>
                    <a:pt x="221" y="441"/>
                  </a:lnTo>
                  <a:lnTo>
                    <a:pt x="217" y="437"/>
                  </a:lnTo>
                  <a:lnTo>
                    <a:pt x="213" y="436"/>
                  </a:lnTo>
                  <a:lnTo>
                    <a:pt x="210" y="429"/>
                  </a:lnTo>
                  <a:lnTo>
                    <a:pt x="211" y="438"/>
                  </a:lnTo>
                  <a:lnTo>
                    <a:pt x="209" y="441"/>
                  </a:lnTo>
                  <a:lnTo>
                    <a:pt x="205" y="442"/>
                  </a:lnTo>
                  <a:lnTo>
                    <a:pt x="204" y="447"/>
                  </a:lnTo>
                  <a:lnTo>
                    <a:pt x="206" y="449"/>
                  </a:lnTo>
                  <a:lnTo>
                    <a:pt x="209" y="447"/>
                  </a:lnTo>
                  <a:lnTo>
                    <a:pt x="212" y="443"/>
                  </a:lnTo>
                  <a:lnTo>
                    <a:pt x="213" y="445"/>
                  </a:lnTo>
                  <a:lnTo>
                    <a:pt x="212" y="447"/>
                  </a:lnTo>
                  <a:lnTo>
                    <a:pt x="212" y="451"/>
                  </a:lnTo>
                  <a:lnTo>
                    <a:pt x="213" y="455"/>
                  </a:lnTo>
                  <a:lnTo>
                    <a:pt x="209" y="458"/>
                  </a:lnTo>
                  <a:lnTo>
                    <a:pt x="204" y="455"/>
                  </a:lnTo>
                  <a:lnTo>
                    <a:pt x="201" y="460"/>
                  </a:lnTo>
                  <a:lnTo>
                    <a:pt x="197" y="458"/>
                  </a:lnTo>
                  <a:lnTo>
                    <a:pt x="193" y="463"/>
                  </a:lnTo>
                  <a:lnTo>
                    <a:pt x="193" y="468"/>
                  </a:lnTo>
                  <a:lnTo>
                    <a:pt x="189" y="471"/>
                  </a:lnTo>
                  <a:lnTo>
                    <a:pt x="185" y="472"/>
                  </a:lnTo>
                  <a:lnTo>
                    <a:pt x="182" y="483"/>
                  </a:lnTo>
                  <a:lnTo>
                    <a:pt x="187" y="482"/>
                  </a:lnTo>
                  <a:lnTo>
                    <a:pt x="192" y="478"/>
                  </a:lnTo>
                  <a:lnTo>
                    <a:pt x="194" y="480"/>
                  </a:lnTo>
                  <a:lnTo>
                    <a:pt x="185" y="484"/>
                  </a:lnTo>
                  <a:lnTo>
                    <a:pt x="185" y="489"/>
                  </a:lnTo>
                  <a:lnTo>
                    <a:pt x="187" y="495"/>
                  </a:lnTo>
                  <a:lnTo>
                    <a:pt x="185" y="499"/>
                  </a:lnTo>
                  <a:lnTo>
                    <a:pt x="179" y="501"/>
                  </a:lnTo>
                  <a:lnTo>
                    <a:pt x="172" y="495"/>
                  </a:lnTo>
                  <a:lnTo>
                    <a:pt x="170" y="495"/>
                  </a:lnTo>
                  <a:lnTo>
                    <a:pt x="166" y="502"/>
                  </a:lnTo>
                  <a:lnTo>
                    <a:pt x="160" y="506"/>
                  </a:lnTo>
                  <a:lnTo>
                    <a:pt x="159" y="509"/>
                  </a:lnTo>
                  <a:lnTo>
                    <a:pt x="156" y="513"/>
                  </a:lnTo>
                  <a:lnTo>
                    <a:pt x="147" y="526"/>
                  </a:lnTo>
                  <a:lnTo>
                    <a:pt x="146" y="529"/>
                  </a:lnTo>
                  <a:lnTo>
                    <a:pt x="147" y="534"/>
                  </a:lnTo>
                  <a:lnTo>
                    <a:pt x="147" y="536"/>
                  </a:lnTo>
                  <a:lnTo>
                    <a:pt x="136" y="542"/>
                  </a:lnTo>
                  <a:lnTo>
                    <a:pt x="135" y="548"/>
                  </a:lnTo>
                  <a:lnTo>
                    <a:pt x="138" y="550"/>
                  </a:lnTo>
                  <a:lnTo>
                    <a:pt x="144" y="548"/>
                  </a:lnTo>
                  <a:lnTo>
                    <a:pt x="142" y="556"/>
                  </a:lnTo>
                  <a:lnTo>
                    <a:pt x="145" y="562"/>
                  </a:lnTo>
                  <a:lnTo>
                    <a:pt x="149" y="563"/>
                  </a:lnTo>
                  <a:lnTo>
                    <a:pt x="168" y="550"/>
                  </a:lnTo>
                  <a:lnTo>
                    <a:pt x="179" y="544"/>
                  </a:lnTo>
                  <a:lnTo>
                    <a:pt x="182" y="541"/>
                  </a:lnTo>
                  <a:lnTo>
                    <a:pt x="185" y="542"/>
                  </a:lnTo>
                  <a:lnTo>
                    <a:pt x="183" y="545"/>
                  </a:lnTo>
                  <a:lnTo>
                    <a:pt x="176" y="550"/>
                  </a:lnTo>
                  <a:lnTo>
                    <a:pt x="172" y="550"/>
                  </a:lnTo>
                  <a:lnTo>
                    <a:pt x="166" y="554"/>
                  </a:lnTo>
                  <a:lnTo>
                    <a:pt x="162" y="558"/>
                  </a:lnTo>
                  <a:lnTo>
                    <a:pt x="165" y="562"/>
                  </a:lnTo>
                  <a:lnTo>
                    <a:pt x="164" y="564"/>
                  </a:lnTo>
                  <a:lnTo>
                    <a:pt x="155" y="567"/>
                  </a:lnTo>
                  <a:lnTo>
                    <a:pt x="150" y="567"/>
                  </a:lnTo>
                  <a:lnTo>
                    <a:pt x="148" y="569"/>
                  </a:lnTo>
                  <a:lnTo>
                    <a:pt x="149" y="572"/>
                  </a:lnTo>
                  <a:lnTo>
                    <a:pt x="147" y="573"/>
                  </a:lnTo>
                  <a:lnTo>
                    <a:pt x="142" y="572"/>
                  </a:lnTo>
                  <a:lnTo>
                    <a:pt x="142" y="567"/>
                  </a:lnTo>
                  <a:lnTo>
                    <a:pt x="138" y="560"/>
                  </a:lnTo>
                  <a:lnTo>
                    <a:pt x="136" y="557"/>
                  </a:lnTo>
                  <a:lnTo>
                    <a:pt x="133" y="557"/>
                  </a:lnTo>
                  <a:lnTo>
                    <a:pt x="131" y="560"/>
                  </a:lnTo>
                  <a:lnTo>
                    <a:pt x="128" y="561"/>
                  </a:lnTo>
                  <a:lnTo>
                    <a:pt x="124" y="564"/>
                  </a:lnTo>
                  <a:lnTo>
                    <a:pt x="124" y="568"/>
                  </a:lnTo>
                  <a:lnTo>
                    <a:pt x="127" y="570"/>
                  </a:lnTo>
                  <a:lnTo>
                    <a:pt x="128" y="573"/>
                  </a:lnTo>
                  <a:lnTo>
                    <a:pt x="122" y="576"/>
                  </a:lnTo>
                  <a:lnTo>
                    <a:pt x="119" y="573"/>
                  </a:lnTo>
                  <a:lnTo>
                    <a:pt x="119" y="568"/>
                  </a:lnTo>
                  <a:lnTo>
                    <a:pt x="118" y="565"/>
                  </a:lnTo>
                  <a:lnTo>
                    <a:pt x="104" y="571"/>
                  </a:lnTo>
                  <a:lnTo>
                    <a:pt x="102" y="574"/>
                  </a:lnTo>
                  <a:lnTo>
                    <a:pt x="100" y="580"/>
                  </a:lnTo>
                  <a:lnTo>
                    <a:pt x="96" y="579"/>
                  </a:lnTo>
                  <a:lnTo>
                    <a:pt x="97" y="583"/>
                  </a:lnTo>
                  <a:lnTo>
                    <a:pt x="96" y="585"/>
                  </a:lnTo>
                  <a:lnTo>
                    <a:pt x="92" y="585"/>
                  </a:lnTo>
                  <a:lnTo>
                    <a:pt x="92" y="583"/>
                  </a:lnTo>
                  <a:lnTo>
                    <a:pt x="91" y="581"/>
                  </a:lnTo>
                  <a:lnTo>
                    <a:pt x="89" y="581"/>
                  </a:lnTo>
                  <a:lnTo>
                    <a:pt x="88" y="584"/>
                  </a:lnTo>
                  <a:lnTo>
                    <a:pt x="88" y="586"/>
                  </a:lnTo>
                  <a:lnTo>
                    <a:pt x="87" y="587"/>
                  </a:lnTo>
                  <a:lnTo>
                    <a:pt x="82" y="587"/>
                  </a:lnTo>
                  <a:lnTo>
                    <a:pt x="75" y="591"/>
                  </a:lnTo>
                  <a:lnTo>
                    <a:pt x="74" y="598"/>
                  </a:lnTo>
                  <a:lnTo>
                    <a:pt x="71" y="604"/>
                  </a:lnTo>
                  <a:lnTo>
                    <a:pt x="67" y="601"/>
                  </a:lnTo>
                  <a:lnTo>
                    <a:pt x="62" y="601"/>
                  </a:lnTo>
                  <a:lnTo>
                    <a:pt x="57" y="604"/>
                  </a:lnTo>
                  <a:lnTo>
                    <a:pt x="56" y="608"/>
                  </a:lnTo>
                  <a:lnTo>
                    <a:pt x="61" y="611"/>
                  </a:lnTo>
                  <a:lnTo>
                    <a:pt x="59" y="615"/>
                  </a:lnTo>
                  <a:lnTo>
                    <a:pt x="64" y="616"/>
                  </a:lnTo>
                  <a:lnTo>
                    <a:pt x="69" y="614"/>
                  </a:lnTo>
                  <a:lnTo>
                    <a:pt x="72" y="617"/>
                  </a:lnTo>
                  <a:lnTo>
                    <a:pt x="74" y="619"/>
                  </a:lnTo>
                  <a:lnTo>
                    <a:pt x="71" y="623"/>
                  </a:lnTo>
                  <a:lnTo>
                    <a:pt x="72" y="626"/>
                  </a:lnTo>
                  <a:lnTo>
                    <a:pt x="68" y="624"/>
                  </a:lnTo>
                  <a:lnTo>
                    <a:pt x="64" y="625"/>
                  </a:lnTo>
                  <a:lnTo>
                    <a:pt x="52" y="623"/>
                  </a:lnTo>
                  <a:lnTo>
                    <a:pt x="48" y="623"/>
                  </a:lnTo>
                  <a:lnTo>
                    <a:pt x="46" y="625"/>
                  </a:lnTo>
                  <a:lnTo>
                    <a:pt x="42" y="625"/>
                  </a:lnTo>
                  <a:lnTo>
                    <a:pt x="39" y="627"/>
                  </a:lnTo>
                  <a:lnTo>
                    <a:pt x="40" y="628"/>
                  </a:lnTo>
                  <a:lnTo>
                    <a:pt x="43" y="630"/>
                  </a:lnTo>
                  <a:lnTo>
                    <a:pt x="40" y="631"/>
                  </a:lnTo>
                  <a:lnTo>
                    <a:pt x="40" y="634"/>
                  </a:lnTo>
                  <a:lnTo>
                    <a:pt x="44" y="634"/>
                  </a:lnTo>
                  <a:lnTo>
                    <a:pt x="47" y="632"/>
                  </a:lnTo>
                  <a:lnTo>
                    <a:pt x="43" y="637"/>
                  </a:lnTo>
                  <a:lnTo>
                    <a:pt x="43" y="641"/>
                  </a:lnTo>
                  <a:lnTo>
                    <a:pt x="45" y="649"/>
                  </a:lnTo>
                  <a:lnTo>
                    <a:pt x="43" y="650"/>
                  </a:lnTo>
                  <a:lnTo>
                    <a:pt x="41" y="643"/>
                  </a:lnTo>
                  <a:lnTo>
                    <a:pt x="39" y="640"/>
                  </a:lnTo>
                  <a:lnTo>
                    <a:pt x="34" y="643"/>
                  </a:lnTo>
                  <a:lnTo>
                    <a:pt x="31" y="647"/>
                  </a:lnTo>
                  <a:lnTo>
                    <a:pt x="29" y="652"/>
                  </a:lnTo>
                  <a:lnTo>
                    <a:pt x="32" y="654"/>
                  </a:lnTo>
                  <a:lnTo>
                    <a:pt x="33" y="658"/>
                  </a:lnTo>
                  <a:lnTo>
                    <a:pt x="28" y="655"/>
                  </a:lnTo>
                  <a:lnTo>
                    <a:pt x="26" y="651"/>
                  </a:lnTo>
                  <a:lnTo>
                    <a:pt x="22" y="652"/>
                  </a:lnTo>
                  <a:lnTo>
                    <a:pt x="15" y="652"/>
                  </a:lnTo>
                  <a:lnTo>
                    <a:pt x="15" y="655"/>
                  </a:lnTo>
                  <a:lnTo>
                    <a:pt x="15" y="658"/>
                  </a:lnTo>
                  <a:lnTo>
                    <a:pt x="7" y="651"/>
                  </a:lnTo>
                  <a:lnTo>
                    <a:pt x="5" y="653"/>
                  </a:lnTo>
                  <a:lnTo>
                    <a:pt x="8" y="662"/>
                  </a:lnTo>
                  <a:lnTo>
                    <a:pt x="6" y="664"/>
                  </a:lnTo>
                  <a:lnTo>
                    <a:pt x="7" y="666"/>
                  </a:lnTo>
                  <a:lnTo>
                    <a:pt x="22" y="666"/>
                  </a:lnTo>
                  <a:lnTo>
                    <a:pt x="35" y="662"/>
                  </a:lnTo>
                  <a:lnTo>
                    <a:pt x="27" y="667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6"/>
                  </a:lnTo>
                  <a:lnTo>
                    <a:pt x="40" y="668"/>
                  </a:lnTo>
                  <a:lnTo>
                    <a:pt x="35" y="671"/>
                  </a:lnTo>
                  <a:lnTo>
                    <a:pt x="27" y="672"/>
                  </a:lnTo>
                  <a:lnTo>
                    <a:pt x="19" y="672"/>
                  </a:lnTo>
                  <a:lnTo>
                    <a:pt x="16" y="669"/>
                  </a:lnTo>
                  <a:lnTo>
                    <a:pt x="13" y="669"/>
                  </a:lnTo>
                  <a:lnTo>
                    <a:pt x="6" y="674"/>
                  </a:lnTo>
                  <a:lnTo>
                    <a:pt x="6" y="677"/>
                  </a:lnTo>
                  <a:lnTo>
                    <a:pt x="2" y="677"/>
                  </a:lnTo>
                  <a:lnTo>
                    <a:pt x="1" y="678"/>
                  </a:lnTo>
                  <a:lnTo>
                    <a:pt x="0" y="681"/>
                  </a:lnTo>
                  <a:lnTo>
                    <a:pt x="8" y="684"/>
                  </a:lnTo>
                  <a:lnTo>
                    <a:pt x="8" y="687"/>
                  </a:lnTo>
                  <a:lnTo>
                    <a:pt x="8" y="691"/>
                  </a:lnTo>
                  <a:lnTo>
                    <a:pt x="5" y="693"/>
                  </a:lnTo>
                  <a:lnTo>
                    <a:pt x="2" y="698"/>
                  </a:lnTo>
                  <a:lnTo>
                    <a:pt x="3" y="701"/>
                  </a:lnTo>
                  <a:lnTo>
                    <a:pt x="2" y="703"/>
                  </a:lnTo>
                  <a:lnTo>
                    <a:pt x="2" y="707"/>
                  </a:lnTo>
                  <a:lnTo>
                    <a:pt x="4" y="709"/>
                  </a:lnTo>
                  <a:lnTo>
                    <a:pt x="4" y="713"/>
                  </a:lnTo>
                  <a:lnTo>
                    <a:pt x="12" y="715"/>
                  </a:lnTo>
                  <a:lnTo>
                    <a:pt x="28" y="708"/>
                  </a:lnTo>
                  <a:lnTo>
                    <a:pt x="31" y="711"/>
                  </a:lnTo>
                  <a:lnTo>
                    <a:pt x="37" y="711"/>
                  </a:lnTo>
                  <a:lnTo>
                    <a:pt x="39" y="704"/>
                  </a:lnTo>
                  <a:lnTo>
                    <a:pt x="44" y="696"/>
                  </a:lnTo>
                  <a:lnTo>
                    <a:pt x="45" y="701"/>
                  </a:lnTo>
                  <a:lnTo>
                    <a:pt x="43" y="709"/>
                  </a:lnTo>
                  <a:lnTo>
                    <a:pt x="46" y="710"/>
                  </a:lnTo>
                  <a:lnTo>
                    <a:pt x="52" y="710"/>
                  </a:lnTo>
                  <a:lnTo>
                    <a:pt x="55" y="709"/>
                  </a:lnTo>
                  <a:lnTo>
                    <a:pt x="58" y="711"/>
                  </a:lnTo>
                  <a:lnTo>
                    <a:pt x="64" y="704"/>
                  </a:lnTo>
                  <a:lnTo>
                    <a:pt x="66" y="692"/>
                  </a:lnTo>
                  <a:lnTo>
                    <a:pt x="72" y="688"/>
                  </a:lnTo>
                  <a:lnTo>
                    <a:pt x="73" y="691"/>
                  </a:lnTo>
                  <a:lnTo>
                    <a:pt x="69" y="699"/>
                  </a:lnTo>
                  <a:lnTo>
                    <a:pt x="68" y="705"/>
                  </a:lnTo>
                  <a:lnTo>
                    <a:pt x="67" y="707"/>
                  </a:lnTo>
                  <a:lnTo>
                    <a:pt x="70" y="707"/>
                  </a:lnTo>
                  <a:lnTo>
                    <a:pt x="74" y="704"/>
                  </a:lnTo>
                  <a:lnTo>
                    <a:pt x="76" y="706"/>
                  </a:lnTo>
                  <a:lnTo>
                    <a:pt x="69" y="712"/>
                  </a:lnTo>
                  <a:lnTo>
                    <a:pt x="59" y="715"/>
                  </a:lnTo>
                  <a:lnTo>
                    <a:pt x="59" y="720"/>
                  </a:lnTo>
                  <a:lnTo>
                    <a:pt x="62" y="724"/>
                  </a:lnTo>
                  <a:lnTo>
                    <a:pt x="55" y="728"/>
                  </a:lnTo>
                  <a:lnTo>
                    <a:pt x="55" y="722"/>
                  </a:lnTo>
                  <a:lnTo>
                    <a:pt x="53" y="719"/>
                  </a:lnTo>
                  <a:lnTo>
                    <a:pt x="48" y="715"/>
                  </a:lnTo>
                  <a:lnTo>
                    <a:pt x="43" y="715"/>
                  </a:lnTo>
                  <a:lnTo>
                    <a:pt x="36" y="717"/>
                  </a:lnTo>
                  <a:lnTo>
                    <a:pt x="30" y="715"/>
                  </a:lnTo>
                  <a:lnTo>
                    <a:pt x="25" y="717"/>
                  </a:lnTo>
                  <a:lnTo>
                    <a:pt x="20" y="716"/>
                  </a:lnTo>
                  <a:lnTo>
                    <a:pt x="15" y="720"/>
                  </a:lnTo>
                  <a:lnTo>
                    <a:pt x="6" y="718"/>
                  </a:lnTo>
                  <a:lnTo>
                    <a:pt x="3" y="724"/>
                  </a:lnTo>
                  <a:lnTo>
                    <a:pt x="2" y="729"/>
                  </a:lnTo>
                  <a:lnTo>
                    <a:pt x="7" y="730"/>
                  </a:lnTo>
                  <a:lnTo>
                    <a:pt x="9" y="729"/>
                  </a:lnTo>
                  <a:lnTo>
                    <a:pt x="9" y="737"/>
                  </a:lnTo>
                  <a:lnTo>
                    <a:pt x="5" y="735"/>
                  </a:lnTo>
                  <a:lnTo>
                    <a:pt x="2" y="732"/>
                  </a:lnTo>
                  <a:lnTo>
                    <a:pt x="1" y="733"/>
                  </a:lnTo>
                  <a:lnTo>
                    <a:pt x="0" y="733"/>
                  </a:lnTo>
                  <a:lnTo>
                    <a:pt x="0" y="735"/>
                  </a:lnTo>
                  <a:lnTo>
                    <a:pt x="5" y="744"/>
                  </a:lnTo>
                  <a:lnTo>
                    <a:pt x="9" y="745"/>
                  </a:lnTo>
                  <a:lnTo>
                    <a:pt x="16" y="740"/>
                  </a:lnTo>
                  <a:lnTo>
                    <a:pt x="20" y="739"/>
                  </a:lnTo>
                  <a:lnTo>
                    <a:pt x="13" y="747"/>
                  </a:lnTo>
                  <a:lnTo>
                    <a:pt x="11" y="750"/>
                  </a:lnTo>
                  <a:lnTo>
                    <a:pt x="13" y="752"/>
                  </a:lnTo>
                  <a:lnTo>
                    <a:pt x="7" y="756"/>
                  </a:lnTo>
                  <a:lnTo>
                    <a:pt x="5" y="759"/>
                  </a:lnTo>
                  <a:lnTo>
                    <a:pt x="6" y="763"/>
                  </a:lnTo>
                  <a:lnTo>
                    <a:pt x="8" y="766"/>
                  </a:lnTo>
                  <a:lnTo>
                    <a:pt x="9" y="769"/>
                  </a:lnTo>
                  <a:lnTo>
                    <a:pt x="13" y="766"/>
                  </a:lnTo>
                  <a:lnTo>
                    <a:pt x="16" y="763"/>
                  </a:lnTo>
                  <a:lnTo>
                    <a:pt x="16" y="768"/>
                  </a:lnTo>
                  <a:lnTo>
                    <a:pt x="21" y="774"/>
                  </a:lnTo>
                  <a:lnTo>
                    <a:pt x="16" y="775"/>
                  </a:lnTo>
                  <a:lnTo>
                    <a:pt x="12" y="778"/>
                  </a:lnTo>
                  <a:lnTo>
                    <a:pt x="12" y="781"/>
                  </a:lnTo>
                  <a:lnTo>
                    <a:pt x="15" y="783"/>
                  </a:lnTo>
                  <a:lnTo>
                    <a:pt x="20" y="780"/>
                  </a:lnTo>
                  <a:lnTo>
                    <a:pt x="23" y="774"/>
                  </a:lnTo>
                  <a:lnTo>
                    <a:pt x="24" y="768"/>
                  </a:lnTo>
                  <a:lnTo>
                    <a:pt x="28" y="764"/>
                  </a:lnTo>
                  <a:lnTo>
                    <a:pt x="33" y="758"/>
                  </a:lnTo>
                  <a:lnTo>
                    <a:pt x="38" y="747"/>
                  </a:lnTo>
                  <a:lnTo>
                    <a:pt x="43" y="743"/>
                  </a:lnTo>
                  <a:lnTo>
                    <a:pt x="46" y="746"/>
                  </a:lnTo>
                  <a:lnTo>
                    <a:pt x="46" y="748"/>
                  </a:lnTo>
                  <a:lnTo>
                    <a:pt x="53" y="746"/>
                  </a:lnTo>
                  <a:lnTo>
                    <a:pt x="57" y="747"/>
                  </a:lnTo>
                  <a:lnTo>
                    <a:pt x="49" y="751"/>
                  </a:lnTo>
                  <a:lnTo>
                    <a:pt x="48" y="756"/>
                  </a:lnTo>
                  <a:lnTo>
                    <a:pt x="47" y="760"/>
                  </a:lnTo>
                  <a:lnTo>
                    <a:pt x="46" y="754"/>
                  </a:lnTo>
                  <a:lnTo>
                    <a:pt x="43" y="753"/>
                  </a:lnTo>
                  <a:lnTo>
                    <a:pt x="39" y="761"/>
                  </a:lnTo>
                  <a:lnTo>
                    <a:pt x="34" y="766"/>
                  </a:lnTo>
                  <a:lnTo>
                    <a:pt x="37" y="769"/>
                  </a:lnTo>
                  <a:lnTo>
                    <a:pt x="37" y="771"/>
                  </a:lnTo>
                  <a:lnTo>
                    <a:pt x="31" y="774"/>
                  </a:lnTo>
                  <a:lnTo>
                    <a:pt x="21" y="787"/>
                  </a:lnTo>
                  <a:lnTo>
                    <a:pt x="25" y="790"/>
                  </a:lnTo>
                  <a:lnTo>
                    <a:pt x="35" y="789"/>
                  </a:lnTo>
                  <a:lnTo>
                    <a:pt x="38" y="787"/>
                  </a:lnTo>
                  <a:lnTo>
                    <a:pt x="39" y="789"/>
                  </a:lnTo>
                  <a:lnTo>
                    <a:pt x="28" y="793"/>
                  </a:lnTo>
                  <a:lnTo>
                    <a:pt x="25" y="796"/>
                  </a:lnTo>
                  <a:lnTo>
                    <a:pt x="25" y="798"/>
                  </a:lnTo>
                  <a:lnTo>
                    <a:pt x="19" y="798"/>
                  </a:lnTo>
                  <a:lnTo>
                    <a:pt x="17" y="800"/>
                  </a:lnTo>
                  <a:lnTo>
                    <a:pt x="14" y="798"/>
                  </a:lnTo>
                  <a:lnTo>
                    <a:pt x="9" y="804"/>
                  </a:lnTo>
                  <a:lnTo>
                    <a:pt x="7" y="809"/>
                  </a:lnTo>
                  <a:lnTo>
                    <a:pt x="7" y="813"/>
                  </a:lnTo>
                  <a:lnTo>
                    <a:pt x="9" y="815"/>
                  </a:lnTo>
                  <a:lnTo>
                    <a:pt x="9" y="817"/>
                  </a:lnTo>
                  <a:lnTo>
                    <a:pt x="14" y="816"/>
                  </a:lnTo>
                  <a:lnTo>
                    <a:pt x="16" y="812"/>
                  </a:lnTo>
                  <a:lnTo>
                    <a:pt x="18" y="816"/>
                  </a:lnTo>
                  <a:lnTo>
                    <a:pt x="21" y="816"/>
                  </a:lnTo>
                  <a:lnTo>
                    <a:pt x="22" y="813"/>
                  </a:lnTo>
                  <a:lnTo>
                    <a:pt x="22" y="810"/>
                  </a:lnTo>
                  <a:lnTo>
                    <a:pt x="25" y="812"/>
                  </a:lnTo>
                  <a:lnTo>
                    <a:pt x="33" y="808"/>
                  </a:lnTo>
                  <a:lnTo>
                    <a:pt x="36" y="805"/>
                  </a:lnTo>
                  <a:lnTo>
                    <a:pt x="38" y="807"/>
                  </a:lnTo>
                  <a:lnTo>
                    <a:pt x="31" y="816"/>
                  </a:lnTo>
                  <a:lnTo>
                    <a:pt x="34" y="815"/>
                  </a:lnTo>
                  <a:lnTo>
                    <a:pt x="34" y="821"/>
                  </a:lnTo>
                  <a:lnTo>
                    <a:pt x="31" y="825"/>
                  </a:lnTo>
                  <a:lnTo>
                    <a:pt x="30" y="829"/>
                  </a:lnTo>
                  <a:lnTo>
                    <a:pt x="26" y="832"/>
                  </a:lnTo>
                  <a:lnTo>
                    <a:pt x="27" y="836"/>
                  </a:lnTo>
                  <a:lnTo>
                    <a:pt x="27" y="838"/>
                  </a:lnTo>
                  <a:lnTo>
                    <a:pt x="24" y="838"/>
                  </a:lnTo>
                  <a:lnTo>
                    <a:pt x="21" y="839"/>
                  </a:lnTo>
                  <a:lnTo>
                    <a:pt x="19" y="835"/>
                  </a:lnTo>
                  <a:lnTo>
                    <a:pt x="18" y="835"/>
                  </a:lnTo>
                  <a:lnTo>
                    <a:pt x="13" y="852"/>
                  </a:lnTo>
                  <a:lnTo>
                    <a:pt x="20" y="861"/>
                  </a:lnTo>
                  <a:lnTo>
                    <a:pt x="31" y="870"/>
                  </a:lnTo>
                  <a:lnTo>
                    <a:pt x="39" y="875"/>
                  </a:lnTo>
                  <a:lnTo>
                    <a:pt x="45" y="876"/>
                  </a:lnTo>
                  <a:lnTo>
                    <a:pt x="49" y="869"/>
                  </a:lnTo>
                  <a:lnTo>
                    <a:pt x="49" y="879"/>
                  </a:lnTo>
                  <a:lnTo>
                    <a:pt x="47" y="885"/>
                  </a:lnTo>
                  <a:lnTo>
                    <a:pt x="51" y="883"/>
                  </a:lnTo>
                  <a:lnTo>
                    <a:pt x="56" y="886"/>
                  </a:lnTo>
                  <a:lnTo>
                    <a:pt x="58" y="881"/>
                  </a:lnTo>
                  <a:lnTo>
                    <a:pt x="66" y="881"/>
                  </a:lnTo>
                  <a:lnTo>
                    <a:pt x="62" y="886"/>
                  </a:lnTo>
                  <a:lnTo>
                    <a:pt x="70" y="889"/>
                  </a:lnTo>
                  <a:lnTo>
                    <a:pt x="77" y="886"/>
                  </a:lnTo>
                  <a:lnTo>
                    <a:pt x="83" y="881"/>
                  </a:lnTo>
                  <a:lnTo>
                    <a:pt x="86" y="874"/>
                  </a:lnTo>
                  <a:lnTo>
                    <a:pt x="89" y="880"/>
                  </a:lnTo>
                  <a:lnTo>
                    <a:pt x="100" y="873"/>
                  </a:lnTo>
                  <a:lnTo>
                    <a:pt x="110" y="859"/>
                  </a:lnTo>
                  <a:lnTo>
                    <a:pt x="117" y="855"/>
                  </a:lnTo>
                  <a:lnTo>
                    <a:pt x="118" y="850"/>
                  </a:lnTo>
                  <a:lnTo>
                    <a:pt x="122" y="847"/>
                  </a:lnTo>
                  <a:lnTo>
                    <a:pt x="123" y="844"/>
                  </a:lnTo>
                  <a:lnTo>
                    <a:pt x="132" y="835"/>
                  </a:lnTo>
                  <a:lnTo>
                    <a:pt x="130" y="830"/>
                  </a:lnTo>
                  <a:lnTo>
                    <a:pt x="137" y="834"/>
                  </a:lnTo>
                  <a:lnTo>
                    <a:pt x="144" y="834"/>
                  </a:lnTo>
                  <a:lnTo>
                    <a:pt x="148" y="832"/>
                  </a:lnTo>
                  <a:lnTo>
                    <a:pt x="150" y="826"/>
                  </a:lnTo>
                  <a:lnTo>
                    <a:pt x="150" y="822"/>
                  </a:lnTo>
                  <a:lnTo>
                    <a:pt x="154" y="818"/>
                  </a:lnTo>
                  <a:lnTo>
                    <a:pt x="154" y="813"/>
                  </a:lnTo>
                  <a:lnTo>
                    <a:pt x="151" y="809"/>
                  </a:lnTo>
                  <a:lnTo>
                    <a:pt x="148" y="805"/>
                  </a:lnTo>
                  <a:lnTo>
                    <a:pt x="150" y="804"/>
                  </a:lnTo>
                  <a:lnTo>
                    <a:pt x="151" y="801"/>
                  </a:lnTo>
                  <a:lnTo>
                    <a:pt x="149" y="795"/>
                  </a:lnTo>
                  <a:lnTo>
                    <a:pt x="152" y="797"/>
                  </a:lnTo>
                  <a:lnTo>
                    <a:pt x="154" y="801"/>
                  </a:lnTo>
                  <a:lnTo>
                    <a:pt x="154" y="805"/>
                  </a:lnTo>
                  <a:lnTo>
                    <a:pt x="157" y="804"/>
                  </a:lnTo>
                  <a:lnTo>
                    <a:pt x="158" y="801"/>
                  </a:lnTo>
                  <a:lnTo>
                    <a:pt x="155" y="796"/>
                  </a:lnTo>
                  <a:lnTo>
                    <a:pt x="155" y="788"/>
                  </a:lnTo>
                  <a:lnTo>
                    <a:pt x="156" y="786"/>
                  </a:lnTo>
                  <a:lnTo>
                    <a:pt x="157" y="787"/>
                  </a:lnTo>
                  <a:lnTo>
                    <a:pt x="160" y="785"/>
                  </a:lnTo>
                  <a:lnTo>
                    <a:pt x="163" y="786"/>
                  </a:lnTo>
                  <a:lnTo>
                    <a:pt x="163" y="790"/>
                  </a:lnTo>
                  <a:lnTo>
                    <a:pt x="159" y="792"/>
                  </a:lnTo>
                  <a:lnTo>
                    <a:pt x="159" y="795"/>
                  </a:lnTo>
                  <a:lnTo>
                    <a:pt x="160" y="801"/>
                  </a:lnTo>
                  <a:lnTo>
                    <a:pt x="161" y="816"/>
                  </a:lnTo>
                  <a:lnTo>
                    <a:pt x="163" y="822"/>
                  </a:lnTo>
                  <a:lnTo>
                    <a:pt x="167" y="821"/>
                  </a:lnTo>
                  <a:lnTo>
                    <a:pt x="172" y="826"/>
                  </a:lnTo>
                  <a:lnTo>
                    <a:pt x="175" y="825"/>
                  </a:lnTo>
                  <a:lnTo>
                    <a:pt x="177" y="829"/>
                  </a:lnTo>
                  <a:lnTo>
                    <a:pt x="178" y="832"/>
                  </a:lnTo>
                  <a:lnTo>
                    <a:pt x="178" y="843"/>
                  </a:lnTo>
                  <a:lnTo>
                    <a:pt x="180" y="836"/>
                  </a:lnTo>
                  <a:lnTo>
                    <a:pt x="182" y="841"/>
                  </a:lnTo>
                  <a:lnTo>
                    <a:pt x="187" y="838"/>
                  </a:lnTo>
                  <a:lnTo>
                    <a:pt x="190" y="818"/>
                  </a:lnTo>
                  <a:lnTo>
                    <a:pt x="188" y="812"/>
                  </a:lnTo>
                  <a:lnTo>
                    <a:pt x="188" y="803"/>
                  </a:lnTo>
                  <a:lnTo>
                    <a:pt x="194" y="792"/>
                  </a:lnTo>
                  <a:lnTo>
                    <a:pt x="194" y="785"/>
                  </a:lnTo>
                  <a:lnTo>
                    <a:pt x="209" y="779"/>
                  </a:lnTo>
                  <a:lnTo>
                    <a:pt x="212" y="774"/>
                  </a:lnTo>
                  <a:lnTo>
                    <a:pt x="213" y="766"/>
                  </a:lnTo>
                  <a:lnTo>
                    <a:pt x="210" y="761"/>
                  </a:lnTo>
                  <a:lnTo>
                    <a:pt x="214" y="746"/>
                  </a:lnTo>
                  <a:lnTo>
                    <a:pt x="210" y="728"/>
                  </a:lnTo>
                  <a:lnTo>
                    <a:pt x="204" y="722"/>
                  </a:lnTo>
                  <a:lnTo>
                    <a:pt x="206" y="718"/>
                  </a:lnTo>
                  <a:lnTo>
                    <a:pt x="214" y="715"/>
                  </a:lnTo>
                  <a:lnTo>
                    <a:pt x="219" y="709"/>
                  </a:lnTo>
                  <a:lnTo>
                    <a:pt x="222" y="700"/>
                  </a:lnTo>
                  <a:lnTo>
                    <a:pt x="221" y="689"/>
                  </a:lnTo>
                  <a:lnTo>
                    <a:pt x="210" y="681"/>
                  </a:lnTo>
                  <a:lnTo>
                    <a:pt x="205" y="673"/>
                  </a:lnTo>
                  <a:lnTo>
                    <a:pt x="204" y="662"/>
                  </a:lnTo>
                  <a:lnTo>
                    <a:pt x="205" y="640"/>
                  </a:lnTo>
                  <a:lnTo>
                    <a:pt x="203" y="632"/>
                  </a:lnTo>
                  <a:lnTo>
                    <a:pt x="201" y="630"/>
                  </a:lnTo>
                  <a:lnTo>
                    <a:pt x="201" y="624"/>
                  </a:lnTo>
                  <a:lnTo>
                    <a:pt x="203" y="619"/>
                  </a:lnTo>
                  <a:lnTo>
                    <a:pt x="203" y="609"/>
                  </a:lnTo>
                  <a:lnTo>
                    <a:pt x="204" y="604"/>
                  </a:lnTo>
                  <a:lnTo>
                    <a:pt x="205" y="598"/>
                  </a:lnTo>
                  <a:lnTo>
                    <a:pt x="209" y="593"/>
                  </a:lnTo>
                  <a:lnTo>
                    <a:pt x="206" y="590"/>
                  </a:lnTo>
                  <a:lnTo>
                    <a:pt x="203" y="583"/>
                  </a:lnTo>
                  <a:lnTo>
                    <a:pt x="201" y="573"/>
                  </a:lnTo>
                  <a:lnTo>
                    <a:pt x="203" y="563"/>
                  </a:lnTo>
                  <a:lnTo>
                    <a:pt x="207" y="555"/>
                  </a:lnTo>
                  <a:lnTo>
                    <a:pt x="220" y="539"/>
                  </a:lnTo>
                  <a:lnTo>
                    <a:pt x="228" y="533"/>
                  </a:lnTo>
                  <a:lnTo>
                    <a:pt x="240" y="530"/>
                  </a:lnTo>
                  <a:lnTo>
                    <a:pt x="249" y="532"/>
                  </a:lnTo>
                  <a:lnTo>
                    <a:pt x="256" y="532"/>
                  </a:lnTo>
                  <a:lnTo>
                    <a:pt x="261" y="526"/>
                  </a:lnTo>
                  <a:lnTo>
                    <a:pt x="263" y="520"/>
                  </a:lnTo>
                  <a:lnTo>
                    <a:pt x="263" y="510"/>
                  </a:lnTo>
                  <a:lnTo>
                    <a:pt x="259" y="504"/>
                  </a:lnTo>
                  <a:lnTo>
                    <a:pt x="252" y="495"/>
                  </a:lnTo>
                  <a:lnTo>
                    <a:pt x="251" y="490"/>
                  </a:lnTo>
                  <a:lnTo>
                    <a:pt x="262" y="474"/>
                  </a:lnTo>
                  <a:lnTo>
                    <a:pt x="270" y="454"/>
                  </a:lnTo>
                  <a:lnTo>
                    <a:pt x="275" y="428"/>
                  </a:lnTo>
                  <a:lnTo>
                    <a:pt x="276" y="413"/>
                  </a:lnTo>
                  <a:lnTo>
                    <a:pt x="276" y="402"/>
                  </a:lnTo>
                  <a:lnTo>
                    <a:pt x="275" y="394"/>
                  </a:lnTo>
                  <a:lnTo>
                    <a:pt x="279" y="392"/>
                  </a:lnTo>
                  <a:lnTo>
                    <a:pt x="285" y="392"/>
                  </a:lnTo>
                  <a:lnTo>
                    <a:pt x="294" y="385"/>
                  </a:lnTo>
                  <a:lnTo>
                    <a:pt x="296" y="378"/>
                  </a:lnTo>
                  <a:lnTo>
                    <a:pt x="298" y="367"/>
                  </a:lnTo>
                  <a:lnTo>
                    <a:pt x="301" y="359"/>
                  </a:lnTo>
                  <a:lnTo>
                    <a:pt x="313" y="343"/>
                  </a:lnTo>
                  <a:lnTo>
                    <a:pt x="317" y="336"/>
                  </a:lnTo>
                  <a:lnTo>
                    <a:pt x="323" y="329"/>
                  </a:lnTo>
                  <a:lnTo>
                    <a:pt x="327" y="323"/>
                  </a:lnTo>
                  <a:lnTo>
                    <a:pt x="328" y="318"/>
                  </a:lnTo>
                  <a:lnTo>
                    <a:pt x="327" y="311"/>
                  </a:lnTo>
                  <a:lnTo>
                    <a:pt x="320" y="299"/>
                  </a:lnTo>
                  <a:lnTo>
                    <a:pt x="322" y="292"/>
                  </a:lnTo>
                  <a:lnTo>
                    <a:pt x="329" y="283"/>
                  </a:lnTo>
                  <a:lnTo>
                    <a:pt x="333" y="278"/>
                  </a:lnTo>
                  <a:lnTo>
                    <a:pt x="333" y="271"/>
                  </a:lnTo>
                  <a:lnTo>
                    <a:pt x="336" y="262"/>
                  </a:lnTo>
                  <a:lnTo>
                    <a:pt x="340" y="256"/>
                  </a:lnTo>
                  <a:lnTo>
                    <a:pt x="350" y="246"/>
                  </a:lnTo>
                  <a:lnTo>
                    <a:pt x="356" y="245"/>
                  </a:lnTo>
                  <a:lnTo>
                    <a:pt x="363" y="248"/>
                  </a:lnTo>
                  <a:lnTo>
                    <a:pt x="368" y="255"/>
                  </a:lnTo>
                  <a:lnTo>
                    <a:pt x="370" y="256"/>
                  </a:lnTo>
                  <a:lnTo>
                    <a:pt x="375" y="247"/>
                  </a:lnTo>
                  <a:lnTo>
                    <a:pt x="378" y="236"/>
                  </a:lnTo>
                  <a:lnTo>
                    <a:pt x="379" y="231"/>
                  </a:lnTo>
                  <a:lnTo>
                    <a:pt x="378" y="219"/>
                  </a:lnTo>
                  <a:lnTo>
                    <a:pt x="380" y="214"/>
                  </a:lnTo>
                  <a:lnTo>
                    <a:pt x="383" y="211"/>
                  </a:lnTo>
                  <a:lnTo>
                    <a:pt x="388" y="211"/>
                  </a:lnTo>
                  <a:lnTo>
                    <a:pt x="404" y="213"/>
                  </a:lnTo>
                  <a:lnTo>
                    <a:pt x="427" y="221"/>
                  </a:lnTo>
                  <a:lnTo>
                    <a:pt x="431" y="220"/>
                  </a:lnTo>
                  <a:lnTo>
                    <a:pt x="435" y="215"/>
                  </a:lnTo>
                  <a:lnTo>
                    <a:pt x="430" y="210"/>
                  </a:lnTo>
                  <a:lnTo>
                    <a:pt x="429" y="205"/>
                  </a:lnTo>
                  <a:lnTo>
                    <a:pt x="432" y="199"/>
                  </a:lnTo>
                  <a:lnTo>
                    <a:pt x="434" y="191"/>
                  </a:lnTo>
                  <a:lnTo>
                    <a:pt x="436" y="189"/>
                  </a:lnTo>
                  <a:lnTo>
                    <a:pt x="437" y="184"/>
                  </a:lnTo>
                  <a:lnTo>
                    <a:pt x="437" y="178"/>
                  </a:lnTo>
                  <a:lnTo>
                    <a:pt x="434" y="175"/>
                  </a:lnTo>
                  <a:lnTo>
                    <a:pt x="433" y="170"/>
                  </a:lnTo>
                  <a:lnTo>
                    <a:pt x="436" y="169"/>
                  </a:lnTo>
                  <a:lnTo>
                    <a:pt x="448" y="169"/>
                  </a:lnTo>
                  <a:lnTo>
                    <a:pt x="450" y="165"/>
                  </a:lnTo>
                  <a:lnTo>
                    <a:pt x="454" y="164"/>
                  </a:lnTo>
                  <a:lnTo>
                    <a:pt x="459" y="165"/>
                  </a:lnTo>
                  <a:lnTo>
                    <a:pt x="464" y="164"/>
                  </a:lnTo>
                  <a:lnTo>
                    <a:pt x="462" y="158"/>
                  </a:lnTo>
                  <a:lnTo>
                    <a:pt x="461" y="151"/>
                  </a:lnTo>
                  <a:lnTo>
                    <a:pt x="468" y="148"/>
                  </a:lnTo>
                  <a:lnTo>
                    <a:pt x="475" y="151"/>
                  </a:lnTo>
                  <a:lnTo>
                    <a:pt x="482" y="157"/>
                  </a:lnTo>
                  <a:lnTo>
                    <a:pt x="497" y="180"/>
                  </a:lnTo>
                  <a:lnTo>
                    <a:pt x="500" y="190"/>
                  </a:lnTo>
                  <a:lnTo>
                    <a:pt x="503" y="194"/>
                  </a:lnTo>
                  <a:lnTo>
                    <a:pt x="516" y="196"/>
                  </a:lnTo>
                  <a:lnTo>
                    <a:pt x="524" y="200"/>
                  </a:lnTo>
                  <a:lnTo>
                    <a:pt x="530" y="199"/>
                  </a:lnTo>
                  <a:lnTo>
                    <a:pt x="538" y="195"/>
                  </a:lnTo>
                  <a:lnTo>
                    <a:pt x="547" y="184"/>
                  </a:lnTo>
                  <a:lnTo>
                    <a:pt x="552" y="188"/>
                  </a:lnTo>
                  <a:lnTo>
                    <a:pt x="557" y="195"/>
                  </a:lnTo>
                  <a:lnTo>
                    <a:pt x="558" y="199"/>
                  </a:lnTo>
                  <a:lnTo>
                    <a:pt x="564" y="201"/>
                  </a:lnTo>
                  <a:lnTo>
                    <a:pt x="572" y="197"/>
                  </a:lnTo>
                  <a:lnTo>
                    <a:pt x="579" y="192"/>
                  </a:lnTo>
                  <a:lnTo>
                    <a:pt x="583" y="185"/>
                  </a:lnTo>
                  <a:lnTo>
                    <a:pt x="597" y="175"/>
                  </a:lnTo>
                  <a:lnTo>
                    <a:pt x="598" y="168"/>
                  </a:lnTo>
                  <a:lnTo>
                    <a:pt x="597" y="156"/>
                  </a:lnTo>
                  <a:lnTo>
                    <a:pt x="597" y="149"/>
                  </a:lnTo>
                  <a:lnTo>
                    <a:pt x="599" y="127"/>
                  </a:lnTo>
                  <a:lnTo>
                    <a:pt x="605" y="111"/>
                  </a:lnTo>
                  <a:lnTo>
                    <a:pt x="611" y="104"/>
                  </a:lnTo>
                  <a:lnTo>
                    <a:pt x="618" y="100"/>
                  </a:lnTo>
                  <a:lnTo>
                    <a:pt x="631" y="99"/>
                  </a:lnTo>
                  <a:lnTo>
                    <a:pt x="651" y="90"/>
                  </a:lnTo>
                  <a:lnTo>
                    <a:pt x="663" y="87"/>
                  </a:lnTo>
                  <a:lnTo>
                    <a:pt x="666" y="90"/>
                  </a:lnTo>
                  <a:lnTo>
                    <a:pt x="671" y="101"/>
                  </a:lnTo>
                  <a:lnTo>
                    <a:pt x="677" y="105"/>
                  </a:lnTo>
                  <a:lnTo>
                    <a:pt x="686" y="109"/>
                  </a:lnTo>
                  <a:lnTo>
                    <a:pt x="696" y="118"/>
                  </a:lnTo>
                  <a:lnTo>
                    <a:pt x="699" y="132"/>
                  </a:lnTo>
                  <a:lnTo>
                    <a:pt x="700" y="141"/>
                  </a:lnTo>
                  <a:lnTo>
                    <a:pt x="690" y="153"/>
                  </a:lnTo>
                  <a:lnTo>
                    <a:pt x="688" y="160"/>
                  </a:lnTo>
                  <a:lnTo>
                    <a:pt x="688" y="165"/>
                  </a:lnTo>
                  <a:lnTo>
                    <a:pt x="693" y="169"/>
                  </a:lnTo>
                  <a:lnTo>
                    <a:pt x="695" y="169"/>
                  </a:lnTo>
                  <a:lnTo>
                    <a:pt x="699" y="164"/>
                  </a:lnTo>
                  <a:lnTo>
                    <a:pt x="700" y="162"/>
                  </a:lnTo>
                  <a:lnTo>
                    <a:pt x="701" y="156"/>
                  </a:lnTo>
                  <a:lnTo>
                    <a:pt x="702" y="154"/>
                  </a:lnTo>
                  <a:lnTo>
                    <a:pt x="718" y="144"/>
                  </a:lnTo>
                  <a:lnTo>
                    <a:pt x="722" y="140"/>
                  </a:lnTo>
                  <a:lnTo>
                    <a:pt x="725" y="124"/>
                  </a:lnTo>
                  <a:lnTo>
                    <a:pt x="737" y="132"/>
                  </a:lnTo>
                  <a:lnTo>
                    <a:pt x="743" y="130"/>
                  </a:lnTo>
                  <a:lnTo>
                    <a:pt x="744" y="127"/>
                  </a:lnTo>
                  <a:lnTo>
                    <a:pt x="746" y="121"/>
                  </a:lnTo>
                  <a:lnTo>
                    <a:pt x="747" y="115"/>
                  </a:lnTo>
                  <a:lnTo>
                    <a:pt x="745" y="113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21" name="Group 384"/>
          <p:cNvGrpSpPr>
            <a:grpSpLocks/>
          </p:cNvGrpSpPr>
          <p:nvPr/>
        </p:nvGrpSpPr>
        <p:grpSpPr bwMode="auto">
          <a:xfrm>
            <a:off x="4114800" y="5002213"/>
            <a:ext cx="14288" cy="15875"/>
            <a:chOff x="1834" y="3151"/>
            <a:chExt cx="9" cy="10"/>
          </a:xfrm>
        </p:grpSpPr>
        <p:sp>
          <p:nvSpPr>
            <p:cNvPr id="34222" name="Freeform 382"/>
            <p:cNvSpPr>
              <a:spLocks/>
            </p:cNvSpPr>
            <p:nvPr/>
          </p:nvSpPr>
          <p:spPr bwMode="auto">
            <a:xfrm>
              <a:off x="1834" y="3151"/>
              <a:ext cx="9" cy="10"/>
            </a:xfrm>
            <a:custGeom>
              <a:avLst/>
              <a:gdLst>
                <a:gd name="T0" fmla="*/ 7 w 9"/>
                <a:gd name="T1" fmla="*/ 1 h 10"/>
                <a:gd name="T2" fmla="*/ 7 w 9"/>
                <a:gd name="T3" fmla="*/ 1 h 10"/>
                <a:gd name="T4" fmla="*/ 8 w 9"/>
                <a:gd name="T5" fmla="*/ 0 h 10"/>
                <a:gd name="T6" fmla="*/ 9 w 9"/>
                <a:gd name="T7" fmla="*/ 5 h 10"/>
                <a:gd name="T8" fmla="*/ 6 w 9"/>
                <a:gd name="T9" fmla="*/ 9 h 10"/>
                <a:gd name="T10" fmla="*/ 4 w 9"/>
                <a:gd name="T11" fmla="*/ 10 h 10"/>
                <a:gd name="T12" fmla="*/ 0 w 9"/>
                <a:gd name="T13" fmla="*/ 8 h 10"/>
                <a:gd name="T14" fmla="*/ 2 w 9"/>
                <a:gd name="T15" fmla="*/ 4 h 10"/>
                <a:gd name="T16" fmla="*/ 7 w 9"/>
                <a:gd name="T17" fmla="*/ 1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10"/>
                <a:gd name="T29" fmla="*/ 9 w 9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10">
                  <a:moveTo>
                    <a:pt x="7" y="1"/>
                  </a:moveTo>
                  <a:lnTo>
                    <a:pt x="7" y="1"/>
                  </a:lnTo>
                  <a:lnTo>
                    <a:pt x="8" y="0"/>
                  </a:lnTo>
                  <a:lnTo>
                    <a:pt x="9" y="5"/>
                  </a:lnTo>
                  <a:lnTo>
                    <a:pt x="6" y="9"/>
                  </a:lnTo>
                  <a:lnTo>
                    <a:pt x="4" y="10"/>
                  </a:lnTo>
                  <a:lnTo>
                    <a:pt x="0" y="8"/>
                  </a:lnTo>
                  <a:lnTo>
                    <a:pt x="2" y="4"/>
                  </a:lnTo>
                  <a:lnTo>
                    <a:pt x="7" y="1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23" name="Freeform 383"/>
            <p:cNvSpPr>
              <a:spLocks/>
            </p:cNvSpPr>
            <p:nvPr/>
          </p:nvSpPr>
          <p:spPr bwMode="auto">
            <a:xfrm>
              <a:off x="1834" y="3151"/>
              <a:ext cx="9" cy="10"/>
            </a:xfrm>
            <a:custGeom>
              <a:avLst/>
              <a:gdLst>
                <a:gd name="T0" fmla="*/ 7 w 9"/>
                <a:gd name="T1" fmla="*/ 1 h 10"/>
                <a:gd name="T2" fmla="*/ 7 w 9"/>
                <a:gd name="T3" fmla="*/ 1 h 10"/>
                <a:gd name="T4" fmla="*/ 8 w 9"/>
                <a:gd name="T5" fmla="*/ 0 h 10"/>
                <a:gd name="T6" fmla="*/ 9 w 9"/>
                <a:gd name="T7" fmla="*/ 5 h 10"/>
                <a:gd name="T8" fmla="*/ 6 w 9"/>
                <a:gd name="T9" fmla="*/ 9 h 10"/>
                <a:gd name="T10" fmla="*/ 4 w 9"/>
                <a:gd name="T11" fmla="*/ 10 h 10"/>
                <a:gd name="T12" fmla="*/ 0 w 9"/>
                <a:gd name="T13" fmla="*/ 8 h 10"/>
                <a:gd name="T14" fmla="*/ 2 w 9"/>
                <a:gd name="T15" fmla="*/ 4 h 10"/>
                <a:gd name="T16" fmla="*/ 7 w 9"/>
                <a:gd name="T17" fmla="*/ 1 h 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10"/>
                <a:gd name="T29" fmla="*/ 9 w 9"/>
                <a:gd name="T30" fmla="*/ 10 h 1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10">
                  <a:moveTo>
                    <a:pt x="7" y="1"/>
                  </a:moveTo>
                  <a:lnTo>
                    <a:pt x="7" y="1"/>
                  </a:lnTo>
                  <a:lnTo>
                    <a:pt x="8" y="0"/>
                  </a:lnTo>
                  <a:lnTo>
                    <a:pt x="9" y="5"/>
                  </a:lnTo>
                  <a:lnTo>
                    <a:pt x="6" y="9"/>
                  </a:lnTo>
                  <a:lnTo>
                    <a:pt x="4" y="10"/>
                  </a:lnTo>
                  <a:lnTo>
                    <a:pt x="0" y="8"/>
                  </a:lnTo>
                  <a:lnTo>
                    <a:pt x="2" y="4"/>
                  </a:lnTo>
                  <a:lnTo>
                    <a:pt x="7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22" name="Group 387"/>
          <p:cNvGrpSpPr>
            <a:grpSpLocks/>
          </p:cNvGrpSpPr>
          <p:nvPr/>
        </p:nvGrpSpPr>
        <p:grpSpPr bwMode="auto">
          <a:xfrm>
            <a:off x="4168775" y="4953000"/>
            <a:ext cx="44450" cy="41275"/>
            <a:chOff x="1868" y="3120"/>
            <a:chExt cx="28" cy="26"/>
          </a:xfrm>
        </p:grpSpPr>
        <p:sp>
          <p:nvSpPr>
            <p:cNvPr id="34220" name="Freeform 385"/>
            <p:cNvSpPr>
              <a:spLocks/>
            </p:cNvSpPr>
            <p:nvPr/>
          </p:nvSpPr>
          <p:spPr bwMode="auto">
            <a:xfrm>
              <a:off x="1868" y="3120"/>
              <a:ext cx="28" cy="26"/>
            </a:xfrm>
            <a:custGeom>
              <a:avLst/>
              <a:gdLst>
                <a:gd name="T0" fmla="*/ 22 w 28"/>
                <a:gd name="T1" fmla="*/ 1 h 26"/>
                <a:gd name="T2" fmla="*/ 21 w 28"/>
                <a:gd name="T3" fmla="*/ 6 h 26"/>
                <a:gd name="T4" fmla="*/ 21 w 28"/>
                <a:gd name="T5" fmla="*/ 8 h 26"/>
                <a:gd name="T6" fmla="*/ 26 w 28"/>
                <a:gd name="T7" fmla="*/ 8 h 26"/>
                <a:gd name="T8" fmla="*/ 28 w 28"/>
                <a:gd name="T9" fmla="*/ 12 h 26"/>
                <a:gd name="T10" fmla="*/ 26 w 28"/>
                <a:gd name="T11" fmla="*/ 20 h 26"/>
                <a:gd name="T12" fmla="*/ 20 w 28"/>
                <a:gd name="T13" fmla="*/ 26 h 26"/>
                <a:gd name="T14" fmla="*/ 12 w 28"/>
                <a:gd name="T15" fmla="*/ 21 h 26"/>
                <a:gd name="T16" fmla="*/ 10 w 28"/>
                <a:gd name="T17" fmla="*/ 17 h 26"/>
                <a:gd name="T18" fmla="*/ 6 w 28"/>
                <a:gd name="T19" fmla="*/ 17 h 26"/>
                <a:gd name="T20" fmla="*/ 3 w 28"/>
                <a:gd name="T21" fmla="*/ 18 h 26"/>
                <a:gd name="T22" fmla="*/ 0 w 28"/>
                <a:gd name="T23" fmla="*/ 15 h 26"/>
                <a:gd name="T24" fmla="*/ 5 w 28"/>
                <a:gd name="T25" fmla="*/ 9 h 26"/>
                <a:gd name="T26" fmla="*/ 22 w 28"/>
                <a:gd name="T27" fmla="*/ 0 h 26"/>
                <a:gd name="T28" fmla="*/ 23 w 28"/>
                <a:gd name="T29" fmla="*/ 0 h 26"/>
                <a:gd name="T30" fmla="*/ 22 w 28"/>
                <a:gd name="T31" fmla="*/ 1 h 2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8"/>
                <a:gd name="T49" fmla="*/ 0 h 26"/>
                <a:gd name="T50" fmla="*/ 28 w 28"/>
                <a:gd name="T51" fmla="*/ 26 h 2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8" h="26">
                  <a:moveTo>
                    <a:pt x="22" y="1"/>
                  </a:moveTo>
                  <a:lnTo>
                    <a:pt x="21" y="6"/>
                  </a:lnTo>
                  <a:lnTo>
                    <a:pt x="21" y="8"/>
                  </a:lnTo>
                  <a:lnTo>
                    <a:pt x="26" y="8"/>
                  </a:lnTo>
                  <a:lnTo>
                    <a:pt x="28" y="12"/>
                  </a:lnTo>
                  <a:lnTo>
                    <a:pt x="26" y="20"/>
                  </a:lnTo>
                  <a:lnTo>
                    <a:pt x="20" y="26"/>
                  </a:lnTo>
                  <a:lnTo>
                    <a:pt x="12" y="21"/>
                  </a:lnTo>
                  <a:lnTo>
                    <a:pt x="10" y="17"/>
                  </a:lnTo>
                  <a:lnTo>
                    <a:pt x="6" y="17"/>
                  </a:lnTo>
                  <a:lnTo>
                    <a:pt x="3" y="18"/>
                  </a:lnTo>
                  <a:lnTo>
                    <a:pt x="0" y="15"/>
                  </a:lnTo>
                  <a:lnTo>
                    <a:pt x="5" y="9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2" y="1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21" name="Freeform 386"/>
            <p:cNvSpPr>
              <a:spLocks/>
            </p:cNvSpPr>
            <p:nvPr/>
          </p:nvSpPr>
          <p:spPr bwMode="auto">
            <a:xfrm>
              <a:off x="1868" y="3120"/>
              <a:ext cx="28" cy="26"/>
            </a:xfrm>
            <a:custGeom>
              <a:avLst/>
              <a:gdLst>
                <a:gd name="T0" fmla="*/ 22 w 28"/>
                <a:gd name="T1" fmla="*/ 1 h 26"/>
                <a:gd name="T2" fmla="*/ 21 w 28"/>
                <a:gd name="T3" fmla="*/ 6 h 26"/>
                <a:gd name="T4" fmla="*/ 21 w 28"/>
                <a:gd name="T5" fmla="*/ 8 h 26"/>
                <a:gd name="T6" fmla="*/ 26 w 28"/>
                <a:gd name="T7" fmla="*/ 8 h 26"/>
                <a:gd name="T8" fmla="*/ 28 w 28"/>
                <a:gd name="T9" fmla="*/ 12 h 26"/>
                <a:gd name="T10" fmla="*/ 26 w 28"/>
                <a:gd name="T11" fmla="*/ 20 h 26"/>
                <a:gd name="T12" fmla="*/ 20 w 28"/>
                <a:gd name="T13" fmla="*/ 26 h 26"/>
                <a:gd name="T14" fmla="*/ 12 w 28"/>
                <a:gd name="T15" fmla="*/ 21 h 26"/>
                <a:gd name="T16" fmla="*/ 10 w 28"/>
                <a:gd name="T17" fmla="*/ 17 h 26"/>
                <a:gd name="T18" fmla="*/ 6 w 28"/>
                <a:gd name="T19" fmla="*/ 17 h 26"/>
                <a:gd name="T20" fmla="*/ 3 w 28"/>
                <a:gd name="T21" fmla="*/ 18 h 26"/>
                <a:gd name="T22" fmla="*/ 0 w 28"/>
                <a:gd name="T23" fmla="*/ 15 h 26"/>
                <a:gd name="T24" fmla="*/ 5 w 28"/>
                <a:gd name="T25" fmla="*/ 9 h 26"/>
                <a:gd name="T26" fmla="*/ 22 w 28"/>
                <a:gd name="T27" fmla="*/ 0 h 26"/>
                <a:gd name="T28" fmla="*/ 23 w 28"/>
                <a:gd name="T29" fmla="*/ 0 h 26"/>
                <a:gd name="T30" fmla="*/ 22 w 28"/>
                <a:gd name="T31" fmla="*/ 1 h 2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8"/>
                <a:gd name="T49" fmla="*/ 0 h 26"/>
                <a:gd name="T50" fmla="*/ 28 w 28"/>
                <a:gd name="T51" fmla="*/ 26 h 2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8" h="26">
                  <a:moveTo>
                    <a:pt x="22" y="1"/>
                  </a:moveTo>
                  <a:lnTo>
                    <a:pt x="21" y="6"/>
                  </a:lnTo>
                  <a:lnTo>
                    <a:pt x="21" y="8"/>
                  </a:lnTo>
                  <a:lnTo>
                    <a:pt x="26" y="8"/>
                  </a:lnTo>
                  <a:lnTo>
                    <a:pt x="28" y="12"/>
                  </a:lnTo>
                  <a:lnTo>
                    <a:pt x="26" y="20"/>
                  </a:lnTo>
                  <a:lnTo>
                    <a:pt x="20" y="26"/>
                  </a:lnTo>
                  <a:lnTo>
                    <a:pt x="12" y="21"/>
                  </a:lnTo>
                  <a:lnTo>
                    <a:pt x="10" y="17"/>
                  </a:lnTo>
                  <a:lnTo>
                    <a:pt x="6" y="17"/>
                  </a:lnTo>
                  <a:lnTo>
                    <a:pt x="3" y="18"/>
                  </a:lnTo>
                  <a:lnTo>
                    <a:pt x="0" y="15"/>
                  </a:lnTo>
                  <a:lnTo>
                    <a:pt x="5" y="9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2" y="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23" name="Group 390"/>
          <p:cNvGrpSpPr>
            <a:grpSpLocks/>
          </p:cNvGrpSpPr>
          <p:nvPr/>
        </p:nvGrpSpPr>
        <p:grpSpPr bwMode="auto">
          <a:xfrm>
            <a:off x="4233863" y="4946650"/>
            <a:ext cx="17462" cy="12700"/>
            <a:chOff x="1909" y="3116"/>
            <a:chExt cx="11" cy="8"/>
          </a:xfrm>
        </p:grpSpPr>
        <p:sp>
          <p:nvSpPr>
            <p:cNvPr id="34218" name="Freeform 388"/>
            <p:cNvSpPr>
              <a:spLocks/>
            </p:cNvSpPr>
            <p:nvPr/>
          </p:nvSpPr>
          <p:spPr bwMode="auto">
            <a:xfrm>
              <a:off x="1909" y="3116"/>
              <a:ext cx="11" cy="8"/>
            </a:xfrm>
            <a:custGeom>
              <a:avLst/>
              <a:gdLst>
                <a:gd name="T0" fmla="*/ 10 w 11"/>
                <a:gd name="T1" fmla="*/ 2 h 8"/>
                <a:gd name="T2" fmla="*/ 11 w 11"/>
                <a:gd name="T3" fmla="*/ 2 h 8"/>
                <a:gd name="T4" fmla="*/ 11 w 11"/>
                <a:gd name="T5" fmla="*/ 4 h 8"/>
                <a:gd name="T6" fmla="*/ 11 w 11"/>
                <a:gd name="T7" fmla="*/ 8 h 8"/>
                <a:gd name="T8" fmla="*/ 9 w 11"/>
                <a:gd name="T9" fmla="*/ 8 h 8"/>
                <a:gd name="T10" fmla="*/ 4 w 11"/>
                <a:gd name="T11" fmla="*/ 6 h 8"/>
                <a:gd name="T12" fmla="*/ 0 w 11"/>
                <a:gd name="T13" fmla="*/ 3 h 8"/>
                <a:gd name="T14" fmla="*/ 2 w 11"/>
                <a:gd name="T15" fmla="*/ 1 h 8"/>
                <a:gd name="T16" fmla="*/ 7 w 11"/>
                <a:gd name="T17" fmla="*/ 0 h 8"/>
                <a:gd name="T18" fmla="*/ 9 w 11"/>
                <a:gd name="T19" fmla="*/ 1 h 8"/>
                <a:gd name="T20" fmla="*/ 10 w 11"/>
                <a:gd name="T21" fmla="*/ 2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8"/>
                <a:gd name="T35" fmla="*/ 11 w 11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8">
                  <a:moveTo>
                    <a:pt x="10" y="2"/>
                  </a:moveTo>
                  <a:lnTo>
                    <a:pt x="11" y="2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9" y="8"/>
                  </a:lnTo>
                  <a:lnTo>
                    <a:pt x="4" y="6"/>
                  </a:lnTo>
                  <a:lnTo>
                    <a:pt x="0" y="3"/>
                  </a:lnTo>
                  <a:lnTo>
                    <a:pt x="2" y="1"/>
                  </a:lnTo>
                  <a:lnTo>
                    <a:pt x="7" y="0"/>
                  </a:lnTo>
                  <a:lnTo>
                    <a:pt x="9" y="1"/>
                  </a:lnTo>
                  <a:lnTo>
                    <a:pt x="10" y="2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19" name="Freeform 389"/>
            <p:cNvSpPr>
              <a:spLocks/>
            </p:cNvSpPr>
            <p:nvPr/>
          </p:nvSpPr>
          <p:spPr bwMode="auto">
            <a:xfrm>
              <a:off x="1909" y="3116"/>
              <a:ext cx="11" cy="8"/>
            </a:xfrm>
            <a:custGeom>
              <a:avLst/>
              <a:gdLst>
                <a:gd name="T0" fmla="*/ 10 w 11"/>
                <a:gd name="T1" fmla="*/ 2 h 8"/>
                <a:gd name="T2" fmla="*/ 11 w 11"/>
                <a:gd name="T3" fmla="*/ 2 h 8"/>
                <a:gd name="T4" fmla="*/ 11 w 11"/>
                <a:gd name="T5" fmla="*/ 4 h 8"/>
                <a:gd name="T6" fmla="*/ 11 w 11"/>
                <a:gd name="T7" fmla="*/ 8 h 8"/>
                <a:gd name="T8" fmla="*/ 9 w 11"/>
                <a:gd name="T9" fmla="*/ 8 h 8"/>
                <a:gd name="T10" fmla="*/ 4 w 11"/>
                <a:gd name="T11" fmla="*/ 6 h 8"/>
                <a:gd name="T12" fmla="*/ 0 w 11"/>
                <a:gd name="T13" fmla="*/ 3 h 8"/>
                <a:gd name="T14" fmla="*/ 2 w 11"/>
                <a:gd name="T15" fmla="*/ 1 h 8"/>
                <a:gd name="T16" fmla="*/ 7 w 11"/>
                <a:gd name="T17" fmla="*/ 0 h 8"/>
                <a:gd name="T18" fmla="*/ 9 w 11"/>
                <a:gd name="T19" fmla="*/ 1 h 8"/>
                <a:gd name="T20" fmla="*/ 10 w 11"/>
                <a:gd name="T21" fmla="*/ 2 h 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"/>
                <a:gd name="T34" fmla="*/ 0 h 8"/>
                <a:gd name="T35" fmla="*/ 11 w 11"/>
                <a:gd name="T36" fmla="*/ 8 h 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" h="8">
                  <a:moveTo>
                    <a:pt x="10" y="2"/>
                  </a:moveTo>
                  <a:lnTo>
                    <a:pt x="11" y="2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9" y="8"/>
                  </a:lnTo>
                  <a:lnTo>
                    <a:pt x="4" y="6"/>
                  </a:lnTo>
                  <a:lnTo>
                    <a:pt x="0" y="3"/>
                  </a:lnTo>
                  <a:lnTo>
                    <a:pt x="2" y="1"/>
                  </a:lnTo>
                  <a:lnTo>
                    <a:pt x="7" y="0"/>
                  </a:lnTo>
                  <a:lnTo>
                    <a:pt x="9" y="1"/>
                  </a:lnTo>
                  <a:lnTo>
                    <a:pt x="10" y="2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24" name="Group 393"/>
          <p:cNvGrpSpPr>
            <a:grpSpLocks/>
          </p:cNvGrpSpPr>
          <p:nvPr/>
        </p:nvGrpSpPr>
        <p:grpSpPr bwMode="auto">
          <a:xfrm>
            <a:off x="3633788" y="4725988"/>
            <a:ext cx="574675" cy="450850"/>
            <a:chOff x="1531" y="2977"/>
            <a:chExt cx="362" cy="284"/>
          </a:xfrm>
        </p:grpSpPr>
        <p:sp>
          <p:nvSpPr>
            <p:cNvPr id="34216" name="Freeform 391"/>
            <p:cNvSpPr>
              <a:spLocks/>
            </p:cNvSpPr>
            <p:nvPr/>
          </p:nvSpPr>
          <p:spPr bwMode="auto">
            <a:xfrm>
              <a:off x="1531" y="2977"/>
              <a:ext cx="362" cy="284"/>
            </a:xfrm>
            <a:custGeom>
              <a:avLst/>
              <a:gdLst>
                <a:gd name="T0" fmla="*/ 53 w 362"/>
                <a:gd name="T1" fmla="*/ 229 h 284"/>
                <a:gd name="T2" fmla="*/ 68 w 362"/>
                <a:gd name="T3" fmla="*/ 213 h 284"/>
                <a:gd name="T4" fmla="*/ 59 w 362"/>
                <a:gd name="T5" fmla="*/ 195 h 284"/>
                <a:gd name="T6" fmla="*/ 66 w 362"/>
                <a:gd name="T7" fmla="*/ 177 h 284"/>
                <a:gd name="T8" fmla="*/ 56 w 362"/>
                <a:gd name="T9" fmla="*/ 157 h 284"/>
                <a:gd name="T10" fmla="*/ 72 w 362"/>
                <a:gd name="T11" fmla="*/ 146 h 284"/>
                <a:gd name="T12" fmla="*/ 68 w 362"/>
                <a:gd name="T13" fmla="*/ 131 h 284"/>
                <a:gd name="T14" fmla="*/ 73 w 362"/>
                <a:gd name="T15" fmla="*/ 109 h 284"/>
                <a:gd name="T16" fmla="*/ 89 w 362"/>
                <a:gd name="T17" fmla="*/ 85 h 284"/>
                <a:gd name="T18" fmla="*/ 82 w 362"/>
                <a:gd name="T19" fmla="*/ 71 h 284"/>
                <a:gd name="T20" fmla="*/ 58 w 362"/>
                <a:gd name="T21" fmla="*/ 73 h 284"/>
                <a:gd name="T22" fmla="*/ 35 w 362"/>
                <a:gd name="T23" fmla="*/ 70 h 284"/>
                <a:gd name="T24" fmla="*/ 19 w 362"/>
                <a:gd name="T25" fmla="*/ 68 h 284"/>
                <a:gd name="T26" fmla="*/ 13 w 362"/>
                <a:gd name="T27" fmla="*/ 66 h 284"/>
                <a:gd name="T28" fmla="*/ 14 w 362"/>
                <a:gd name="T29" fmla="*/ 56 h 284"/>
                <a:gd name="T30" fmla="*/ 14 w 362"/>
                <a:gd name="T31" fmla="*/ 42 h 284"/>
                <a:gd name="T32" fmla="*/ 9 w 362"/>
                <a:gd name="T33" fmla="*/ 36 h 284"/>
                <a:gd name="T34" fmla="*/ 9 w 362"/>
                <a:gd name="T35" fmla="*/ 18 h 284"/>
                <a:gd name="T36" fmla="*/ 29 w 362"/>
                <a:gd name="T37" fmla="*/ 11 h 284"/>
                <a:gd name="T38" fmla="*/ 45 w 362"/>
                <a:gd name="T39" fmla="*/ 0 h 284"/>
                <a:gd name="T40" fmla="*/ 68 w 362"/>
                <a:gd name="T41" fmla="*/ 6 h 284"/>
                <a:gd name="T42" fmla="*/ 102 w 362"/>
                <a:gd name="T43" fmla="*/ 4 h 284"/>
                <a:gd name="T44" fmla="*/ 135 w 362"/>
                <a:gd name="T45" fmla="*/ 11 h 284"/>
                <a:gd name="T46" fmla="*/ 161 w 362"/>
                <a:gd name="T47" fmla="*/ 9 h 284"/>
                <a:gd name="T48" fmla="*/ 193 w 362"/>
                <a:gd name="T49" fmla="*/ 12 h 284"/>
                <a:gd name="T50" fmla="*/ 215 w 362"/>
                <a:gd name="T51" fmla="*/ 14 h 284"/>
                <a:gd name="T52" fmla="*/ 232 w 362"/>
                <a:gd name="T53" fmla="*/ 27 h 284"/>
                <a:gd name="T54" fmla="*/ 247 w 362"/>
                <a:gd name="T55" fmla="*/ 35 h 284"/>
                <a:gd name="T56" fmla="*/ 283 w 362"/>
                <a:gd name="T57" fmla="*/ 42 h 284"/>
                <a:gd name="T58" fmla="*/ 297 w 362"/>
                <a:gd name="T59" fmla="*/ 39 h 284"/>
                <a:gd name="T60" fmla="*/ 310 w 362"/>
                <a:gd name="T61" fmla="*/ 51 h 284"/>
                <a:gd name="T62" fmla="*/ 315 w 362"/>
                <a:gd name="T63" fmla="*/ 48 h 284"/>
                <a:gd name="T64" fmla="*/ 340 w 362"/>
                <a:gd name="T65" fmla="*/ 52 h 284"/>
                <a:gd name="T66" fmla="*/ 357 w 362"/>
                <a:gd name="T67" fmla="*/ 51 h 284"/>
                <a:gd name="T68" fmla="*/ 358 w 362"/>
                <a:gd name="T69" fmla="*/ 59 h 284"/>
                <a:gd name="T70" fmla="*/ 355 w 362"/>
                <a:gd name="T71" fmla="*/ 75 h 284"/>
                <a:gd name="T72" fmla="*/ 297 w 362"/>
                <a:gd name="T73" fmla="*/ 105 h 284"/>
                <a:gd name="T74" fmla="*/ 286 w 362"/>
                <a:gd name="T75" fmla="*/ 121 h 284"/>
                <a:gd name="T76" fmla="*/ 261 w 362"/>
                <a:gd name="T77" fmla="*/ 156 h 284"/>
                <a:gd name="T78" fmla="*/ 258 w 362"/>
                <a:gd name="T79" fmla="*/ 167 h 284"/>
                <a:gd name="T80" fmla="*/ 262 w 362"/>
                <a:gd name="T81" fmla="*/ 179 h 284"/>
                <a:gd name="T82" fmla="*/ 271 w 362"/>
                <a:gd name="T83" fmla="*/ 184 h 284"/>
                <a:gd name="T84" fmla="*/ 264 w 362"/>
                <a:gd name="T85" fmla="*/ 197 h 284"/>
                <a:gd name="T86" fmla="*/ 250 w 362"/>
                <a:gd name="T87" fmla="*/ 213 h 284"/>
                <a:gd name="T88" fmla="*/ 245 w 362"/>
                <a:gd name="T89" fmla="*/ 226 h 284"/>
                <a:gd name="T90" fmla="*/ 219 w 362"/>
                <a:gd name="T91" fmla="*/ 241 h 284"/>
                <a:gd name="T92" fmla="*/ 210 w 362"/>
                <a:gd name="T93" fmla="*/ 259 h 284"/>
                <a:gd name="T94" fmla="*/ 192 w 362"/>
                <a:gd name="T95" fmla="*/ 261 h 284"/>
                <a:gd name="T96" fmla="*/ 168 w 362"/>
                <a:gd name="T97" fmla="*/ 260 h 284"/>
                <a:gd name="T98" fmla="*/ 136 w 362"/>
                <a:gd name="T99" fmla="*/ 268 h 284"/>
                <a:gd name="T100" fmla="*/ 119 w 362"/>
                <a:gd name="T101" fmla="*/ 276 h 284"/>
                <a:gd name="T102" fmla="*/ 111 w 362"/>
                <a:gd name="T103" fmla="*/ 284 h 284"/>
                <a:gd name="T104" fmla="*/ 90 w 362"/>
                <a:gd name="T105" fmla="*/ 269 h 284"/>
                <a:gd name="T106" fmla="*/ 85 w 362"/>
                <a:gd name="T107" fmla="*/ 256 h 284"/>
                <a:gd name="T108" fmla="*/ 78 w 362"/>
                <a:gd name="T109" fmla="*/ 248 h 284"/>
                <a:gd name="T110" fmla="*/ 55 w 362"/>
                <a:gd name="T111" fmla="*/ 244 h 28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62"/>
                <a:gd name="T169" fmla="*/ 0 h 284"/>
                <a:gd name="T170" fmla="*/ 362 w 362"/>
                <a:gd name="T171" fmla="*/ 284 h 28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62" h="284">
                  <a:moveTo>
                    <a:pt x="55" y="244"/>
                  </a:moveTo>
                  <a:lnTo>
                    <a:pt x="53" y="235"/>
                  </a:lnTo>
                  <a:lnTo>
                    <a:pt x="53" y="229"/>
                  </a:lnTo>
                  <a:lnTo>
                    <a:pt x="57" y="224"/>
                  </a:lnTo>
                  <a:lnTo>
                    <a:pt x="64" y="218"/>
                  </a:lnTo>
                  <a:lnTo>
                    <a:pt x="68" y="213"/>
                  </a:lnTo>
                  <a:lnTo>
                    <a:pt x="66" y="208"/>
                  </a:lnTo>
                  <a:lnTo>
                    <a:pt x="61" y="202"/>
                  </a:lnTo>
                  <a:lnTo>
                    <a:pt x="59" y="195"/>
                  </a:lnTo>
                  <a:lnTo>
                    <a:pt x="60" y="188"/>
                  </a:lnTo>
                  <a:lnTo>
                    <a:pt x="64" y="182"/>
                  </a:lnTo>
                  <a:lnTo>
                    <a:pt x="66" y="177"/>
                  </a:lnTo>
                  <a:lnTo>
                    <a:pt x="64" y="174"/>
                  </a:lnTo>
                  <a:lnTo>
                    <a:pt x="58" y="165"/>
                  </a:lnTo>
                  <a:lnTo>
                    <a:pt x="56" y="157"/>
                  </a:lnTo>
                  <a:lnTo>
                    <a:pt x="61" y="153"/>
                  </a:lnTo>
                  <a:lnTo>
                    <a:pt x="67" y="152"/>
                  </a:lnTo>
                  <a:lnTo>
                    <a:pt x="72" y="146"/>
                  </a:lnTo>
                  <a:lnTo>
                    <a:pt x="72" y="141"/>
                  </a:lnTo>
                  <a:lnTo>
                    <a:pt x="68" y="135"/>
                  </a:lnTo>
                  <a:lnTo>
                    <a:pt x="68" y="131"/>
                  </a:lnTo>
                  <a:lnTo>
                    <a:pt x="72" y="124"/>
                  </a:lnTo>
                  <a:lnTo>
                    <a:pt x="73" y="116"/>
                  </a:lnTo>
                  <a:lnTo>
                    <a:pt x="73" y="109"/>
                  </a:lnTo>
                  <a:lnTo>
                    <a:pt x="74" y="104"/>
                  </a:lnTo>
                  <a:lnTo>
                    <a:pt x="85" y="93"/>
                  </a:lnTo>
                  <a:lnTo>
                    <a:pt x="89" y="85"/>
                  </a:lnTo>
                  <a:lnTo>
                    <a:pt x="89" y="81"/>
                  </a:lnTo>
                  <a:lnTo>
                    <a:pt x="85" y="77"/>
                  </a:lnTo>
                  <a:lnTo>
                    <a:pt x="82" y="71"/>
                  </a:lnTo>
                  <a:lnTo>
                    <a:pt x="74" y="70"/>
                  </a:lnTo>
                  <a:lnTo>
                    <a:pt x="65" y="69"/>
                  </a:lnTo>
                  <a:lnTo>
                    <a:pt x="58" y="73"/>
                  </a:lnTo>
                  <a:lnTo>
                    <a:pt x="45" y="72"/>
                  </a:lnTo>
                  <a:lnTo>
                    <a:pt x="38" y="73"/>
                  </a:lnTo>
                  <a:lnTo>
                    <a:pt x="35" y="70"/>
                  </a:lnTo>
                  <a:lnTo>
                    <a:pt x="34" y="64"/>
                  </a:lnTo>
                  <a:lnTo>
                    <a:pt x="27" y="65"/>
                  </a:lnTo>
                  <a:lnTo>
                    <a:pt x="19" y="68"/>
                  </a:lnTo>
                  <a:lnTo>
                    <a:pt x="15" y="73"/>
                  </a:lnTo>
                  <a:lnTo>
                    <a:pt x="13" y="71"/>
                  </a:lnTo>
                  <a:lnTo>
                    <a:pt x="13" y="66"/>
                  </a:lnTo>
                  <a:lnTo>
                    <a:pt x="15" y="60"/>
                  </a:lnTo>
                  <a:lnTo>
                    <a:pt x="18" y="55"/>
                  </a:lnTo>
                  <a:lnTo>
                    <a:pt x="14" y="56"/>
                  </a:lnTo>
                  <a:lnTo>
                    <a:pt x="15" y="51"/>
                  </a:lnTo>
                  <a:lnTo>
                    <a:pt x="11" y="49"/>
                  </a:lnTo>
                  <a:lnTo>
                    <a:pt x="14" y="42"/>
                  </a:lnTo>
                  <a:lnTo>
                    <a:pt x="12" y="43"/>
                  </a:lnTo>
                  <a:lnTo>
                    <a:pt x="8" y="41"/>
                  </a:lnTo>
                  <a:lnTo>
                    <a:pt x="9" y="36"/>
                  </a:lnTo>
                  <a:lnTo>
                    <a:pt x="0" y="29"/>
                  </a:lnTo>
                  <a:lnTo>
                    <a:pt x="3" y="22"/>
                  </a:lnTo>
                  <a:lnTo>
                    <a:pt x="9" y="18"/>
                  </a:lnTo>
                  <a:lnTo>
                    <a:pt x="15" y="16"/>
                  </a:lnTo>
                  <a:lnTo>
                    <a:pt x="25" y="16"/>
                  </a:lnTo>
                  <a:lnTo>
                    <a:pt x="29" y="11"/>
                  </a:lnTo>
                  <a:lnTo>
                    <a:pt x="29" y="8"/>
                  </a:lnTo>
                  <a:lnTo>
                    <a:pt x="32" y="2"/>
                  </a:lnTo>
                  <a:lnTo>
                    <a:pt x="45" y="0"/>
                  </a:lnTo>
                  <a:lnTo>
                    <a:pt x="50" y="1"/>
                  </a:lnTo>
                  <a:lnTo>
                    <a:pt x="58" y="5"/>
                  </a:lnTo>
                  <a:lnTo>
                    <a:pt x="68" y="6"/>
                  </a:lnTo>
                  <a:lnTo>
                    <a:pt x="90" y="6"/>
                  </a:lnTo>
                  <a:lnTo>
                    <a:pt x="95" y="3"/>
                  </a:lnTo>
                  <a:lnTo>
                    <a:pt x="102" y="4"/>
                  </a:lnTo>
                  <a:lnTo>
                    <a:pt x="111" y="7"/>
                  </a:lnTo>
                  <a:lnTo>
                    <a:pt x="118" y="7"/>
                  </a:lnTo>
                  <a:lnTo>
                    <a:pt x="135" y="11"/>
                  </a:lnTo>
                  <a:lnTo>
                    <a:pt x="144" y="12"/>
                  </a:lnTo>
                  <a:lnTo>
                    <a:pt x="154" y="11"/>
                  </a:lnTo>
                  <a:lnTo>
                    <a:pt x="161" y="9"/>
                  </a:lnTo>
                  <a:lnTo>
                    <a:pt x="167" y="11"/>
                  </a:lnTo>
                  <a:lnTo>
                    <a:pt x="178" y="13"/>
                  </a:lnTo>
                  <a:lnTo>
                    <a:pt x="193" y="12"/>
                  </a:lnTo>
                  <a:lnTo>
                    <a:pt x="201" y="15"/>
                  </a:lnTo>
                  <a:lnTo>
                    <a:pt x="210" y="15"/>
                  </a:lnTo>
                  <a:lnTo>
                    <a:pt x="215" y="14"/>
                  </a:lnTo>
                  <a:lnTo>
                    <a:pt x="216" y="16"/>
                  </a:lnTo>
                  <a:lnTo>
                    <a:pt x="227" y="25"/>
                  </a:lnTo>
                  <a:lnTo>
                    <a:pt x="232" y="27"/>
                  </a:lnTo>
                  <a:lnTo>
                    <a:pt x="238" y="29"/>
                  </a:lnTo>
                  <a:lnTo>
                    <a:pt x="244" y="32"/>
                  </a:lnTo>
                  <a:lnTo>
                    <a:pt x="247" y="35"/>
                  </a:lnTo>
                  <a:lnTo>
                    <a:pt x="272" y="42"/>
                  </a:lnTo>
                  <a:lnTo>
                    <a:pt x="280" y="43"/>
                  </a:lnTo>
                  <a:lnTo>
                    <a:pt x="283" y="42"/>
                  </a:lnTo>
                  <a:lnTo>
                    <a:pt x="288" y="38"/>
                  </a:lnTo>
                  <a:lnTo>
                    <a:pt x="293" y="37"/>
                  </a:lnTo>
                  <a:lnTo>
                    <a:pt x="297" y="39"/>
                  </a:lnTo>
                  <a:lnTo>
                    <a:pt x="305" y="44"/>
                  </a:lnTo>
                  <a:lnTo>
                    <a:pt x="309" y="47"/>
                  </a:lnTo>
                  <a:lnTo>
                    <a:pt x="310" y="51"/>
                  </a:lnTo>
                  <a:lnTo>
                    <a:pt x="314" y="51"/>
                  </a:lnTo>
                  <a:lnTo>
                    <a:pt x="316" y="50"/>
                  </a:lnTo>
                  <a:lnTo>
                    <a:pt x="315" y="48"/>
                  </a:lnTo>
                  <a:lnTo>
                    <a:pt x="321" y="52"/>
                  </a:lnTo>
                  <a:lnTo>
                    <a:pt x="325" y="53"/>
                  </a:lnTo>
                  <a:lnTo>
                    <a:pt x="340" y="52"/>
                  </a:lnTo>
                  <a:lnTo>
                    <a:pt x="347" y="51"/>
                  </a:lnTo>
                  <a:lnTo>
                    <a:pt x="354" y="51"/>
                  </a:lnTo>
                  <a:lnTo>
                    <a:pt x="357" y="51"/>
                  </a:lnTo>
                  <a:lnTo>
                    <a:pt x="361" y="53"/>
                  </a:lnTo>
                  <a:lnTo>
                    <a:pt x="362" y="57"/>
                  </a:lnTo>
                  <a:lnTo>
                    <a:pt x="358" y="59"/>
                  </a:lnTo>
                  <a:lnTo>
                    <a:pt x="358" y="64"/>
                  </a:lnTo>
                  <a:lnTo>
                    <a:pt x="360" y="69"/>
                  </a:lnTo>
                  <a:lnTo>
                    <a:pt x="355" y="75"/>
                  </a:lnTo>
                  <a:lnTo>
                    <a:pt x="335" y="87"/>
                  </a:lnTo>
                  <a:lnTo>
                    <a:pt x="328" y="94"/>
                  </a:lnTo>
                  <a:lnTo>
                    <a:pt x="297" y="105"/>
                  </a:lnTo>
                  <a:lnTo>
                    <a:pt x="291" y="113"/>
                  </a:lnTo>
                  <a:lnTo>
                    <a:pt x="291" y="116"/>
                  </a:lnTo>
                  <a:lnTo>
                    <a:pt x="286" y="121"/>
                  </a:lnTo>
                  <a:lnTo>
                    <a:pt x="280" y="129"/>
                  </a:lnTo>
                  <a:lnTo>
                    <a:pt x="272" y="143"/>
                  </a:lnTo>
                  <a:lnTo>
                    <a:pt x="261" y="156"/>
                  </a:lnTo>
                  <a:lnTo>
                    <a:pt x="259" y="163"/>
                  </a:lnTo>
                  <a:lnTo>
                    <a:pt x="258" y="166"/>
                  </a:lnTo>
                  <a:lnTo>
                    <a:pt x="258" y="167"/>
                  </a:lnTo>
                  <a:lnTo>
                    <a:pt x="260" y="170"/>
                  </a:lnTo>
                  <a:lnTo>
                    <a:pt x="260" y="175"/>
                  </a:lnTo>
                  <a:lnTo>
                    <a:pt x="262" y="179"/>
                  </a:lnTo>
                  <a:lnTo>
                    <a:pt x="264" y="181"/>
                  </a:lnTo>
                  <a:lnTo>
                    <a:pt x="267" y="183"/>
                  </a:lnTo>
                  <a:lnTo>
                    <a:pt x="271" y="184"/>
                  </a:lnTo>
                  <a:lnTo>
                    <a:pt x="273" y="187"/>
                  </a:lnTo>
                  <a:lnTo>
                    <a:pt x="271" y="192"/>
                  </a:lnTo>
                  <a:lnTo>
                    <a:pt x="264" y="197"/>
                  </a:lnTo>
                  <a:lnTo>
                    <a:pt x="259" y="200"/>
                  </a:lnTo>
                  <a:lnTo>
                    <a:pt x="255" y="204"/>
                  </a:lnTo>
                  <a:lnTo>
                    <a:pt x="250" y="213"/>
                  </a:lnTo>
                  <a:lnTo>
                    <a:pt x="249" y="218"/>
                  </a:lnTo>
                  <a:lnTo>
                    <a:pt x="246" y="222"/>
                  </a:lnTo>
                  <a:lnTo>
                    <a:pt x="245" y="226"/>
                  </a:lnTo>
                  <a:lnTo>
                    <a:pt x="246" y="229"/>
                  </a:lnTo>
                  <a:lnTo>
                    <a:pt x="230" y="232"/>
                  </a:lnTo>
                  <a:lnTo>
                    <a:pt x="219" y="241"/>
                  </a:lnTo>
                  <a:lnTo>
                    <a:pt x="215" y="251"/>
                  </a:lnTo>
                  <a:lnTo>
                    <a:pt x="213" y="255"/>
                  </a:lnTo>
                  <a:lnTo>
                    <a:pt x="210" y="259"/>
                  </a:lnTo>
                  <a:lnTo>
                    <a:pt x="206" y="259"/>
                  </a:lnTo>
                  <a:lnTo>
                    <a:pt x="200" y="258"/>
                  </a:lnTo>
                  <a:lnTo>
                    <a:pt x="192" y="261"/>
                  </a:lnTo>
                  <a:lnTo>
                    <a:pt x="185" y="261"/>
                  </a:lnTo>
                  <a:lnTo>
                    <a:pt x="177" y="259"/>
                  </a:lnTo>
                  <a:lnTo>
                    <a:pt x="168" y="260"/>
                  </a:lnTo>
                  <a:lnTo>
                    <a:pt x="161" y="259"/>
                  </a:lnTo>
                  <a:lnTo>
                    <a:pt x="142" y="262"/>
                  </a:lnTo>
                  <a:lnTo>
                    <a:pt x="136" y="268"/>
                  </a:lnTo>
                  <a:lnTo>
                    <a:pt x="130" y="269"/>
                  </a:lnTo>
                  <a:lnTo>
                    <a:pt x="123" y="271"/>
                  </a:lnTo>
                  <a:lnTo>
                    <a:pt x="119" y="276"/>
                  </a:lnTo>
                  <a:lnTo>
                    <a:pt x="118" y="279"/>
                  </a:lnTo>
                  <a:lnTo>
                    <a:pt x="115" y="282"/>
                  </a:lnTo>
                  <a:lnTo>
                    <a:pt x="111" y="284"/>
                  </a:lnTo>
                  <a:lnTo>
                    <a:pt x="102" y="282"/>
                  </a:lnTo>
                  <a:lnTo>
                    <a:pt x="95" y="278"/>
                  </a:lnTo>
                  <a:lnTo>
                    <a:pt x="90" y="269"/>
                  </a:lnTo>
                  <a:lnTo>
                    <a:pt x="89" y="265"/>
                  </a:lnTo>
                  <a:lnTo>
                    <a:pt x="85" y="262"/>
                  </a:lnTo>
                  <a:lnTo>
                    <a:pt x="85" y="256"/>
                  </a:lnTo>
                  <a:lnTo>
                    <a:pt x="84" y="254"/>
                  </a:lnTo>
                  <a:lnTo>
                    <a:pt x="83" y="252"/>
                  </a:lnTo>
                  <a:lnTo>
                    <a:pt x="78" y="248"/>
                  </a:lnTo>
                  <a:lnTo>
                    <a:pt x="70" y="244"/>
                  </a:lnTo>
                  <a:lnTo>
                    <a:pt x="67" y="243"/>
                  </a:lnTo>
                  <a:lnTo>
                    <a:pt x="55" y="244"/>
                  </a:lnTo>
                  <a:close/>
                </a:path>
              </a:pathLst>
            </a:custGeom>
            <a:solidFill>
              <a:srgbClr val="39569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17" name="Freeform 392"/>
            <p:cNvSpPr>
              <a:spLocks/>
            </p:cNvSpPr>
            <p:nvPr/>
          </p:nvSpPr>
          <p:spPr bwMode="auto">
            <a:xfrm>
              <a:off x="1531" y="2977"/>
              <a:ext cx="362" cy="284"/>
            </a:xfrm>
            <a:custGeom>
              <a:avLst/>
              <a:gdLst>
                <a:gd name="T0" fmla="*/ 53 w 362"/>
                <a:gd name="T1" fmla="*/ 229 h 284"/>
                <a:gd name="T2" fmla="*/ 68 w 362"/>
                <a:gd name="T3" fmla="*/ 213 h 284"/>
                <a:gd name="T4" fmla="*/ 59 w 362"/>
                <a:gd name="T5" fmla="*/ 195 h 284"/>
                <a:gd name="T6" fmla="*/ 66 w 362"/>
                <a:gd name="T7" fmla="*/ 177 h 284"/>
                <a:gd name="T8" fmla="*/ 56 w 362"/>
                <a:gd name="T9" fmla="*/ 157 h 284"/>
                <a:gd name="T10" fmla="*/ 72 w 362"/>
                <a:gd name="T11" fmla="*/ 146 h 284"/>
                <a:gd name="T12" fmla="*/ 68 w 362"/>
                <a:gd name="T13" fmla="*/ 131 h 284"/>
                <a:gd name="T14" fmla="*/ 73 w 362"/>
                <a:gd name="T15" fmla="*/ 109 h 284"/>
                <a:gd name="T16" fmla="*/ 89 w 362"/>
                <a:gd name="T17" fmla="*/ 85 h 284"/>
                <a:gd name="T18" fmla="*/ 82 w 362"/>
                <a:gd name="T19" fmla="*/ 71 h 284"/>
                <a:gd name="T20" fmla="*/ 58 w 362"/>
                <a:gd name="T21" fmla="*/ 73 h 284"/>
                <a:gd name="T22" fmla="*/ 35 w 362"/>
                <a:gd name="T23" fmla="*/ 70 h 284"/>
                <a:gd name="T24" fmla="*/ 19 w 362"/>
                <a:gd name="T25" fmla="*/ 68 h 284"/>
                <a:gd name="T26" fmla="*/ 13 w 362"/>
                <a:gd name="T27" fmla="*/ 66 h 284"/>
                <a:gd name="T28" fmla="*/ 14 w 362"/>
                <a:gd name="T29" fmla="*/ 56 h 284"/>
                <a:gd name="T30" fmla="*/ 14 w 362"/>
                <a:gd name="T31" fmla="*/ 42 h 284"/>
                <a:gd name="T32" fmla="*/ 9 w 362"/>
                <a:gd name="T33" fmla="*/ 36 h 284"/>
                <a:gd name="T34" fmla="*/ 9 w 362"/>
                <a:gd name="T35" fmla="*/ 18 h 284"/>
                <a:gd name="T36" fmla="*/ 29 w 362"/>
                <a:gd name="T37" fmla="*/ 11 h 284"/>
                <a:gd name="T38" fmla="*/ 45 w 362"/>
                <a:gd name="T39" fmla="*/ 0 h 284"/>
                <a:gd name="T40" fmla="*/ 68 w 362"/>
                <a:gd name="T41" fmla="*/ 6 h 284"/>
                <a:gd name="T42" fmla="*/ 102 w 362"/>
                <a:gd name="T43" fmla="*/ 4 h 284"/>
                <a:gd name="T44" fmla="*/ 135 w 362"/>
                <a:gd name="T45" fmla="*/ 11 h 284"/>
                <a:gd name="T46" fmla="*/ 161 w 362"/>
                <a:gd name="T47" fmla="*/ 9 h 284"/>
                <a:gd name="T48" fmla="*/ 193 w 362"/>
                <a:gd name="T49" fmla="*/ 12 h 284"/>
                <a:gd name="T50" fmla="*/ 215 w 362"/>
                <a:gd name="T51" fmla="*/ 14 h 284"/>
                <a:gd name="T52" fmla="*/ 232 w 362"/>
                <a:gd name="T53" fmla="*/ 27 h 284"/>
                <a:gd name="T54" fmla="*/ 247 w 362"/>
                <a:gd name="T55" fmla="*/ 35 h 284"/>
                <a:gd name="T56" fmla="*/ 283 w 362"/>
                <a:gd name="T57" fmla="*/ 42 h 284"/>
                <a:gd name="T58" fmla="*/ 297 w 362"/>
                <a:gd name="T59" fmla="*/ 39 h 284"/>
                <a:gd name="T60" fmla="*/ 310 w 362"/>
                <a:gd name="T61" fmla="*/ 51 h 284"/>
                <a:gd name="T62" fmla="*/ 315 w 362"/>
                <a:gd name="T63" fmla="*/ 48 h 284"/>
                <a:gd name="T64" fmla="*/ 340 w 362"/>
                <a:gd name="T65" fmla="*/ 52 h 284"/>
                <a:gd name="T66" fmla="*/ 357 w 362"/>
                <a:gd name="T67" fmla="*/ 51 h 284"/>
                <a:gd name="T68" fmla="*/ 358 w 362"/>
                <a:gd name="T69" fmla="*/ 59 h 284"/>
                <a:gd name="T70" fmla="*/ 355 w 362"/>
                <a:gd name="T71" fmla="*/ 75 h 284"/>
                <a:gd name="T72" fmla="*/ 297 w 362"/>
                <a:gd name="T73" fmla="*/ 105 h 284"/>
                <a:gd name="T74" fmla="*/ 286 w 362"/>
                <a:gd name="T75" fmla="*/ 121 h 284"/>
                <a:gd name="T76" fmla="*/ 261 w 362"/>
                <a:gd name="T77" fmla="*/ 156 h 284"/>
                <a:gd name="T78" fmla="*/ 258 w 362"/>
                <a:gd name="T79" fmla="*/ 167 h 284"/>
                <a:gd name="T80" fmla="*/ 262 w 362"/>
                <a:gd name="T81" fmla="*/ 179 h 284"/>
                <a:gd name="T82" fmla="*/ 271 w 362"/>
                <a:gd name="T83" fmla="*/ 184 h 284"/>
                <a:gd name="T84" fmla="*/ 264 w 362"/>
                <a:gd name="T85" fmla="*/ 197 h 284"/>
                <a:gd name="T86" fmla="*/ 250 w 362"/>
                <a:gd name="T87" fmla="*/ 213 h 284"/>
                <a:gd name="T88" fmla="*/ 245 w 362"/>
                <a:gd name="T89" fmla="*/ 226 h 284"/>
                <a:gd name="T90" fmla="*/ 219 w 362"/>
                <a:gd name="T91" fmla="*/ 241 h 284"/>
                <a:gd name="T92" fmla="*/ 210 w 362"/>
                <a:gd name="T93" fmla="*/ 259 h 284"/>
                <a:gd name="T94" fmla="*/ 192 w 362"/>
                <a:gd name="T95" fmla="*/ 261 h 284"/>
                <a:gd name="T96" fmla="*/ 168 w 362"/>
                <a:gd name="T97" fmla="*/ 260 h 284"/>
                <a:gd name="T98" fmla="*/ 136 w 362"/>
                <a:gd name="T99" fmla="*/ 268 h 284"/>
                <a:gd name="T100" fmla="*/ 119 w 362"/>
                <a:gd name="T101" fmla="*/ 276 h 284"/>
                <a:gd name="T102" fmla="*/ 111 w 362"/>
                <a:gd name="T103" fmla="*/ 284 h 284"/>
                <a:gd name="T104" fmla="*/ 90 w 362"/>
                <a:gd name="T105" fmla="*/ 269 h 284"/>
                <a:gd name="T106" fmla="*/ 85 w 362"/>
                <a:gd name="T107" fmla="*/ 256 h 284"/>
                <a:gd name="T108" fmla="*/ 78 w 362"/>
                <a:gd name="T109" fmla="*/ 248 h 284"/>
                <a:gd name="T110" fmla="*/ 55 w 362"/>
                <a:gd name="T111" fmla="*/ 244 h 28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62"/>
                <a:gd name="T169" fmla="*/ 0 h 284"/>
                <a:gd name="T170" fmla="*/ 362 w 362"/>
                <a:gd name="T171" fmla="*/ 284 h 284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62" h="284">
                  <a:moveTo>
                    <a:pt x="55" y="244"/>
                  </a:moveTo>
                  <a:lnTo>
                    <a:pt x="53" y="235"/>
                  </a:lnTo>
                  <a:lnTo>
                    <a:pt x="53" y="229"/>
                  </a:lnTo>
                  <a:lnTo>
                    <a:pt x="57" y="224"/>
                  </a:lnTo>
                  <a:lnTo>
                    <a:pt x="64" y="218"/>
                  </a:lnTo>
                  <a:lnTo>
                    <a:pt x="68" y="213"/>
                  </a:lnTo>
                  <a:lnTo>
                    <a:pt x="66" y="208"/>
                  </a:lnTo>
                  <a:lnTo>
                    <a:pt x="61" y="202"/>
                  </a:lnTo>
                  <a:lnTo>
                    <a:pt x="59" y="195"/>
                  </a:lnTo>
                  <a:lnTo>
                    <a:pt x="60" y="188"/>
                  </a:lnTo>
                  <a:lnTo>
                    <a:pt x="64" y="182"/>
                  </a:lnTo>
                  <a:lnTo>
                    <a:pt x="66" y="177"/>
                  </a:lnTo>
                  <a:lnTo>
                    <a:pt x="64" y="174"/>
                  </a:lnTo>
                  <a:lnTo>
                    <a:pt x="58" y="165"/>
                  </a:lnTo>
                  <a:lnTo>
                    <a:pt x="56" y="157"/>
                  </a:lnTo>
                  <a:lnTo>
                    <a:pt x="61" y="153"/>
                  </a:lnTo>
                  <a:lnTo>
                    <a:pt x="67" y="152"/>
                  </a:lnTo>
                  <a:lnTo>
                    <a:pt x="72" y="146"/>
                  </a:lnTo>
                  <a:lnTo>
                    <a:pt x="72" y="141"/>
                  </a:lnTo>
                  <a:lnTo>
                    <a:pt x="68" y="135"/>
                  </a:lnTo>
                  <a:lnTo>
                    <a:pt x="68" y="131"/>
                  </a:lnTo>
                  <a:lnTo>
                    <a:pt x="72" y="124"/>
                  </a:lnTo>
                  <a:lnTo>
                    <a:pt x="73" y="116"/>
                  </a:lnTo>
                  <a:lnTo>
                    <a:pt x="73" y="109"/>
                  </a:lnTo>
                  <a:lnTo>
                    <a:pt x="74" y="104"/>
                  </a:lnTo>
                  <a:lnTo>
                    <a:pt x="85" y="93"/>
                  </a:lnTo>
                  <a:lnTo>
                    <a:pt x="89" y="85"/>
                  </a:lnTo>
                  <a:lnTo>
                    <a:pt x="89" y="81"/>
                  </a:lnTo>
                  <a:lnTo>
                    <a:pt x="85" y="77"/>
                  </a:lnTo>
                  <a:lnTo>
                    <a:pt x="82" y="71"/>
                  </a:lnTo>
                  <a:lnTo>
                    <a:pt x="74" y="70"/>
                  </a:lnTo>
                  <a:lnTo>
                    <a:pt x="65" y="69"/>
                  </a:lnTo>
                  <a:lnTo>
                    <a:pt x="58" y="73"/>
                  </a:lnTo>
                  <a:lnTo>
                    <a:pt x="45" y="72"/>
                  </a:lnTo>
                  <a:lnTo>
                    <a:pt x="38" y="73"/>
                  </a:lnTo>
                  <a:lnTo>
                    <a:pt x="35" y="70"/>
                  </a:lnTo>
                  <a:lnTo>
                    <a:pt x="34" y="64"/>
                  </a:lnTo>
                  <a:lnTo>
                    <a:pt x="27" y="65"/>
                  </a:lnTo>
                  <a:lnTo>
                    <a:pt x="19" y="68"/>
                  </a:lnTo>
                  <a:lnTo>
                    <a:pt x="15" y="73"/>
                  </a:lnTo>
                  <a:lnTo>
                    <a:pt x="13" y="71"/>
                  </a:lnTo>
                  <a:lnTo>
                    <a:pt x="13" y="66"/>
                  </a:lnTo>
                  <a:lnTo>
                    <a:pt x="15" y="60"/>
                  </a:lnTo>
                  <a:lnTo>
                    <a:pt x="18" y="55"/>
                  </a:lnTo>
                  <a:lnTo>
                    <a:pt x="14" y="56"/>
                  </a:lnTo>
                  <a:lnTo>
                    <a:pt x="15" y="51"/>
                  </a:lnTo>
                  <a:lnTo>
                    <a:pt x="11" y="49"/>
                  </a:lnTo>
                  <a:lnTo>
                    <a:pt x="14" y="42"/>
                  </a:lnTo>
                  <a:lnTo>
                    <a:pt x="12" y="43"/>
                  </a:lnTo>
                  <a:lnTo>
                    <a:pt x="8" y="41"/>
                  </a:lnTo>
                  <a:lnTo>
                    <a:pt x="9" y="36"/>
                  </a:lnTo>
                  <a:lnTo>
                    <a:pt x="0" y="29"/>
                  </a:lnTo>
                  <a:lnTo>
                    <a:pt x="3" y="22"/>
                  </a:lnTo>
                  <a:lnTo>
                    <a:pt x="9" y="18"/>
                  </a:lnTo>
                  <a:lnTo>
                    <a:pt x="15" y="16"/>
                  </a:lnTo>
                  <a:lnTo>
                    <a:pt x="25" y="16"/>
                  </a:lnTo>
                  <a:lnTo>
                    <a:pt x="29" y="11"/>
                  </a:lnTo>
                  <a:lnTo>
                    <a:pt x="29" y="8"/>
                  </a:lnTo>
                  <a:lnTo>
                    <a:pt x="32" y="2"/>
                  </a:lnTo>
                  <a:lnTo>
                    <a:pt x="45" y="0"/>
                  </a:lnTo>
                  <a:lnTo>
                    <a:pt x="50" y="1"/>
                  </a:lnTo>
                  <a:lnTo>
                    <a:pt x="58" y="5"/>
                  </a:lnTo>
                  <a:lnTo>
                    <a:pt x="68" y="6"/>
                  </a:lnTo>
                  <a:lnTo>
                    <a:pt x="90" y="6"/>
                  </a:lnTo>
                  <a:lnTo>
                    <a:pt x="95" y="3"/>
                  </a:lnTo>
                  <a:lnTo>
                    <a:pt x="102" y="4"/>
                  </a:lnTo>
                  <a:lnTo>
                    <a:pt x="111" y="7"/>
                  </a:lnTo>
                  <a:lnTo>
                    <a:pt x="118" y="7"/>
                  </a:lnTo>
                  <a:lnTo>
                    <a:pt x="135" y="11"/>
                  </a:lnTo>
                  <a:lnTo>
                    <a:pt x="144" y="12"/>
                  </a:lnTo>
                  <a:lnTo>
                    <a:pt x="154" y="11"/>
                  </a:lnTo>
                  <a:lnTo>
                    <a:pt x="161" y="9"/>
                  </a:lnTo>
                  <a:lnTo>
                    <a:pt x="167" y="11"/>
                  </a:lnTo>
                  <a:lnTo>
                    <a:pt x="178" y="13"/>
                  </a:lnTo>
                  <a:lnTo>
                    <a:pt x="193" y="12"/>
                  </a:lnTo>
                  <a:lnTo>
                    <a:pt x="201" y="15"/>
                  </a:lnTo>
                  <a:lnTo>
                    <a:pt x="210" y="15"/>
                  </a:lnTo>
                  <a:lnTo>
                    <a:pt x="215" y="14"/>
                  </a:lnTo>
                  <a:lnTo>
                    <a:pt x="216" y="16"/>
                  </a:lnTo>
                  <a:lnTo>
                    <a:pt x="227" y="25"/>
                  </a:lnTo>
                  <a:lnTo>
                    <a:pt x="232" y="27"/>
                  </a:lnTo>
                  <a:lnTo>
                    <a:pt x="238" y="29"/>
                  </a:lnTo>
                  <a:lnTo>
                    <a:pt x="244" y="32"/>
                  </a:lnTo>
                  <a:lnTo>
                    <a:pt x="247" y="35"/>
                  </a:lnTo>
                  <a:lnTo>
                    <a:pt x="272" y="42"/>
                  </a:lnTo>
                  <a:lnTo>
                    <a:pt x="280" y="43"/>
                  </a:lnTo>
                  <a:lnTo>
                    <a:pt x="283" y="42"/>
                  </a:lnTo>
                  <a:lnTo>
                    <a:pt x="288" y="38"/>
                  </a:lnTo>
                  <a:lnTo>
                    <a:pt x="293" y="37"/>
                  </a:lnTo>
                  <a:lnTo>
                    <a:pt x="297" y="39"/>
                  </a:lnTo>
                  <a:lnTo>
                    <a:pt x="305" y="44"/>
                  </a:lnTo>
                  <a:lnTo>
                    <a:pt x="309" y="47"/>
                  </a:lnTo>
                  <a:lnTo>
                    <a:pt x="310" y="51"/>
                  </a:lnTo>
                  <a:lnTo>
                    <a:pt x="314" y="51"/>
                  </a:lnTo>
                  <a:lnTo>
                    <a:pt x="316" y="50"/>
                  </a:lnTo>
                  <a:lnTo>
                    <a:pt x="315" y="48"/>
                  </a:lnTo>
                  <a:lnTo>
                    <a:pt x="321" y="52"/>
                  </a:lnTo>
                  <a:lnTo>
                    <a:pt x="325" y="53"/>
                  </a:lnTo>
                  <a:lnTo>
                    <a:pt x="340" y="52"/>
                  </a:lnTo>
                  <a:lnTo>
                    <a:pt x="347" y="51"/>
                  </a:lnTo>
                  <a:lnTo>
                    <a:pt x="354" y="51"/>
                  </a:lnTo>
                  <a:lnTo>
                    <a:pt x="357" y="51"/>
                  </a:lnTo>
                  <a:lnTo>
                    <a:pt x="361" y="53"/>
                  </a:lnTo>
                  <a:lnTo>
                    <a:pt x="362" y="57"/>
                  </a:lnTo>
                  <a:lnTo>
                    <a:pt x="358" y="59"/>
                  </a:lnTo>
                  <a:lnTo>
                    <a:pt x="358" y="64"/>
                  </a:lnTo>
                  <a:lnTo>
                    <a:pt x="360" y="69"/>
                  </a:lnTo>
                  <a:lnTo>
                    <a:pt x="355" y="75"/>
                  </a:lnTo>
                  <a:lnTo>
                    <a:pt x="335" y="87"/>
                  </a:lnTo>
                  <a:lnTo>
                    <a:pt x="328" y="94"/>
                  </a:lnTo>
                  <a:lnTo>
                    <a:pt x="297" y="105"/>
                  </a:lnTo>
                  <a:lnTo>
                    <a:pt x="291" y="113"/>
                  </a:lnTo>
                  <a:lnTo>
                    <a:pt x="291" y="116"/>
                  </a:lnTo>
                  <a:lnTo>
                    <a:pt x="286" y="121"/>
                  </a:lnTo>
                  <a:lnTo>
                    <a:pt x="280" y="129"/>
                  </a:lnTo>
                  <a:lnTo>
                    <a:pt x="272" y="143"/>
                  </a:lnTo>
                  <a:lnTo>
                    <a:pt x="261" y="156"/>
                  </a:lnTo>
                  <a:lnTo>
                    <a:pt x="259" y="163"/>
                  </a:lnTo>
                  <a:lnTo>
                    <a:pt x="258" y="166"/>
                  </a:lnTo>
                  <a:lnTo>
                    <a:pt x="258" y="167"/>
                  </a:lnTo>
                  <a:lnTo>
                    <a:pt x="260" y="170"/>
                  </a:lnTo>
                  <a:lnTo>
                    <a:pt x="260" y="175"/>
                  </a:lnTo>
                  <a:lnTo>
                    <a:pt x="262" y="179"/>
                  </a:lnTo>
                  <a:lnTo>
                    <a:pt x="264" y="181"/>
                  </a:lnTo>
                  <a:lnTo>
                    <a:pt x="267" y="183"/>
                  </a:lnTo>
                  <a:lnTo>
                    <a:pt x="271" y="184"/>
                  </a:lnTo>
                  <a:lnTo>
                    <a:pt x="273" y="187"/>
                  </a:lnTo>
                  <a:lnTo>
                    <a:pt x="271" y="192"/>
                  </a:lnTo>
                  <a:lnTo>
                    <a:pt x="264" y="197"/>
                  </a:lnTo>
                  <a:lnTo>
                    <a:pt x="259" y="200"/>
                  </a:lnTo>
                  <a:lnTo>
                    <a:pt x="255" y="204"/>
                  </a:lnTo>
                  <a:lnTo>
                    <a:pt x="250" y="213"/>
                  </a:lnTo>
                  <a:lnTo>
                    <a:pt x="249" y="218"/>
                  </a:lnTo>
                  <a:lnTo>
                    <a:pt x="246" y="222"/>
                  </a:lnTo>
                  <a:lnTo>
                    <a:pt x="245" y="226"/>
                  </a:lnTo>
                  <a:lnTo>
                    <a:pt x="246" y="229"/>
                  </a:lnTo>
                  <a:lnTo>
                    <a:pt x="230" y="232"/>
                  </a:lnTo>
                  <a:lnTo>
                    <a:pt x="219" y="241"/>
                  </a:lnTo>
                  <a:lnTo>
                    <a:pt x="215" y="251"/>
                  </a:lnTo>
                  <a:lnTo>
                    <a:pt x="213" y="255"/>
                  </a:lnTo>
                  <a:lnTo>
                    <a:pt x="210" y="259"/>
                  </a:lnTo>
                  <a:lnTo>
                    <a:pt x="206" y="259"/>
                  </a:lnTo>
                  <a:lnTo>
                    <a:pt x="200" y="258"/>
                  </a:lnTo>
                  <a:lnTo>
                    <a:pt x="192" y="261"/>
                  </a:lnTo>
                  <a:lnTo>
                    <a:pt x="185" y="261"/>
                  </a:lnTo>
                  <a:lnTo>
                    <a:pt x="177" y="259"/>
                  </a:lnTo>
                  <a:lnTo>
                    <a:pt x="168" y="260"/>
                  </a:lnTo>
                  <a:lnTo>
                    <a:pt x="161" y="259"/>
                  </a:lnTo>
                  <a:lnTo>
                    <a:pt x="142" y="262"/>
                  </a:lnTo>
                  <a:lnTo>
                    <a:pt x="136" y="268"/>
                  </a:lnTo>
                  <a:lnTo>
                    <a:pt x="130" y="269"/>
                  </a:lnTo>
                  <a:lnTo>
                    <a:pt x="123" y="271"/>
                  </a:lnTo>
                  <a:lnTo>
                    <a:pt x="119" y="276"/>
                  </a:lnTo>
                  <a:lnTo>
                    <a:pt x="118" y="279"/>
                  </a:lnTo>
                  <a:lnTo>
                    <a:pt x="115" y="282"/>
                  </a:lnTo>
                  <a:lnTo>
                    <a:pt x="111" y="284"/>
                  </a:lnTo>
                  <a:lnTo>
                    <a:pt x="102" y="282"/>
                  </a:lnTo>
                  <a:lnTo>
                    <a:pt x="95" y="278"/>
                  </a:lnTo>
                  <a:lnTo>
                    <a:pt x="90" y="269"/>
                  </a:lnTo>
                  <a:lnTo>
                    <a:pt x="89" y="265"/>
                  </a:lnTo>
                  <a:lnTo>
                    <a:pt x="85" y="262"/>
                  </a:lnTo>
                  <a:lnTo>
                    <a:pt x="85" y="256"/>
                  </a:lnTo>
                  <a:lnTo>
                    <a:pt x="84" y="254"/>
                  </a:lnTo>
                  <a:lnTo>
                    <a:pt x="83" y="252"/>
                  </a:lnTo>
                  <a:lnTo>
                    <a:pt x="78" y="248"/>
                  </a:lnTo>
                  <a:lnTo>
                    <a:pt x="70" y="244"/>
                  </a:lnTo>
                  <a:lnTo>
                    <a:pt x="67" y="243"/>
                  </a:lnTo>
                  <a:lnTo>
                    <a:pt x="55" y="244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25" name="Group 396"/>
          <p:cNvGrpSpPr>
            <a:grpSpLocks/>
          </p:cNvGrpSpPr>
          <p:nvPr/>
        </p:nvGrpSpPr>
        <p:grpSpPr bwMode="auto">
          <a:xfrm>
            <a:off x="6035675" y="4864100"/>
            <a:ext cx="141288" cy="142875"/>
            <a:chOff x="3044" y="3064"/>
            <a:chExt cx="89" cy="90"/>
          </a:xfrm>
        </p:grpSpPr>
        <p:sp>
          <p:nvSpPr>
            <p:cNvPr id="34214" name="Freeform 394"/>
            <p:cNvSpPr>
              <a:spLocks/>
            </p:cNvSpPr>
            <p:nvPr/>
          </p:nvSpPr>
          <p:spPr bwMode="auto">
            <a:xfrm>
              <a:off x="3044" y="3064"/>
              <a:ext cx="89" cy="90"/>
            </a:xfrm>
            <a:custGeom>
              <a:avLst/>
              <a:gdLst>
                <a:gd name="T0" fmla="*/ 40 w 89"/>
                <a:gd name="T1" fmla="*/ 61 h 90"/>
                <a:gd name="T2" fmla="*/ 35 w 89"/>
                <a:gd name="T3" fmla="*/ 55 h 90"/>
                <a:gd name="T4" fmla="*/ 33 w 89"/>
                <a:gd name="T5" fmla="*/ 53 h 90"/>
                <a:gd name="T6" fmla="*/ 29 w 89"/>
                <a:gd name="T7" fmla="*/ 51 h 90"/>
                <a:gd name="T8" fmla="*/ 24 w 89"/>
                <a:gd name="T9" fmla="*/ 46 h 90"/>
                <a:gd name="T10" fmla="*/ 20 w 89"/>
                <a:gd name="T11" fmla="*/ 43 h 90"/>
                <a:gd name="T12" fmla="*/ 14 w 89"/>
                <a:gd name="T13" fmla="*/ 41 h 90"/>
                <a:gd name="T14" fmla="*/ 9 w 89"/>
                <a:gd name="T15" fmla="*/ 35 h 90"/>
                <a:gd name="T16" fmla="*/ 8 w 89"/>
                <a:gd name="T17" fmla="*/ 28 h 90"/>
                <a:gd name="T18" fmla="*/ 7 w 89"/>
                <a:gd name="T19" fmla="*/ 18 h 90"/>
                <a:gd name="T20" fmla="*/ 3 w 89"/>
                <a:gd name="T21" fmla="*/ 10 h 90"/>
                <a:gd name="T22" fmla="*/ 0 w 89"/>
                <a:gd name="T23" fmla="*/ 7 h 90"/>
                <a:gd name="T24" fmla="*/ 11 w 89"/>
                <a:gd name="T25" fmla="*/ 7 h 90"/>
                <a:gd name="T26" fmla="*/ 14 w 89"/>
                <a:gd name="T27" fmla="*/ 4 h 90"/>
                <a:gd name="T28" fmla="*/ 23 w 89"/>
                <a:gd name="T29" fmla="*/ 4 h 90"/>
                <a:gd name="T30" fmla="*/ 26 w 89"/>
                <a:gd name="T31" fmla="*/ 2 h 90"/>
                <a:gd name="T32" fmla="*/ 35 w 89"/>
                <a:gd name="T33" fmla="*/ 3 h 90"/>
                <a:gd name="T34" fmla="*/ 39 w 89"/>
                <a:gd name="T35" fmla="*/ 2 h 90"/>
                <a:gd name="T36" fmla="*/ 45 w 89"/>
                <a:gd name="T37" fmla="*/ 0 h 90"/>
                <a:gd name="T38" fmla="*/ 45 w 89"/>
                <a:gd name="T39" fmla="*/ 0 h 90"/>
                <a:gd name="T40" fmla="*/ 46 w 89"/>
                <a:gd name="T41" fmla="*/ 4 h 90"/>
                <a:gd name="T42" fmla="*/ 51 w 89"/>
                <a:gd name="T43" fmla="*/ 10 h 90"/>
                <a:gd name="T44" fmla="*/ 56 w 89"/>
                <a:gd name="T45" fmla="*/ 10 h 90"/>
                <a:gd name="T46" fmla="*/ 59 w 89"/>
                <a:gd name="T47" fmla="*/ 13 h 90"/>
                <a:gd name="T48" fmla="*/ 60 w 89"/>
                <a:gd name="T49" fmla="*/ 17 h 90"/>
                <a:gd name="T50" fmla="*/ 57 w 89"/>
                <a:gd name="T51" fmla="*/ 20 h 90"/>
                <a:gd name="T52" fmla="*/ 57 w 89"/>
                <a:gd name="T53" fmla="*/ 24 h 90"/>
                <a:gd name="T54" fmla="*/ 59 w 89"/>
                <a:gd name="T55" fmla="*/ 29 h 90"/>
                <a:gd name="T56" fmla="*/ 61 w 89"/>
                <a:gd name="T57" fmla="*/ 32 h 90"/>
                <a:gd name="T58" fmla="*/ 64 w 89"/>
                <a:gd name="T59" fmla="*/ 35 h 90"/>
                <a:gd name="T60" fmla="*/ 71 w 89"/>
                <a:gd name="T61" fmla="*/ 39 h 90"/>
                <a:gd name="T62" fmla="*/ 72 w 89"/>
                <a:gd name="T63" fmla="*/ 43 h 90"/>
                <a:gd name="T64" fmla="*/ 70 w 89"/>
                <a:gd name="T65" fmla="*/ 48 h 90"/>
                <a:gd name="T66" fmla="*/ 66 w 89"/>
                <a:gd name="T67" fmla="*/ 48 h 90"/>
                <a:gd name="T68" fmla="*/ 67 w 89"/>
                <a:gd name="T69" fmla="*/ 52 h 90"/>
                <a:gd name="T70" fmla="*/ 72 w 89"/>
                <a:gd name="T71" fmla="*/ 58 h 90"/>
                <a:gd name="T72" fmla="*/ 80 w 89"/>
                <a:gd name="T73" fmla="*/ 63 h 90"/>
                <a:gd name="T74" fmla="*/ 84 w 89"/>
                <a:gd name="T75" fmla="*/ 63 h 90"/>
                <a:gd name="T76" fmla="*/ 88 w 89"/>
                <a:gd name="T77" fmla="*/ 63 h 90"/>
                <a:gd name="T78" fmla="*/ 86 w 89"/>
                <a:gd name="T79" fmla="*/ 68 h 90"/>
                <a:gd name="T80" fmla="*/ 85 w 89"/>
                <a:gd name="T81" fmla="*/ 72 h 90"/>
                <a:gd name="T82" fmla="*/ 88 w 89"/>
                <a:gd name="T83" fmla="*/ 74 h 90"/>
                <a:gd name="T84" fmla="*/ 88 w 89"/>
                <a:gd name="T85" fmla="*/ 79 h 90"/>
                <a:gd name="T86" fmla="*/ 84 w 89"/>
                <a:gd name="T87" fmla="*/ 80 h 90"/>
                <a:gd name="T88" fmla="*/ 87 w 89"/>
                <a:gd name="T89" fmla="*/ 83 h 90"/>
                <a:gd name="T90" fmla="*/ 88 w 89"/>
                <a:gd name="T91" fmla="*/ 87 h 90"/>
                <a:gd name="T92" fmla="*/ 89 w 89"/>
                <a:gd name="T93" fmla="*/ 90 h 90"/>
                <a:gd name="T94" fmla="*/ 86 w 89"/>
                <a:gd name="T95" fmla="*/ 90 h 90"/>
                <a:gd name="T96" fmla="*/ 77 w 89"/>
                <a:gd name="T97" fmla="*/ 90 h 90"/>
                <a:gd name="T98" fmla="*/ 74 w 89"/>
                <a:gd name="T99" fmla="*/ 90 h 90"/>
                <a:gd name="T100" fmla="*/ 73 w 89"/>
                <a:gd name="T101" fmla="*/ 77 h 90"/>
                <a:gd name="T102" fmla="*/ 71 w 89"/>
                <a:gd name="T103" fmla="*/ 74 h 90"/>
                <a:gd name="T104" fmla="*/ 69 w 89"/>
                <a:gd name="T105" fmla="*/ 70 h 90"/>
                <a:gd name="T106" fmla="*/ 67 w 89"/>
                <a:gd name="T107" fmla="*/ 66 h 90"/>
                <a:gd name="T108" fmla="*/ 63 w 89"/>
                <a:gd name="T109" fmla="*/ 65 h 90"/>
                <a:gd name="T110" fmla="*/ 59 w 89"/>
                <a:gd name="T111" fmla="*/ 66 h 90"/>
                <a:gd name="T112" fmla="*/ 56 w 89"/>
                <a:gd name="T113" fmla="*/ 66 h 90"/>
                <a:gd name="T114" fmla="*/ 51 w 89"/>
                <a:gd name="T115" fmla="*/ 65 h 90"/>
                <a:gd name="T116" fmla="*/ 49 w 89"/>
                <a:gd name="T117" fmla="*/ 60 h 90"/>
                <a:gd name="T118" fmla="*/ 45 w 89"/>
                <a:gd name="T119" fmla="*/ 60 h 90"/>
                <a:gd name="T120" fmla="*/ 40 w 89"/>
                <a:gd name="T121" fmla="*/ 61 h 9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9"/>
                <a:gd name="T184" fmla="*/ 0 h 90"/>
                <a:gd name="T185" fmla="*/ 89 w 89"/>
                <a:gd name="T186" fmla="*/ 90 h 9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9" h="90">
                  <a:moveTo>
                    <a:pt x="40" y="61"/>
                  </a:moveTo>
                  <a:lnTo>
                    <a:pt x="35" y="55"/>
                  </a:lnTo>
                  <a:lnTo>
                    <a:pt x="33" y="53"/>
                  </a:lnTo>
                  <a:lnTo>
                    <a:pt x="29" y="51"/>
                  </a:lnTo>
                  <a:lnTo>
                    <a:pt x="24" y="46"/>
                  </a:lnTo>
                  <a:lnTo>
                    <a:pt x="20" y="43"/>
                  </a:lnTo>
                  <a:lnTo>
                    <a:pt x="14" y="41"/>
                  </a:lnTo>
                  <a:lnTo>
                    <a:pt x="9" y="35"/>
                  </a:lnTo>
                  <a:lnTo>
                    <a:pt x="8" y="28"/>
                  </a:lnTo>
                  <a:lnTo>
                    <a:pt x="7" y="18"/>
                  </a:lnTo>
                  <a:lnTo>
                    <a:pt x="3" y="10"/>
                  </a:lnTo>
                  <a:lnTo>
                    <a:pt x="0" y="7"/>
                  </a:lnTo>
                  <a:lnTo>
                    <a:pt x="11" y="7"/>
                  </a:lnTo>
                  <a:lnTo>
                    <a:pt x="14" y="4"/>
                  </a:lnTo>
                  <a:lnTo>
                    <a:pt x="23" y="4"/>
                  </a:lnTo>
                  <a:lnTo>
                    <a:pt x="26" y="2"/>
                  </a:lnTo>
                  <a:lnTo>
                    <a:pt x="35" y="3"/>
                  </a:lnTo>
                  <a:lnTo>
                    <a:pt x="39" y="2"/>
                  </a:lnTo>
                  <a:lnTo>
                    <a:pt x="45" y="0"/>
                  </a:lnTo>
                  <a:lnTo>
                    <a:pt x="46" y="4"/>
                  </a:lnTo>
                  <a:lnTo>
                    <a:pt x="51" y="10"/>
                  </a:lnTo>
                  <a:lnTo>
                    <a:pt x="56" y="10"/>
                  </a:lnTo>
                  <a:lnTo>
                    <a:pt x="59" y="13"/>
                  </a:lnTo>
                  <a:lnTo>
                    <a:pt x="60" y="17"/>
                  </a:lnTo>
                  <a:lnTo>
                    <a:pt x="57" y="20"/>
                  </a:lnTo>
                  <a:lnTo>
                    <a:pt x="57" y="24"/>
                  </a:lnTo>
                  <a:lnTo>
                    <a:pt x="59" y="29"/>
                  </a:lnTo>
                  <a:lnTo>
                    <a:pt x="61" y="32"/>
                  </a:lnTo>
                  <a:lnTo>
                    <a:pt x="64" y="35"/>
                  </a:lnTo>
                  <a:lnTo>
                    <a:pt x="71" y="39"/>
                  </a:lnTo>
                  <a:lnTo>
                    <a:pt x="72" y="43"/>
                  </a:lnTo>
                  <a:lnTo>
                    <a:pt x="70" y="48"/>
                  </a:lnTo>
                  <a:lnTo>
                    <a:pt x="66" y="48"/>
                  </a:lnTo>
                  <a:lnTo>
                    <a:pt x="67" y="52"/>
                  </a:lnTo>
                  <a:lnTo>
                    <a:pt x="72" y="58"/>
                  </a:lnTo>
                  <a:lnTo>
                    <a:pt x="80" y="63"/>
                  </a:lnTo>
                  <a:lnTo>
                    <a:pt x="84" y="63"/>
                  </a:lnTo>
                  <a:lnTo>
                    <a:pt x="88" y="63"/>
                  </a:lnTo>
                  <a:lnTo>
                    <a:pt x="86" y="68"/>
                  </a:lnTo>
                  <a:lnTo>
                    <a:pt x="85" y="72"/>
                  </a:lnTo>
                  <a:lnTo>
                    <a:pt x="88" y="74"/>
                  </a:lnTo>
                  <a:lnTo>
                    <a:pt x="88" y="79"/>
                  </a:lnTo>
                  <a:lnTo>
                    <a:pt x="84" y="80"/>
                  </a:lnTo>
                  <a:lnTo>
                    <a:pt x="87" y="83"/>
                  </a:lnTo>
                  <a:lnTo>
                    <a:pt x="88" y="87"/>
                  </a:lnTo>
                  <a:lnTo>
                    <a:pt x="89" y="90"/>
                  </a:lnTo>
                  <a:lnTo>
                    <a:pt x="86" y="90"/>
                  </a:lnTo>
                  <a:lnTo>
                    <a:pt x="77" y="90"/>
                  </a:lnTo>
                  <a:lnTo>
                    <a:pt x="74" y="90"/>
                  </a:lnTo>
                  <a:lnTo>
                    <a:pt x="73" y="77"/>
                  </a:lnTo>
                  <a:lnTo>
                    <a:pt x="71" y="74"/>
                  </a:lnTo>
                  <a:lnTo>
                    <a:pt x="69" y="70"/>
                  </a:lnTo>
                  <a:lnTo>
                    <a:pt x="67" y="66"/>
                  </a:lnTo>
                  <a:lnTo>
                    <a:pt x="63" y="65"/>
                  </a:lnTo>
                  <a:lnTo>
                    <a:pt x="59" y="66"/>
                  </a:lnTo>
                  <a:lnTo>
                    <a:pt x="56" y="66"/>
                  </a:lnTo>
                  <a:lnTo>
                    <a:pt x="51" y="65"/>
                  </a:lnTo>
                  <a:lnTo>
                    <a:pt x="49" y="60"/>
                  </a:lnTo>
                  <a:lnTo>
                    <a:pt x="45" y="60"/>
                  </a:lnTo>
                  <a:lnTo>
                    <a:pt x="40" y="6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15" name="Freeform 395"/>
            <p:cNvSpPr>
              <a:spLocks/>
            </p:cNvSpPr>
            <p:nvPr/>
          </p:nvSpPr>
          <p:spPr bwMode="auto">
            <a:xfrm>
              <a:off x="3044" y="3064"/>
              <a:ext cx="89" cy="90"/>
            </a:xfrm>
            <a:custGeom>
              <a:avLst/>
              <a:gdLst>
                <a:gd name="T0" fmla="*/ 40 w 89"/>
                <a:gd name="T1" fmla="*/ 61 h 90"/>
                <a:gd name="T2" fmla="*/ 35 w 89"/>
                <a:gd name="T3" fmla="*/ 55 h 90"/>
                <a:gd name="T4" fmla="*/ 33 w 89"/>
                <a:gd name="T5" fmla="*/ 53 h 90"/>
                <a:gd name="T6" fmla="*/ 29 w 89"/>
                <a:gd name="T7" fmla="*/ 51 h 90"/>
                <a:gd name="T8" fmla="*/ 24 w 89"/>
                <a:gd name="T9" fmla="*/ 46 h 90"/>
                <a:gd name="T10" fmla="*/ 20 w 89"/>
                <a:gd name="T11" fmla="*/ 43 h 90"/>
                <a:gd name="T12" fmla="*/ 14 w 89"/>
                <a:gd name="T13" fmla="*/ 41 h 90"/>
                <a:gd name="T14" fmla="*/ 9 w 89"/>
                <a:gd name="T15" fmla="*/ 35 h 90"/>
                <a:gd name="T16" fmla="*/ 8 w 89"/>
                <a:gd name="T17" fmla="*/ 28 h 90"/>
                <a:gd name="T18" fmla="*/ 7 w 89"/>
                <a:gd name="T19" fmla="*/ 18 h 90"/>
                <a:gd name="T20" fmla="*/ 3 w 89"/>
                <a:gd name="T21" fmla="*/ 10 h 90"/>
                <a:gd name="T22" fmla="*/ 0 w 89"/>
                <a:gd name="T23" fmla="*/ 7 h 90"/>
                <a:gd name="T24" fmla="*/ 11 w 89"/>
                <a:gd name="T25" fmla="*/ 7 h 90"/>
                <a:gd name="T26" fmla="*/ 14 w 89"/>
                <a:gd name="T27" fmla="*/ 4 h 90"/>
                <a:gd name="T28" fmla="*/ 23 w 89"/>
                <a:gd name="T29" fmla="*/ 4 h 90"/>
                <a:gd name="T30" fmla="*/ 26 w 89"/>
                <a:gd name="T31" fmla="*/ 2 h 90"/>
                <a:gd name="T32" fmla="*/ 35 w 89"/>
                <a:gd name="T33" fmla="*/ 3 h 90"/>
                <a:gd name="T34" fmla="*/ 39 w 89"/>
                <a:gd name="T35" fmla="*/ 2 h 90"/>
                <a:gd name="T36" fmla="*/ 45 w 89"/>
                <a:gd name="T37" fmla="*/ 0 h 90"/>
                <a:gd name="T38" fmla="*/ 45 w 89"/>
                <a:gd name="T39" fmla="*/ 0 h 90"/>
                <a:gd name="T40" fmla="*/ 46 w 89"/>
                <a:gd name="T41" fmla="*/ 4 h 90"/>
                <a:gd name="T42" fmla="*/ 51 w 89"/>
                <a:gd name="T43" fmla="*/ 10 h 90"/>
                <a:gd name="T44" fmla="*/ 56 w 89"/>
                <a:gd name="T45" fmla="*/ 10 h 90"/>
                <a:gd name="T46" fmla="*/ 59 w 89"/>
                <a:gd name="T47" fmla="*/ 13 h 90"/>
                <a:gd name="T48" fmla="*/ 60 w 89"/>
                <a:gd name="T49" fmla="*/ 17 h 90"/>
                <a:gd name="T50" fmla="*/ 57 w 89"/>
                <a:gd name="T51" fmla="*/ 20 h 90"/>
                <a:gd name="T52" fmla="*/ 57 w 89"/>
                <a:gd name="T53" fmla="*/ 24 h 90"/>
                <a:gd name="T54" fmla="*/ 59 w 89"/>
                <a:gd name="T55" fmla="*/ 29 h 90"/>
                <a:gd name="T56" fmla="*/ 61 w 89"/>
                <a:gd name="T57" fmla="*/ 32 h 90"/>
                <a:gd name="T58" fmla="*/ 64 w 89"/>
                <a:gd name="T59" fmla="*/ 35 h 90"/>
                <a:gd name="T60" fmla="*/ 71 w 89"/>
                <a:gd name="T61" fmla="*/ 39 h 90"/>
                <a:gd name="T62" fmla="*/ 72 w 89"/>
                <a:gd name="T63" fmla="*/ 43 h 90"/>
                <a:gd name="T64" fmla="*/ 70 w 89"/>
                <a:gd name="T65" fmla="*/ 48 h 90"/>
                <a:gd name="T66" fmla="*/ 66 w 89"/>
                <a:gd name="T67" fmla="*/ 48 h 90"/>
                <a:gd name="T68" fmla="*/ 67 w 89"/>
                <a:gd name="T69" fmla="*/ 52 h 90"/>
                <a:gd name="T70" fmla="*/ 72 w 89"/>
                <a:gd name="T71" fmla="*/ 58 h 90"/>
                <a:gd name="T72" fmla="*/ 80 w 89"/>
                <a:gd name="T73" fmla="*/ 63 h 90"/>
                <a:gd name="T74" fmla="*/ 84 w 89"/>
                <a:gd name="T75" fmla="*/ 63 h 90"/>
                <a:gd name="T76" fmla="*/ 88 w 89"/>
                <a:gd name="T77" fmla="*/ 63 h 90"/>
                <a:gd name="T78" fmla="*/ 86 w 89"/>
                <a:gd name="T79" fmla="*/ 68 h 90"/>
                <a:gd name="T80" fmla="*/ 85 w 89"/>
                <a:gd name="T81" fmla="*/ 72 h 90"/>
                <a:gd name="T82" fmla="*/ 88 w 89"/>
                <a:gd name="T83" fmla="*/ 74 h 90"/>
                <a:gd name="T84" fmla="*/ 88 w 89"/>
                <a:gd name="T85" fmla="*/ 79 h 90"/>
                <a:gd name="T86" fmla="*/ 84 w 89"/>
                <a:gd name="T87" fmla="*/ 80 h 90"/>
                <a:gd name="T88" fmla="*/ 87 w 89"/>
                <a:gd name="T89" fmla="*/ 83 h 90"/>
                <a:gd name="T90" fmla="*/ 88 w 89"/>
                <a:gd name="T91" fmla="*/ 87 h 90"/>
                <a:gd name="T92" fmla="*/ 89 w 89"/>
                <a:gd name="T93" fmla="*/ 90 h 90"/>
                <a:gd name="T94" fmla="*/ 86 w 89"/>
                <a:gd name="T95" fmla="*/ 90 h 90"/>
                <a:gd name="T96" fmla="*/ 77 w 89"/>
                <a:gd name="T97" fmla="*/ 90 h 90"/>
                <a:gd name="T98" fmla="*/ 74 w 89"/>
                <a:gd name="T99" fmla="*/ 90 h 90"/>
                <a:gd name="T100" fmla="*/ 73 w 89"/>
                <a:gd name="T101" fmla="*/ 77 h 90"/>
                <a:gd name="T102" fmla="*/ 71 w 89"/>
                <a:gd name="T103" fmla="*/ 74 h 90"/>
                <a:gd name="T104" fmla="*/ 69 w 89"/>
                <a:gd name="T105" fmla="*/ 70 h 90"/>
                <a:gd name="T106" fmla="*/ 67 w 89"/>
                <a:gd name="T107" fmla="*/ 66 h 90"/>
                <a:gd name="T108" fmla="*/ 63 w 89"/>
                <a:gd name="T109" fmla="*/ 65 h 90"/>
                <a:gd name="T110" fmla="*/ 59 w 89"/>
                <a:gd name="T111" fmla="*/ 66 h 90"/>
                <a:gd name="T112" fmla="*/ 56 w 89"/>
                <a:gd name="T113" fmla="*/ 66 h 90"/>
                <a:gd name="T114" fmla="*/ 51 w 89"/>
                <a:gd name="T115" fmla="*/ 65 h 90"/>
                <a:gd name="T116" fmla="*/ 49 w 89"/>
                <a:gd name="T117" fmla="*/ 60 h 90"/>
                <a:gd name="T118" fmla="*/ 45 w 89"/>
                <a:gd name="T119" fmla="*/ 60 h 90"/>
                <a:gd name="T120" fmla="*/ 40 w 89"/>
                <a:gd name="T121" fmla="*/ 61 h 9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89"/>
                <a:gd name="T184" fmla="*/ 0 h 90"/>
                <a:gd name="T185" fmla="*/ 89 w 89"/>
                <a:gd name="T186" fmla="*/ 90 h 90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89" h="90">
                  <a:moveTo>
                    <a:pt x="40" y="61"/>
                  </a:moveTo>
                  <a:lnTo>
                    <a:pt x="35" y="55"/>
                  </a:lnTo>
                  <a:lnTo>
                    <a:pt x="33" y="53"/>
                  </a:lnTo>
                  <a:lnTo>
                    <a:pt x="29" y="51"/>
                  </a:lnTo>
                  <a:lnTo>
                    <a:pt x="24" y="46"/>
                  </a:lnTo>
                  <a:lnTo>
                    <a:pt x="20" y="43"/>
                  </a:lnTo>
                  <a:lnTo>
                    <a:pt x="14" y="41"/>
                  </a:lnTo>
                  <a:lnTo>
                    <a:pt x="9" y="35"/>
                  </a:lnTo>
                  <a:lnTo>
                    <a:pt x="8" y="28"/>
                  </a:lnTo>
                  <a:lnTo>
                    <a:pt x="7" y="18"/>
                  </a:lnTo>
                  <a:lnTo>
                    <a:pt x="3" y="10"/>
                  </a:lnTo>
                  <a:lnTo>
                    <a:pt x="0" y="7"/>
                  </a:lnTo>
                  <a:lnTo>
                    <a:pt x="11" y="7"/>
                  </a:lnTo>
                  <a:lnTo>
                    <a:pt x="14" y="4"/>
                  </a:lnTo>
                  <a:lnTo>
                    <a:pt x="23" y="4"/>
                  </a:lnTo>
                  <a:lnTo>
                    <a:pt x="26" y="2"/>
                  </a:lnTo>
                  <a:lnTo>
                    <a:pt x="35" y="3"/>
                  </a:lnTo>
                  <a:lnTo>
                    <a:pt x="39" y="2"/>
                  </a:lnTo>
                  <a:lnTo>
                    <a:pt x="45" y="0"/>
                  </a:lnTo>
                  <a:lnTo>
                    <a:pt x="46" y="4"/>
                  </a:lnTo>
                  <a:lnTo>
                    <a:pt x="51" y="10"/>
                  </a:lnTo>
                  <a:lnTo>
                    <a:pt x="56" y="10"/>
                  </a:lnTo>
                  <a:lnTo>
                    <a:pt x="59" y="13"/>
                  </a:lnTo>
                  <a:lnTo>
                    <a:pt x="60" y="17"/>
                  </a:lnTo>
                  <a:lnTo>
                    <a:pt x="57" y="20"/>
                  </a:lnTo>
                  <a:lnTo>
                    <a:pt x="57" y="24"/>
                  </a:lnTo>
                  <a:lnTo>
                    <a:pt x="59" y="29"/>
                  </a:lnTo>
                  <a:lnTo>
                    <a:pt x="61" y="32"/>
                  </a:lnTo>
                  <a:lnTo>
                    <a:pt x="64" y="35"/>
                  </a:lnTo>
                  <a:lnTo>
                    <a:pt x="71" y="39"/>
                  </a:lnTo>
                  <a:lnTo>
                    <a:pt x="72" y="43"/>
                  </a:lnTo>
                  <a:lnTo>
                    <a:pt x="70" y="48"/>
                  </a:lnTo>
                  <a:lnTo>
                    <a:pt x="66" y="48"/>
                  </a:lnTo>
                  <a:lnTo>
                    <a:pt x="67" y="52"/>
                  </a:lnTo>
                  <a:lnTo>
                    <a:pt x="72" y="58"/>
                  </a:lnTo>
                  <a:lnTo>
                    <a:pt x="80" y="63"/>
                  </a:lnTo>
                  <a:lnTo>
                    <a:pt x="84" y="63"/>
                  </a:lnTo>
                  <a:lnTo>
                    <a:pt x="88" y="63"/>
                  </a:lnTo>
                  <a:lnTo>
                    <a:pt x="86" y="68"/>
                  </a:lnTo>
                  <a:lnTo>
                    <a:pt x="85" y="72"/>
                  </a:lnTo>
                  <a:lnTo>
                    <a:pt x="88" y="74"/>
                  </a:lnTo>
                  <a:lnTo>
                    <a:pt x="88" y="79"/>
                  </a:lnTo>
                  <a:lnTo>
                    <a:pt x="84" y="80"/>
                  </a:lnTo>
                  <a:lnTo>
                    <a:pt x="87" y="83"/>
                  </a:lnTo>
                  <a:lnTo>
                    <a:pt x="88" y="87"/>
                  </a:lnTo>
                  <a:lnTo>
                    <a:pt x="89" y="90"/>
                  </a:lnTo>
                  <a:lnTo>
                    <a:pt x="86" y="90"/>
                  </a:lnTo>
                  <a:lnTo>
                    <a:pt x="77" y="90"/>
                  </a:lnTo>
                  <a:lnTo>
                    <a:pt x="74" y="90"/>
                  </a:lnTo>
                  <a:lnTo>
                    <a:pt x="73" y="77"/>
                  </a:lnTo>
                  <a:lnTo>
                    <a:pt x="71" y="74"/>
                  </a:lnTo>
                  <a:lnTo>
                    <a:pt x="69" y="70"/>
                  </a:lnTo>
                  <a:lnTo>
                    <a:pt x="67" y="66"/>
                  </a:lnTo>
                  <a:lnTo>
                    <a:pt x="63" y="65"/>
                  </a:lnTo>
                  <a:lnTo>
                    <a:pt x="59" y="66"/>
                  </a:lnTo>
                  <a:lnTo>
                    <a:pt x="56" y="66"/>
                  </a:lnTo>
                  <a:lnTo>
                    <a:pt x="51" y="65"/>
                  </a:lnTo>
                  <a:lnTo>
                    <a:pt x="49" y="60"/>
                  </a:lnTo>
                  <a:lnTo>
                    <a:pt x="45" y="60"/>
                  </a:lnTo>
                  <a:lnTo>
                    <a:pt x="40" y="6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26" name="Group 399"/>
          <p:cNvGrpSpPr>
            <a:grpSpLocks/>
          </p:cNvGrpSpPr>
          <p:nvPr/>
        </p:nvGrpSpPr>
        <p:grpSpPr bwMode="auto">
          <a:xfrm>
            <a:off x="6097588" y="4957763"/>
            <a:ext cx="53975" cy="49212"/>
            <a:chOff x="3083" y="3123"/>
            <a:chExt cx="34" cy="31"/>
          </a:xfrm>
        </p:grpSpPr>
        <p:sp>
          <p:nvSpPr>
            <p:cNvPr id="34212" name="Freeform 397"/>
            <p:cNvSpPr>
              <a:spLocks/>
            </p:cNvSpPr>
            <p:nvPr/>
          </p:nvSpPr>
          <p:spPr bwMode="auto">
            <a:xfrm>
              <a:off x="3083" y="3123"/>
              <a:ext cx="34" cy="31"/>
            </a:xfrm>
            <a:custGeom>
              <a:avLst/>
              <a:gdLst>
                <a:gd name="T0" fmla="*/ 34 w 34"/>
                <a:gd name="T1" fmla="*/ 31 h 31"/>
                <a:gd name="T2" fmla="*/ 27 w 34"/>
                <a:gd name="T3" fmla="*/ 30 h 31"/>
                <a:gd name="T4" fmla="*/ 19 w 34"/>
                <a:gd name="T5" fmla="*/ 28 h 31"/>
                <a:gd name="T6" fmla="*/ 2 w 34"/>
                <a:gd name="T7" fmla="*/ 4 h 31"/>
                <a:gd name="T8" fmla="*/ 0 w 34"/>
                <a:gd name="T9" fmla="*/ 1 h 31"/>
                <a:gd name="T10" fmla="*/ 5 w 34"/>
                <a:gd name="T11" fmla="*/ 0 h 31"/>
                <a:gd name="T12" fmla="*/ 9 w 34"/>
                <a:gd name="T13" fmla="*/ 1 h 31"/>
                <a:gd name="T14" fmla="*/ 11 w 34"/>
                <a:gd name="T15" fmla="*/ 5 h 31"/>
                <a:gd name="T16" fmla="*/ 16 w 34"/>
                <a:gd name="T17" fmla="*/ 6 h 31"/>
                <a:gd name="T18" fmla="*/ 19 w 34"/>
                <a:gd name="T19" fmla="*/ 7 h 31"/>
                <a:gd name="T20" fmla="*/ 23 w 34"/>
                <a:gd name="T21" fmla="*/ 6 h 31"/>
                <a:gd name="T22" fmla="*/ 27 w 34"/>
                <a:gd name="T23" fmla="*/ 6 h 31"/>
                <a:gd name="T24" fmla="*/ 29 w 34"/>
                <a:gd name="T25" fmla="*/ 11 h 31"/>
                <a:gd name="T26" fmla="*/ 31 w 34"/>
                <a:gd name="T27" fmla="*/ 14 h 31"/>
                <a:gd name="T28" fmla="*/ 33 w 34"/>
                <a:gd name="T29" fmla="*/ 18 h 31"/>
                <a:gd name="T30" fmla="*/ 34 w 34"/>
                <a:gd name="T31" fmla="*/ 31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4"/>
                <a:gd name="T49" fmla="*/ 0 h 31"/>
                <a:gd name="T50" fmla="*/ 34 w 34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4" h="31">
                  <a:moveTo>
                    <a:pt x="34" y="31"/>
                  </a:moveTo>
                  <a:lnTo>
                    <a:pt x="27" y="30"/>
                  </a:lnTo>
                  <a:lnTo>
                    <a:pt x="19" y="28"/>
                  </a:lnTo>
                  <a:lnTo>
                    <a:pt x="2" y="4"/>
                  </a:lnTo>
                  <a:lnTo>
                    <a:pt x="0" y="1"/>
                  </a:lnTo>
                  <a:lnTo>
                    <a:pt x="5" y="0"/>
                  </a:lnTo>
                  <a:lnTo>
                    <a:pt x="9" y="1"/>
                  </a:lnTo>
                  <a:lnTo>
                    <a:pt x="11" y="5"/>
                  </a:lnTo>
                  <a:lnTo>
                    <a:pt x="16" y="6"/>
                  </a:lnTo>
                  <a:lnTo>
                    <a:pt x="19" y="7"/>
                  </a:lnTo>
                  <a:lnTo>
                    <a:pt x="23" y="6"/>
                  </a:lnTo>
                  <a:lnTo>
                    <a:pt x="27" y="6"/>
                  </a:lnTo>
                  <a:lnTo>
                    <a:pt x="29" y="11"/>
                  </a:lnTo>
                  <a:lnTo>
                    <a:pt x="31" y="14"/>
                  </a:lnTo>
                  <a:lnTo>
                    <a:pt x="33" y="18"/>
                  </a:lnTo>
                  <a:lnTo>
                    <a:pt x="34" y="31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13" name="Freeform 398"/>
            <p:cNvSpPr>
              <a:spLocks/>
            </p:cNvSpPr>
            <p:nvPr/>
          </p:nvSpPr>
          <p:spPr bwMode="auto">
            <a:xfrm>
              <a:off x="3083" y="3123"/>
              <a:ext cx="34" cy="31"/>
            </a:xfrm>
            <a:custGeom>
              <a:avLst/>
              <a:gdLst>
                <a:gd name="T0" fmla="*/ 34 w 34"/>
                <a:gd name="T1" fmla="*/ 31 h 31"/>
                <a:gd name="T2" fmla="*/ 27 w 34"/>
                <a:gd name="T3" fmla="*/ 30 h 31"/>
                <a:gd name="T4" fmla="*/ 19 w 34"/>
                <a:gd name="T5" fmla="*/ 28 h 31"/>
                <a:gd name="T6" fmla="*/ 2 w 34"/>
                <a:gd name="T7" fmla="*/ 4 h 31"/>
                <a:gd name="T8" fmla="*/ 0 w 34"/>
                <a:gd name="T9" fmla="*/ 1 h 31"/>
                <a:gd name="T10" fmla="*/ 5 w 34"/>
                <a:gd name="T11" fmla="*/ 0 h 31"/>
                <a:gd name="T12" fmla="*/ 9 w 34"/>
                <a:gd name="T13" fmla="*/ 1 h 31"/>
                <a:gd name="T14" fmla="*/ 11 w 34"/>
                <a:gd name="T15" fmla="*/ 5 h 31"/>
                <a:gd name="T16" fmla="*/ 16 w 34"/>
                <a:gd name="T17" fmla="*/ 6 h 31"/>
                <a:gd name="T18" fmla="*/ 19 w 34"/>
                <a:gd name="T19" fmla="*/ 7 h 31"/>
                <a:gd name="T20" fmla="*/ 23 w 34"/>
                <a:gd name="T21" fmla="*/ 6 h 31"/>
                <a:gd name="T22" fmla="*/ 27 w 34"/>
                <a:gd name="T23" fmla="*/ 6 h 31"/>
                <a:gd name="T24" fmla="*/ 29 w 34"/>
                <a:gd name="T25" fmla="*/ 11 h 31"/>
                <a:gd name="T26" fmla="*/ 31 w 34"/>
                <a:gd name="T27" fmla="*/ 14 h 31"/>
                <a:gd name="T28" fmla="*/ 33 w 34"/>
                <a:gd name="T29" fmla="*/ 18 h 31"/>
                <a:gd name="T30" fmla="*/ 34 w 34"/>
                <a:gd name="T31" fmla="*/ 31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4"/>
                <a:gd name="T49" fmla="*/ 0 h 31"/>
                <a:gd name="T50" fmla="*/ 34 w 34"/>
                <a:gd name="T51" fmla="*/ 31 h 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4" h="31">
                  <a:moveTo>
                    <a:pt x="34" y="31"/>
                  </a:moveTo>
                  <a:lnTo>
                    <a:pt x="27" y="30"/>
                  </a:lnTo>
                  <a:lnTo>
                    <a:pt x="19" y="28"/>
                  </a:lnTo>
                  <a:lnTo>
                    <a:pt x="2" y="4"/>
                  </a:lnTo>
                  <a:lnTo>
                    <a:pt x="0" y="1"/>
                  </a:lnTo>
                  <a:lnTo>
                    <a:pt x="5" y="0"/>
                  </a:lnTo>
                  <a:lnTo>
                    <a:pt x="9" y="1"/>
                  </a:lnTo>
                  <a:lnTo>
                    <a:pt x="11" y="5"/>
                  </a:lnTo>
                  <a:lnTo>
                    <a:pt x="16" y="6"/>
                  </a:lnTo>
                  <a:lnTo>
                    <a:pt x="19" y="7"/>
                  </a:lnTo>
                  <a:lnTo>
                    <a:pt x="23" y="6"/>
                  </a:lnTo>
                  <a:lnTo>
                    <a:pt x="27" y="6"/>
                  </a:lnTo>
                  <a:lnTo>
                    <a:pt x="29" y="11"/>
                  </a:lnTo>
                  <a:lnTo>
                    <a:pt x="31" y="14"/>
                  </a:lnTo>
                  <a:lnTo>
                    <a:pt x="33" y="18"/>
                  </a:lnTo>
                  <a:lnTo>
                    <a:pt x="34" y="31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27" name="Group 402"/>
          <p:cNvGrpSpPr>
            <a:grpSpLocks/>
          </p:cNvGrpSpPr>
          <p:nvPr/>
        </p:nvGrpSpPr>
        <p:grpSpPr bwMode="auto">
          <a:xfrm>
            <a:off x="6103938" y="4830763"/>
            <a:ext cx="246062" cy="201612"/>
            <a:chOff x="3087" y="3043"/>
            <a:chExt cx="155" cy="127"/>
          </a:xfrm>
        </p:grpSpPr>
        <p:sp>
          <p:nvSpPr>
            <p:cNvPr id="34210" name="Freeform 400"/>
            <p:cNvSpPr>
              <a:spLocks/>
            </p:cNvSpPr>
            <p:nvPr/>
          </p:nvSpPr>
          <p:spPr bwMode="auto">
            <a:xfrm>
              <a:off x="3087" y="3043"/>
              <a:ext cx="155" cy="127"/>
            </a:xfrm>
            <a:custGeom>
              <a:avLst/>
              <a:gdLst>
                <a:gd name="T0" fmla="*/ 47 w 155"/>
                <a:gd name="T1" fmla="*/ 3 h 127"/>
                <a:gd name="T2" fmla="*/ 57 w 155"/>
                <a:gd name="T3" fmla="*/ 8 h 127"/>
                <a:gd name="T4" fmla="*/ 63 w 155"/>
                <a:gd name="T5" fmla="*/ 13 h 127"/>
                <a:gd name="T6" fmla="*/ 67 w 155"/>
                <a:gd name="T7" fmla="*/ 24 h 127"/>
                <a:gd name="T8" fmla="*/ 80 w 155"/>
                <a:gd name="T9" fmla="*/ 26 h 127"/>
                <a:gd name="T10" fmla="*/ 87 w 155"/>
                <a:gd name="T11" fmla="*/ 22 h 127"/>
                <a:gd name="T12" fmla="*/ 94 w 155"/>
                <a:gd name="T13" fmla="*/ 13 h 127"/>
                <a:gd name="T14" fmla="*/ 100 w 155"/>
                <a:gd name="T15" fmla="*/ 7 h 127"/>
                <a:gd name="T16" fmla="*/ 116 w 155"/>
                <a:gd name="T17" fmla="*/ 18 h 127"/>
                <a:gd name="T18" fmla="*/ 130 w 155"/>
                <a:gd name="T19" fmla="*/ 43 h 127"/>
                <a:gd name="T20" fmla="*/ 138 w 155"/>
                <a:gd name="T21" fmla="*/ 51 h 127"/>
                <a:gd name="T22" fmla="*/ 149 w 155"/>
                <a:gd name="T23" fmla="*/ 51 h 127"/>
                <a:gd name="T24" fmla="*/ 154 w 155"/>
                <a:gd name="T25" fmla="*/ 56 h 127"/>
                <a:gd name="T26" fmla="*/ 150 w 155"/>
                <a:gd name="T27" fmla="*/ 56 h 127"/>
                <a:gd name="T28" fmla="*/ 137 w 155"/>
                <a:gd name="T29" fmla="*/ 61 h 127"/>
                <a:gd name="T30" fmla="*/ 131 w 155"/>
                <a:gd name="T31" fmla="*/ 76 h 127"/>
                <a:gd name="T32" fmla="*/ 127 w 155"/>
                <a:gd name="T33" fmla="*/ 93 h 127"/>
                <a:gd name="T34" fmla="*/ 118 w 155"/>
                <a:gd name="T35" fmla="*/ 100 h 127"/>
                <a:gd name="T36" fmla="*/ 113 w 155"/>
                <a:gd name="T37" fmla="*/ 107 h 127"/>
                <a:gd name="T38" fmla="*/ 114 w 155"/>
                <a:gd name="T39" fmla="*/ 127 h 127"/>
                <a:gd name="T40" fmla="*/ 108 w 155"/>
                <a:gd name="T41" fmla="*/ 127 h 127"/>
                <a:gd name="T42" fmla="*/ 100 w 155"/>
                <a:gd name="T43" fmla="*/ 122 h 127"/>
                <a:gd name="T44" fmla="*/ 94 w 155"/>
                <a:gd name="T45" fmla="*/ 118 h 127"/>
                <a:gd name="T46" fmla="*/ 90 w 155"/>
                <a:gd name="T47" fmla="*/ 112 h 127"/>
                <a:gd name="T48" fmla="*/ 94 w 155"/>
                <a:gd name="T49" fmla="*/ 97 h 127"/>
                <a:gd name="T50" fmla="*/ 85 w 155"/>
                <a:gd name="T51" fmla="*/ 85 h 127"/>
                <a:gd name="T52" fmla="*/ 65 w 155"/>
                <a:gd name="T53" fmla="*/ 92 h 127"/>
                <a:gd name="T54" fmla="*/ 57 w 155"/>
                <a:gd name="T55" fmla="*/ 105 h 127"/>
                <a:gd name="T56" fmla="*/ 45 w 155"/>
                <a:gd name="T57" fmla="*/ 113 h 127"/>
                <a:gd name="T58" fmla="*/ 43 w 155"/>
                <a:gd name="T59" fmla="*/ 105 h 127"/>
                <a:gd name="T60" fmla="*/ 44 w 155"/>
                <a:gd name="T61" fmla="*/ 102 h 127"/>
                <a:gd name="T62" fmla="*/ 41 w 155"/>
                <a:gd name="T63" fmla="*/ 94 h 127"/>
                <a:gd name="T64" fmla="*/ 44 w 155"/>
                <a:gd name="T65" fmla="*/ 86 h 127"/>
                <a:gd name="T66" fmla="*/ 36 w 155"/>
                <a:gd name="T67" fmla="*/ 86 h 127"/>
                <a:gd name="T68" fmla="*/ 23 w 155"/>
                <a:gd name="T69" fmla="*/ 75 h 127"/>
                <a:gd name="T70" fmla="*/ 26 w 155"/>
                <a:gd name="T71" fmla="*/ 71 h 127"/>
                <a:gd name="T72" fmla="*/ 28 w 155"/>
                <a:gd name="T73" fmla="*/ 62 h 127"/>
                <a:gd name="T74" fmla="*/ 17 w 155"/>
                <a:gd name="T75" fmla="*/ 55 h 127"/>
                <a:gd name="T76" fmla="*/ 13 w 155"/>
                <a:gd name="T77" fmla="*/ 47 h 127"/>
                <a:gd name="T78" fmla="*/ 16 w 155"/>
                <a:gd name="T79" fmla="*/ 40 h 127"/>
                <a:gd name="T80" fmla="*/ 12 w 155"/>
                <a:gd name="T81" fmla="*/ 33 h 127"/>
                <a:gd name="T82" fmla="*/ 2 w 155"/>
                <a:gd name="T83" fmla="*/ 26 h 127"/>
                <a:gd name="T84" fmla="*/ 0 w 155"/>
                <a:gd name="T85" fmla="*/ 22 h 127"/>
                <a:gd name="T86" fmla="*/ 11 w 155"/>
                <a:gd name="T87" fmla="*/ 17 h 127"/>
                <a:gd name="T88" fmla="*/ 19 w 155"/>
                <a:gd name="T89" fmla="*/ 19 h 127"/>
                <a:gd name="T90" fmla="*/ 30 w 155"/>
                <a:gd name="T91" fmla="*/ 26 h 127"/>
                <a:gd name="T92" fmla="*/ 42 w 155"/>
                <a:gd name="T93" fmla="*/ 29 h 127"/>
                <a:gd name="T94" fmla="*/ 48 w 155"/>
                <a:gd name="T95" fmla="*/ 26 h 127"/>
                <a:gd name="T96" fmla="*/ 40 w 155"/>
                <a:gd name="T97" fmla="*/ 17 h 127"/>
                <a:gd name="T98" fmla="*/ 35 w 155"/>
                <a:gd name="T99" fmla="*/ 10 h 127"/>
                <a:gd name="T100" fmla="*/ 42 w 155"/>
                <a:gd name="T101" fmla="*/ 0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55"/>
                <a:gd name="T154" fmla="*/ 0 h 127"/>
                <a:gd name="T155" fmla="*/ 155 w 155"/>
                <a:gd name="T156" fmla="*/ 127 h 12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55" h="127">
                  <a:moveTo>
                    <a:pt x="43" y="0"/>
                  </a:moveTo>
                  <a:lnTo>
                    <a:pt x="47" y="3"/>
                  </a:lnTo>
                  <a:lnTo>
                    <a:pt x="51" y="3"/>
                  </a:lnTo>
                  <a:lnTo>
                    <a:pt x="57" y="8"/>
                  </a:lnTo>
                  <a:lnTo>
                    <a:pt x="59" y="13"/>
                  </a:lnTo>
                  <a:lnTo>
                    <a:pt x="63" y="13"/>
                  </a:lnTo>
                  <a:lnTo>
                    <a:pt x="66" y="21"/>
                  </a:lnTo>
                  <a:lnTo>
                    <a:pt x="67" y="24"/>
                  </a:lnTo>
                  <a:lnTo>
                    <a:pt x="72" y="24"/>
                  </a:lnTo>
                  <a:lnTo>
                    <a:pt x="80" y="26"/>
                  </a:lnTo>
                  <a:lnTo>
                    <a:pt x="84" y="25"/>
                  </a:lnTo>
                  <a:lnTo>
                    <a:pt x="87" y="22"/>
                  </a:lnTo>
                  <a:lnTo>
                    <a:pt x="90" y="14"/>
                  </a:lnTo>
                  <a:lnTo>
                    <a:pt x="94" y="13"/>
                  </a:lnTo>
                  <a:lnTo>
                    <a:pt x="98" y="11"/>
                  </a:lnTo>
                  <a:lnTo>
                    <a:pt x="100" y="7"/>
                  </a:lnTo>
                  <a:lnTo>
                    <a:pt x="103" y="2"/>
                  </a:lnTo>
                  <a:lnTo>
                    <a:pt x="116" y="18"/>
                  </a:lnTo>
                  <a:lnTo>
                    <a:pt x="125" y="35"/>
                  </a:lnTo>
                  <a:lnTo>
                    <a:pt x="130" y="43"/>
                  </a:lnTo>
                  <a:lnTo>
                    <a:pt x="134" y="48"/>
                  </a:lnTo>
                  <a:lnTo>
                    <a:pt x="138" y="51"/>
                  </a:lnTo>
                  <a:lnTo>
                    <a:pt x="145" y="48"/>
                  </a:lnTo>
                  <a:lnTo>
                    <a:pt x="149" y="51"/>
                  </a:lnTo>
                  <a:lnTo>
                    <a:pt x="152" y="52"/>
                  </a:lnTo>
                  <a:lnTo>
                    <a:pt x="154" y="56"/>
                  </a:lnTo>
                  <a:lnTo>
                    <a:pt x="155" y="61"/>
                  </a:lnTo>
                  <a:lnTo>
                    <a:pt x="150" y="56"/>
                  </a:lnTo>
                  <a:lnTo>
                    <a:pt x="142" y="57"/>
                  </a:lnTo>
                  <a:lnTo>
                    <a:pt x="137" y="61"/>
                  </a:lnTo>
                  <a:lnTo>
                    <a:pt x="133" y="66"/>
                  </a:lnTo>
                  <a:lnTo>
                    <a:pt x="131" y="76"/>
                  </a:lnTo>
                  <a:lnTo>
                    <a:pt x="131" y="85"/>
                  </a:lnTo>
                  <a:lnTo>
                    <a:pt x="127" y="93"/>
                  </a:lnTo>
                  <a:lnTo>
                    <a:pt x="125" y="107"/>
                  </a:lnTo>
                  <a:lnTo>
                    <a:pt x="118" y="100"/>
                  </a:lnTo>
                  <a:lnTo>
                    <a:pt x="114" y="102"/>
                  </a:lnTo>
                  <a:lnTo>
                    <a:pt x="113" y="107"/>
                  </a:lnTo>
                  <a:lnTo>
                    <a:pt x="113" y="118"/>
                  </a:lnTo>
                  <a:lnTo>
                    <a:pt x="114" y="127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6"/>
                  </a:lnTo>
                  <a:lnTo>
                    <a:pt x="100" y="122"/>
                  </a:lnTo>
                  <a:lnTo>
                    <a:pt x="96" y="120"/>
                  </a:lnTo>
                  <a:lnTo>
                    <a:pt x="94" y="118"/>
                  </a:lnTo>
                  <a:lnTo>
                    <a:pt x="88" y="114"/>
                  </a:lnTo>
                  <a:lnTo>
                    <a:pt x="90" y="112"/>
                  </a:lnTo>
                  <a:lnTo>
                    <a:pt x="97" y="107"/>
                  </a:lnTo>
                  <a:lnTo>
                    <a:pt x="94" y="97"/>
                  </a:lnTo>
                  <a:lnTo>
                    <a:pt x="94" y="89"/>
                  </a:lnTo>
                  <a:lnTo>
                    <a:pt x="85" y="85"/>
                  </a:lnTo>
                  <a:lnTo>
                    <a:pt x="72" y="88"/>
                  </a:lnTo>
                  <a:lnTo>
                    <a:pt x="65" y="92"/>
                  </a:lnTo>
                  <a:lnTo>
                    <a:pt x="60" y="97"/>
                  </a:lnTo>
                  <a:lnTo>
                    <a:pt x="57" y="105"/>
                  </a:lnTo>
                  <a:lnTo>
                    <a:pt x="51" y="112"/>
                  </a:lnTo>
                  <a:lnTo>
                    <a:pt x="45" y="113"/>
                  </a:lnTo>
                  <a:lnTo>
                    <a:pt x="44" y="109"/>
                  </a:lnTo>
                  <a:lnTo>
                    <a:pt x="43" y="105"/>
                  </a:lnTo>
                  <a:lnTo>
                    <a:pt x="40" y="102"/>
                  </a:lnTo>
                  <a:lnTo>
                    <a:pt x="44" y="102"/>
                  </a:lnTo>
                  <a:lnTo>
                    <a:pt x="44" y="97"/>
                  </a:lnTo>
                  <a:lnTo>
                    <a:pt x="41" y="94"/>
                  </a:lnTo>
                  <a:lnTo>
                    <a:pt x="42" y="91"/>
                  </a:lnTo>
                  <a:lnTo>
                    <a:pt x="44" y="86"/>
                  </a:lnTo>
                  <a:lnTo>
                    <a:pt x="40" y="86"/>
                  </a:lnTo>
                  <a:lnTo>
                    <a:pt x="36" y="86"/>
                  </a:lnTo>
                  <a:lnTo>
                    <a:pt x="28" y="81"/>
                  </a:lnTo>
                  <a:lnTo>
                    <a:pt x="23" y="75"/>
                  </a:lnTo>
                  <a:lnTo>
                    <a:pt x="22" y="71"/>
                  </a:lnTo>
                  <a:lnTo>
                    <a:pt x="26" y="71"/>
                  </a:lnTo>
                  <a:lnTo>
                    <a:pt x="28" y="66"/>
                  </a:lnTo>
                  <a:lnTo>
                    <a:pt x="28" y="62"/>
                  </a:lnTo>
                  <a:lnTo>
                    <a:pt x="20" y="58"/>
                  </a:lnTo>
                  <a:lnTo>
                    <a:pt x="17" y="55"/>
                  </a:lnTo>
                  <a:lnTo>
                    <a:pt x="15" y="51"/>
                  </a:lnTo>
                  <a:lnTo>
                    <a:pt x="13" y="47"/>
                  </a:lnTo>
                  <a:lnTo>
                    <a:pt x="13" y="43"/>
                  </a:lnTo>
                  <a:lnTo>
                    <a:pt x="16" y="40"/>
                  </a:lnTo>
                  <a:lnTo>
                    <a:pt x="15" y="36"/>
                  </a:lnTo>
                  <a:lnTo>
                    <a:pt x="12" y="33"/>
                  </a:lnTo>
                  <a:lnTo>
                    <a:pt x="8" y="33"/>
                  </a:lnTo>
                  <a:lnTo>
                    <a:pt x="2" y="26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3" y="22"/>
                  </a:lnTo>
                  <a:lnTo>
                    <a:pt x="11" y="17"/>
                  </a:lnTo>
                  <a:lnTo>
                    <a:pt x="15" y="18"/>
                  </a:lnTo>
                  <a:lnTo>
                    <a:pt x="19" y="19"/>
                  </a:lnTo>
                  <a:lnTo>
                    <a:pt x="22" y="22"/>
                  </a:lnTo>
                  <a:lnTo>
                    <a:pt x="30" y="26"/>
                  </a:lnTo>
                  <a:lnTo>
                    <a:pt x="34" y="25"/>
                  </a:lnTo>
                  <a:lnTo>
                    <a:pt x="42" y="29"/>
                  </a:lnTo>
                  <a:lnTo>
                    <a:pt x="46" y="29"/>
                  </a:lnTo>
                  <a:lnTo>
                    <a:pt x="48" y="26"/>
                  </a:lnTo>
                  <a:lnTo>
                    <a:pt x="47" y="22"/>
                  </a:lnTo>
                  <a:lnTo>
                    <a:pt x="40" y="17"/>
                  </a:lnTo>
                  <a:lnTo>
                    <a:pt x="39" y="13"/>
                  </a:lnTo>
                  <a:lnTo>
                    <a:pt x="35" y="10"/>
                  </a:lnTo>
                  <a:lnTo>
                    <a:pt x="36" y="5"/>
                  </a:lnTo>
                  <a:lnTo>
                    <a:pt x="42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11" name="Freeform 401"/>
            <p:cNvSpPr>
              <a:spLocks/>
            </p:cNvSpPr>
            <p:nvPr/>
          </p:nvSpPr>
          <p:spPr bwMode="auto">
            <a:xfrm>
              <a:off x="3087" y="3043"/>
              <a:ext cx="155" cy="127"/>
            </a:xfrm>
            <a:custGeom>
              <a:avLst/>
              <a:gdLst>
                <a:gd name="T0" fmla="*/ 47 w 155"/>
                <a:gd name="T1" fmla="*/ 3 h 127"/>
                <a:gd name="T2" fmla="*/ 57 w 155"/>
                <a:gd name="T3" fmla="*/ 8 h 127"/>
                <a:gd name="T4" fmla="*/ 63 w 155"/>
                <a:gd name="T5" fmla="*/ 13 h 127"/>
                <a:gd name="T6" fmla="*/ 67 w 155"/>
                <a:gd name="T7" fmla="*/ 24 h 127"/>
                <a:gd name="T8" fmla="*/ 80 w 155"/>
                <a:gd name="T9" fmla="*/ 26 h 127"/>
                <a:gd name="T10" fmla="*/ 87 w 155"/>
                <a:gd name="T11" fmla="*/ 22 h 127"/>
                <a:gd name="T12" fmla="*/ 94 w 155"/>
                <a:gd name="T13" fmla="*/ 13 h 127"/>
                <a:gd name="T14" fmla="*/ 100 w 155"/>
                <a:gd name="T15" fmla="*/ 7 h 127"/>
                <a:gd name="T16" fmla="*/ 116 w 155"/>
                <a:gd name="T17" fmla="*/ 18 h 127"/>
                <a:gd name="T18" fmla="*/ 130 w 155"/>
                <a:gd name="T19" fmla="*/ 43 h 127"/>
                <a:gd name="T20" fmla="*/ 138 w 155"/>
                <a:gd name="T21" fmla="*/ 51 h 127"/>
                <a:gd name="T22" fmla="*/ 149 w 155"/>
                <a:gd name="T23" fmla="*/ 51 h 127"/>
                <a:gd name="T24" fmla="*/ 154 w 155"/>
                <a:gd name="T25" fmla="*/ 56 h 127"/>
                <a:gd name="T26" fmla="*/ 150 w 155"/>
                <a:gd name="T27" fmla="*/ 56 h 127"/>
                <a:gd name="T28" fmla="*/ 137 w 155"/>
                <a:gd name="T29" fmla="*/ 61 h 127"/>
                <a:gd name="T30" fmla="*/ 131 w 155"/>
                <a:gd name="T31" fmla="*/ 76 h 127"/>
                <a:gd name="T32" fmla="*/ 127 w 155"/>
                <a:gd name="T33" fmla="*/ 93 h 127"/>
                <a:gd name="T34" fmla="*/ 118 w 155"/>
                <a:gd name="T35" fmla="*/ 100 h 127"/>
                <a:gd name="T36" fmla="*/ 113 w 155"/>
                <a:gd name="T37" fmla="*/ 107 h 127"/>
                <a:gd name="T38" fmla="*/ 114 w 155"/>
                <a:gd name="T39" fmla="*/ 127 h 127"/>
                <a:gd name="T40" fmla="*/ 108 w 155"/>
                <a:gd name="T41" fmla="*/ 127 h 127"/>
                <a:gd name="T42" fmla="*/ 100 w 155"/>
                <a:gd name="T43" fmla="*/ 122 h 127"/>
                <a:gd name="T44" fmla="*/ 94 w 155"/>
                <a:gd name="T45" fmla="*/ 118 h 127"/>
                <a:gd name="T46" fmla="*/ 90 w 155"/>
                <a:gd name="T47" fmla="*/ 112 h 127"/>
                <a:gd name="T48" fmla="*/ 94 w 155"/>
                <a:gd name="T49" fmla="*/ 97 h 127"/>
                <a:gd name="T50" fmla="*/ 85 w 155"/>
                <a:gd name="T51" fmla="*/ 85 h 127"/>
                <a:gd name="T52" fmla="*/ 65 w 155"/>
                <a:gd name="T53" fmla="*/ 92 h 127"/>
                <a:gd name="T54" fmla="*/ 57 w 155"/>
                <a:gd name="T55" fmla="*/ 105 h 127"/>
                <a:gd name="T56" fmla="*/ 45 w 155"/>
                <a:gd name="T57" fmla="*/ 113 h 127"/>
                <a:gd name="T58" fmla="*/ 43 w 155"/>
                <a:gd name="T59" fmla="*/ 105 h 127"/>
                <a:gd name="T60" fmla="*/ 44 w 155"/>
                <a:gd name="T61" fmla="*/ 102 h 127"/>
                <a:gd name="T62" fmla="*/ 41 w 155"/>
                <a:gd name="T63" fmla="*/ 94 h 127"/>
                <a:gd name="T64" fmla="*/ 44 w 155"/>
                <a:gd name="T65" fmla="*/ 86 h 127"/>
                <a:gd name="T66" fmla="*/ 36 w 155"/>
                <a:gd name="T67" fmla="*/ 86 h 127"/>
                <a:gd name="T68" fmla="*/ 23 w 155"/>
                <a:gd name="T69" fmla="*/ 75 h 127"/>
                <a:gd name="T70" fmla="*/ 26 w 155"/>
                <a:gd name="T71" fmla="*/ 71 h 127"/>
                <a:gd name="T72" fmla="*/ 28 w 155"/>
                <a:gd name="T73" fmla="*/ 62 h 127"/>
                <a:gd name="T74" fmla="*/ 17 w 155"/>
                <a:gd name="T75" fmla="*/ 55 h 127"/>
                <a:gd name="T76" fmla="*/ 13 w 155"/>
                <a:gd name="T77" fmla="*/ 47 h 127"/>
                <a:gd name="T78" fmla="*/ 16 w 155"/>
                <a:gd name="T79" fmla="*/ 40 h 127"/>
                <a:gd name="T80" fmla="*/ 12 w 155"/>
                <a:gd name="T81" fmla="*/ 33 h 127"/>
                <a:gd name="T82" fmla="*/ 2 w 155"/>
                <a:gd name="T83" fmla="*/ 26 h 127"/>
                <a:gd name="T84" fmla="*/ 0 w 155"/>
                <a:gd name="T85" fmla="*/ 22 h 127"/>
                <a:gd name="T86" fmla="*/ 11 w 155"/>
                <a:gd name="T87" fmla="*/ 17 h 127"/>
                <a:gd name="T88" fmla="*/ 19 w 155"/>
                <a:gd name="T89" fmla="*/ 19 h 127"/>
                <a:gd name="T90" fmla="*/ 30 w 155"/>
                <a:gd name="T91" fmla="*/ 26 h 127"/>
                <a:gd name="T92" fmla="*/ 42 w 155"/>
                <a:gd name="T93" fmla="*/ 29 h 127"/>
                <a:gd name="T94" fmla="*/ 48 w 155"/>
                <a:gd name="T95" fmla="*/ 26 h 127"/>
                <a:gd name="T96" fmla="*/ 40 w 155"/>
                <a:gd name="T97" fmla="*/ 17 h 127"/>
                <a:gd name="T98" fmla="*/ 35 w 155"/>
                <a:gd name="T99" fmla="*/ 10 h 127"/>
                <a:gd name="T100" fmla="*/ 42 w 155"/>
                <a:gd name="T101" fmla="*/ 0 h 12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55"/>
                <a:gd name="T154" fmla="*/ 0 h 127"/>
                <a:gd name="T155" fmla="*/ 155 w 155"/>
                <a:gd name="T156" fmla="*/ 127 h 12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55" h="127">
                  <a:moveTo>
                    <a:pt x="43" y="0"/>
                  </a:moveTo>
                  <a:lnTo>
                    <a:pt x="47" y="3"/>
                  </a:lnTo>
                  <a:lnTo>
                    <a:pt x="51" y="3"/>
                  </a:lnTo>
                  <a:lnTo>
                    <a:pt x="57" y="8"/>
                  </a:lnTo>
                  <a:lnTo>
                    <a:pt x="59" y="13"/>
                  </a:lnTo>
                  <a:lnTo>
                    <a:pt x="63" y="13"/>
                  </a:lnTo>
                  <a:lnTo>
                    <a:pt x="66" y="21"/>
                  </a:lnTo>
                  <a:lnTo>
                    <a:pt x="67" y="24"/>
                  </a:lnTo>
                  <a:lnTo>
                    <a:pt x="72" y="24"/>
                  </a:lnTo>
                  <a:lnTo>
                    <a:pt x="80" y="26"/>
                  </a:lnTo>
                  <a:lnTo>
                    <a:pt x="84" y="25"/>
                  </a:lnTo>
                  <a:lnTo>
                    <a:pt x="87" y="22"/>
                  </a:lnTo>
                  <a:lnTo>
                    <a:pt x="90" y="14"/>
                  </a:lnTo>
                  <a:lnTo>
                    <a:pt x="94" y="13"/>
                  </a:lnTo>
                  <a:lnTo>
                    <a:pt x="98" y="11"/>
                  </a:lnTo>
                  <a:lnTo>
                    <a:pt x="100" y="7"/>
                  </a:lnTo>
                  <a:lnTo>
                    <a:pt x="103" y="2"/>
                  </a:lnTo>
                  <a:lnTo>
                    <a:pt x="116" y="18"/>
                  </a:lnTo>
                  <a:lnTo>
                    <a:pt x="125" y="35"/>
                  </a:lnTo>
                  <a:lnTo>
                    <a:pt x="130" y="43"/>
                  </a:lnTo>
                  <a:lnTo>
                    <a:pt x="134" y="48"/>
                  </a:lnTo>
                  <a:lnTo>
                    <a:pt x="138" y="51"/>
                  </a:lnTo>
                  <a:lnTo>
                    <a:pt x="145" y="48"/>
                  </a:lnTo>
                  <a:lnTo>
                    <a:pt x="149" y="51"/>
                  </a:lnTo>
                  <a:lnTo>
                    <a:pt x="152" y="52"/>
                  </a:lnTo>
                  <a:lnTo>
                    <a:pt x="154" y="56"/>
                  </a:lnTo>
                  <a:lnTo>
                    <a:pt x="155" y="61"/>
                  </a:lnTo>
                  <a:lnTo>
                    <a:pt x="150" y="56"/>
                  </a:lnTo>
                  <a:lnTo>
                    <a:pt x="142" y="57"/>
                  </a:lnTo>
                  <a:lnTo>
                    <a:pt x="137" y="61"/>
                  </a:lnTo>
                  <a:lnTo>
                    <a:pt x="133" y="66"/>
                  </a:lnTo>
                  <a:lnTo>
                    <a:pt x="131" y="76"/>
                  </a:lnTo>
                  <a:lnTo>
                    <a:pt x="131" y="85"/>
                  </a:lnTo>
                  <a:lnTo>
                    <a:pt x="127" y="93"/>
                  </a:lnTo>
                  <a:lnTo>
                    <a:pt x="125" y="107"/>
                  </a:lnTo>
                  <a:lnTo>
                    <a:pt x="118" y="100"/>
                  </a:lnTo>
                  <a:lnTo>
                    <a:pt x="114" y="102"/>
                  </a:lnTo>
                  <a:lnTo>
                    <a:pt x="113" y="107"/>
                  </a:lnTo>
                  <a:lnTo>
                    <a:pt x="113" y="118"/>
                  </a:lnTo>
                  <a:lnTo>
                    <a:pt x="114" y="127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6"/>
                  </a:lnTo>
                  <a:lnTo>
                    <a:pt x="100" y="122"/>
                  </a:lnTo>
                  <a:lnTo>
                    <a:pt x="96" y="120"/>
                  </a:lnTo>
                  <a:lnTo>
                    <a:pt x="94" y="118"/>
                  </a:lnTo>
                  <a:lnTo>
                    <a:pt x="88" y="114"/>
                  </a:lnTo>
                  <a:lnTo>
                    <a:pt x="90" y="112"/>
                  </a:lnTo>
                  <a:lnTo>
                    <a:pt x="97" y="107"/>
                  </a:lnTo>
                  <a:lnTo>
                    <a:pt x="94" y="97"/>
                  </a:lnTo>
                  <a:lnTo>
                    <a:pt x="94" y="89"/>
                  </a:lnTo>
                  <a:lnTo>
                    <a:pt x="85" y="85"/>
                  </a:lnTo>
                  <a:lnTo>
                    <a:pt x="72" y="88"/>
                  </a:lnTo>
                  <a:lnTo>
                    <a:pt x="65" y="92"/>
                  </a:lnTo>
                  <a:lnTo>
                    <a:pt x="60" y="97"/>
                  </a:lnTo>
                  <a:lnTo>
                    <a:pt x="57" y="105"/>
                  </a:lnTo>
                  <a:lnTo>
                    <a:pt x="51" y="112"/>
                  </a:lnTo>
                  <a:lnTo>
                    <a:pt x="45" y="113"/>
                  </a:lnTo>
                  <a:lnTo>
                    <a:pt x="44" y="109"/>
                  </a:lnTo>
                  <a:lnTo>
                    <a:pt x="43" y="105"/>
                  </a:lnTo>
                  <a:lnTo>
                    <a:pt x="40" y="102"/>
                  </a:lnTo>
                  <a:lnTo>
                    <a:pt x="44" y="102"/>
                  </a:lnTo>
                  <a:lnTo>
                    <a:pt x="44" y="97"/>
                  </a:lnTo>
                  <a:lnTo>
                    <a:pt x="41" y="94"/>
                  </a:lnTo>
                  <a:lnTo>
                    <a:pt x="42" y="91"/>
                  </a:lnTo>
                  <a:lnTo>
                    <a:pt x="44" y="86"/>
                  </a:lnTo>
                  <a:lnTo>
                    <a:pt x="40" y="86"/>
                  </a:lnTo>
                  <a:lnTo>
                    <a:pt x="36" y="86"/>
                  </a:lnTo>
                  <a:lnTo>
                    <a:pt x="28" y="81"/>
                  </a:lnTo>
                  <a:lnTo>
                    <a:pt x="23" y="75"/>
                  </a:lnTo>
                  <a:lnTo>
                    <a:pt x="22" y="71"/>
                  </a:lnTo>
                  <a:lnTo>
                    <a:pt x="26" y="71"/>
                  </a:lnTo>
                  <a:lnTo>
                    <a:pt x="28" y="66"/>
                  </a:lnTo>
                  <a:lnTo>
                    <a:pt x="28" y="62"/>
                  </a:lnTo>
                  <a:lnTo>
                    <a:pt x="20" y="58"/>
                  </a:lnTo>
                  <a:lnTo>
                    <a:pt x="17" y="55"/>
                  </a:lnTo>
                  <a:lnTo>
                    <a:pt x="15" y="51"/>
                  </a:lnTo>
                  <a:lnTo>
                    <a:pt x="13" y="47"/>
                  </a:lnTo>
                  <a:lnTo>
                    <a:pt x="13" y="43"/>
                  </a:lnTo>
                  <a:lnTo>
                    <a:pt x="16" y="40"/>
                  </a:lnTo>
                  <a:lnTo>
                    <a:pt x="15" y="36"/>
                  </a:lnTo>
                  <a:lnTo>
                    <a:pt x="12" y="33"/>
                  </a:lnTo>
                  <a:lnTo>
                    <a:pt x="8" y="33"/>
                  </a:lnTo>
                  <a:lnTo>
                    <a:pt x="2" y="26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3" y="22"/>
                  </a:lnTo>
                  <a:lnTo>
                    <a:pt x="11" y="17"/>
                  </a:lnTo>
                  <a:lnTo>
                    <a:pt x="15" y="18"/>
                  </a:lnTo>
                  <a:lnTo>
                    <a:pt x="19" y="19"/>
                  </a:lnTo>
                  <a:lnTo>
                    <a:pt x="22" y="22"/>
                  </a:lnTo>
                  <a:lnTo>
                    <a:pt x="30" y="26"/>
                  </a:lnTo>
                  <a:lnTo>
                    <a:pt x="34" y="25"/>
                  </a:lnTo>
                  <a:lnTo>
                    <a:pt x="42" y="29"/>
                  </a:lnTo>
                  <a:lnTo>
                    <a:pt x="46" y="29"/>
                  </a:lnTo>
                  <a:lnTo>
                    <a:pt x="48" y="26"/>
                  </a:lnTo>
                  <a:lnTo>
                    <a:pt x="47" y="22"/>
                  </a:lnTo>
                  <a:lnTo>
                    <a:pt x="40" y="17"/>
                  </a:lnTo>
                  <a:lnTo>
                    <a:pt x="39" y="13"/>
                  </a:lnTo>
                  <a:lnTo>
                    <a:pt x="35" y="10"/>
                  </a:lnTo>
                  <a:lnTo>
                    <a:pt x="36" y="5"/>
                  </a:lnTo>
                  <a:lnTo>
                    <a:pt x="42" y="0"/>
                  </a:lnTo>
                  <a:lnTo>
                    <a:pt x="43" y="0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28" name="Group 405"/>
          <p:cNvGrpSpPr>
            <a:grpSpLocks/>
          </p:cNvGrpSpPr>
          <p:nvPr/>
        </p:nvGrpSpPr>
        <p:grpSpPr bwMode="auto">
          <a:xfrm>
            <a:off x="3244850" y="1855788"/>
            <a:ext cx="1233488" cy="280987"/>
            <a:chOff x="1286" y="1169"/>
            <a:chExt cx="777" cy="177"/>
          </a:xfrm>
        </p:grpSpPr>
        <p:sp>
          <p:nvSpPr>
            <p:cNvPr id="34208" name="Rectangle 403"/>
            <p:cNvSpPr>
              <a:spLocks noChangeArrowheads="1"/>
            </p:cNvSpPr>
            <p:nvPr/>
          </p:nvSpPr>
          <p:spPr bwMode="auto">
            <a:xfrm>
              <a:off x="1286" y="1169"/>
              <a:ext cx="777" cy="177"/>
            </a:xfrm>
            <a:prstGeom prst="rect">
              <a:avLst/>
            </a:prstGeom>
            <a:solidFill>
              <a:srgbClr val="BAE4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09" name="Rectangle 404"/>
            <p:cNvSpPr>
              <a:spLocks noChangeArrowheads="1"/>
            </p:cNvSpPr>
            <p:nvPr/>
          </p:nvSpPr>
          <p:spPr bwMode="auto">
            <a:xfrm>
              <a:off x="1286" y="1169"/>
              <a:ext cx="777" cy="177"/>
            </a:xfrm>
            <a:prstGeom prst="rect">
              <a:avLst/>
            </a:prstGeom>
            <a:noFill/>
            <a:ln w="9525" cap="rnd">
              <a:solidFill>
                <a:srgbClr val="009C8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3929" name="Rectangle 406"/>
          <p:cNvSpPr>
            <a:spLocks noChangeArrowheads="1"/>
          </p:cNvSpPr>
          <p:nvPr/>
        </p:nvSpPr>
        <p:spPr bwMode="auto">
          <a:xfrm>
            <a:off x="3602038" y="1912938"/>
            <a:ext cx="215900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Baltic</a:t>
            </a:r>
            <a:endParaRPr lang="de-DE">
              <a:cs typeface="ＭＳ Ｐゴシック"/>
            </a:endParaRPr>
          </a:p>
        </p:txBody>
      </p:sp>
      <p:sp>
        <p:nvSpPr>
          <p:cNvPr id="33930" name="Rectangle 407"/>
          <p:cNvSpPr>
            <a:spLocks noChangeArrowheads="1"/>
          </p:cNvSpPr>
          <p:nvPr/>
        </p:nvSpPr>
        <p:spPr bwMode="auto">
          <a:xfrm>
            <a:off x="3840163" y="1912938"/>
            <a:ext cx="293687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I, GER </a:t>
            </a:r>
            <a:endParaRPr lang="de-DE">
              <a:cs typeface="ＭＳ Ｐゴシック"/>
            </a:endParaRPr>
          </a:p>
        </p:txBody>
      </p:sp>
      <p:sp>
        <p:nvSpPr>
          <p:cNvPr id="33931" name="Rectangle 408"/>
          <p:cNvSpPr>
            <a:spLocks noChangeArrowheads="1"/>
          </p:cNvSpPr>
          <p:nvPr/>
        </p:nvSpPr>
        <p:spPr bwMode="auto">
          <a:xfrm>
            <a:off x="3602038" y="2005013"/>
            <a:ext cx="342900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76 MW)</a:t>
            </a:r>
            <a:endParaRPr lang="de-DE">
              <a:cs typeface="ＭＳ Ｐゴシック"/>
            </a:endParaRPr>
          </a:p>
        </p:txBody>
      </p:sp>
      <p:pic>
        <p:nvPicPr>
          <p:cNvPr id="33932" name="Picture 40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71838" y="1906588"/>
            <a:ext cx="211137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3933" name="Group 412"/>
          <p:cNvGrpSpPr>
            <a:grpSpLocks/>
          </p:cNvGrpSpPr>
          <p:nvPr/>
        </p:nvGrpSpPr>
        <p:grpSpPr bwMode="auto">
          <a:xfrm>
            <a:off x="3244850" y="2259013"/>
            <a:ext cx="1233488" cy="280987"/>
            <a:chOff x="1286" y="1423"/>
            <a:chExt cx="777" cy="177"/>
          </a:xfrm>
        </p:grpSpPr>
        <p:sp>
          <p:nvSpPr>
            <p:cNvPr id="34206" name="Rectangle 410"/>
            <p:cNvSpPr>
              <a:spLocks noChangeArrowheads="1"/>
            </p:cNvSpPr>
            <p:nvPr/>
          </p:nvSpPr>
          <p:spPr bwMode="auto">
            <a:xfrm>
              <a:off x="1286" y="1423"/>
              <a:ext cx="777" cy="177"/>
            </a:xfrm>
            <a:prstGeom prst="rect">
              <a:avLst/>
            </a:prstGeom>
            <a:solidFill>
              <a:srgbClr val="BAE4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07" name="Rectangle 411"/>
            <p:cNvSpPr>
              <a:spLocks noChangeArrowheads="1"/>
            </p:cNvSpPr>
            <p:nvPr/>
          </p:nvSpPr>
          <p:spPr bwMode="auto">
            <a:xfrm>
              <a:off x="1286" y="1423"/>
              <a:ext cx="777" cy="177"/>
            </a:xfrm>
            <a:prstGeom prst="rect">
              <a:avLst/>
            </a:prstGeom>
            <a:noFill/>
            <a:ln w="9525" cap="rnd">
              <a:solidFill>
                <a:srgbClr val="009C8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3934" name="Rectangle 413"/>
          <p:cNvSpPr>
            <a:spLocks noChangeArrowheads="1"/>
          </p:cNvSpPr>
          <p:nvPr/>
        </p:nvSpPr>
        <p:spPr bwMode="auto">
          <a:xfrm>
            <a:off x="3602038" y="2316163"/>
            <a:ext cx="84137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Kriegers Flak I, GER </a:t>
            </a:r>
            <a:endParaRPr lang="de-DE">
              <a:cs typeface="ＭＳ Ｐゴシック"/>
            </a:endParaRPr>
          </a:p>
        </p:txBody>
      </p:sp>
      <p:sp>
        <p:nvSpPr>
          <p:cNvPr id="33935" name="Rectangle 414"/>
          <p:cNvSpPr>
            <a:spLocks noChangeArrowheads="1"/>
          </p:cNvSpPr>
          <p:nvPr/>
        </p:nvSpPr>
        <p:spPr bwMode="auto">
          <a:xfrm>
            <a:off x="3602038" y="2408238"/>
            <a:ext cx="392112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329 MW)</a:t>
            </a:r>
            <a:endParaRPr lang="de-DE">
              <a:cs typeface="ＭＳ Ｐゴシック"/>
            </a:endParaRPr>
          </a:p>
        </p:txBody>
      </p:sp>
      <p:pic>
        <p:nvPicPr>
          <p:cNvPr id="33936" name="Picture 41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71838" y="2298700"/>
            <a:ext cx="217487" cy="12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3937" name="Group 418"/>
          <p:cNvGrpSpPr>
            <a:grpSpLocks/>
          </p:cNvGrpSpPr>
          <p:nvPr/>
        </p:nvGrpSpPr>
        <p:grpSpPr bwMode="auto">
          <a:xfrm>
            <a:off x="1751013" y="1855788"/>
            <a:ext cx="1233487" cy="280987"/>
            <a:chOff x="345" y="1169"/>
            <a:chExt cx="777" cy="177"/>
          </a:xfrm>
        </p:grpSpPr>
        <p:sp>
          <p:nvSpPr>
            <p:cNvPr id="34204" name="Rectangle 416"/>
            <p:cNvSpPr>
              <a:spLocks noChangeArrowheads="1"/>
            </p:cNvSpPr>
            <p:nvPr/>
          </p:nvSpPr>
          <p:spPr bwMode="auto">
            <a:xfrm>
              <a:off x="345" y="1169"/>
              <a:ext cx="777" cy="177"/>
            </a:xfrm>
            <a:prstGeom prst="rect">
              <a:avLst/>
            </a:prstGeom>
            <a:solidFill>
              <a:srgbClr val="BAE4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05" name="Rectangle 417"/>
            <p:cNvSpPr>
              <a:spLocks noChangeArrowheads="1"/>
            </p:cNvSpPr>
            <p:nvPr/>
          </p:nvSpPr>
          <p:spPr bwMode="auto">
            <a:xfrm>
              <a:off x="345" y="1169"/>
              <a:ext cx="777" cy="177"/>
            </a:xfrm>
            <a:prstGeom prst="rect">
              <a:avLst/>
            </a:prstGeom>
            <a:noFill/>
            <a:ln w="9525" cap="rnd">
              <a:solidFill>
                <a:srgbClr val="009C8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3938" name="Rectangle 419"/>
          <p:cNvSpPr>
            <a:spLocks noChangeArrowheads="1"/>
          </p:cNvSpPr>
          <p:nvPr/>
        </p:nvSpPr>
        <p:spPr bwMode="auto">
          <a:xfrm>
            <a:off x="2108200" y="1912938"/>
            <a:ext cx="49212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HochseeWP</a:t>
            </a:r>
            <a:endParaRPr lang="de-DE">
              <a:cs typeface="ＭＳ Ｐゴシック"/>
            </a:endParaRPr>
          </a:p>
        </p:txBody>
      </p:sp>
      <p:sp>
        <p:nvSpPr>
          <p:cNvPr id="33939" name="Rectangle 420"/>
          <p:cNvSpPr>
            <a:spLocks noChangeArrowheads="1"/>
          </p:cNvSpPr>
          <p:nvPr/>
        </p:nvSpPr>
        <p:spPr bwMode="auto">
          <a:xfrm>
            <a:off x="2616200" y="1912938"/>
            <a:ext cx="192088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Nord</a:t>
            </a:r>
            <a:endParaRPr lang="de-DE">
              <a:cs typeface="ＭＳ Ｐゴシック"/>
            </a:endParaRPr>
          </a:p>
        </p:txBody>
      </p:sp>
      <p:sp>
        <p:nvSpPr>
          <p:cNvPr id="33940" name="Rectangle 421"/>
          <p:cNvSpPr>
            <a:spLocks noChangeArrowheads="1"/>
          </p:cNvSpPr>
          <p:nvPr/>
        </p:nvSpPr>
        <p:spPr bwMode="auto">
          <a:xfrm>
            <a:off x="2803525" y="1912938"/>
            <a:ext cx="3016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-</a:t>
            </a:r>
            <a:endParaRPr lang="de-DE">
              <a:cs typeface="ＭＳ Ｐゴシック"/>
            </a:endParaRPr>
          </a:p>
        </p:txBody>
      </p:sp>
      <p:sp>
        <p:nvSpPr>
          <p:cNvPr id="33941" name="Rectangle 422"/>
          <p:cNvSpPr>
            <a:spLocks noChangeArrowheads="1"/>
          </p:cNvSpPr>
          <p:nvPr/>
        </p:nvSpPr>
        <p:spPr bwMode="auto">
          <a:xfrm>
            <a:off x="2108200" y="2005013"/>
            <a:ext cx="14287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see</a:t>
            </a:r>
            <a:endParaRPr lang="de-DE">
              <a:cs typeface="ＭＳ Ｐゴシック"/>
            </a:endParaRPr>
          </a:p>
        </p:txBody>
      </p:sp>
      <p:sp>
        <p:nvSpPr>
          <p:cNvPr id="33942" name="Rectangle 423"/>
          <p:cNvSpPr>
            <a:spLocks noChangeArrowheads="1"/>
          </p:cNvSpPr>
          <p:nvPr/>
        </p:nvSpPr>
        <p:spPr bwMode="auto">
          <a:xfrm>
            <a:off x="2247900" y="2005013"/>
            <a:ext cx="660400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, GER (400 MW)</a:t>
            </a:r>
            <a:endParaRPr lang="de-DE">
              <a:cs typeface="ＭＳ Ｐゴシック"/>
            </a:endParaRPr>
          </a:p>
        </p:txBody>
      </p:sp>
      <p:pic>
        <p:nvPicPr>
          <p:cNvPr id="33943" name="Picture 42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79588" y="1895475"/>
            <a:ext cx="215900" cy="12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3944" name="Group 427"/>
          <p:cNvGrpSpPr>
            <a:grpSpLocks/>
          </p:cNvGrpSpPr>
          <p:nvPr/>
        </p:nvGrpSpPr>
        <p:grpSpPr bwMode="auto">
          <a:xfrm>
            <a:off x="1751013" y="2259013"/>
            <a:ext cx="1233487" cy="280987"/>
            <a:chOff x="345" y="1423"/>
            <a:chExt cx="777" cy="177"/>
          </a:xfrm>
        </p:grpSpPr>
        <p:sp>
          <p:nvSpPr>
            <p:cNvPr id="34202" name="Rectangle 425"/>
            <p:cNvSpPr>
              <a:spLocks noChangeArrowheads="1"/>
            </p:cNvSpPr>
            <p:nvPr/>
          </p:nvSpPr>
          <p:spPr bwMode="auto">
            <a:xfrm>
              <a:off x="345" y="1423"/>
              <a:ext cx="777" cy="177"/>
            </a:xfrm>
            <a:prstGeom prst="rect">
              <a:avLst/>
            </a:prstGeom>
            <a:solidFill>
              <a:srgbClr val="BAE4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03" name="Rectangle 426"/>
            <p:cNvSpPr>
              <a:spLocks noChangeArrowheads="1"/>
            </p:cNvSpPr>
            <p:nvPr/>
          </p:nvSpPr>
          <p:spPr bwMode="auto">
            <a:xfrm>
              <a:off x="345" y="1423"/>
              <a:ext cx="777" cy="177"/>
            </a:xfrm>
            <a:prstGeom prst="rect">
              <a:avLst/>
            </a:prstGeom>
            <a:noFill/>
            <a:ln w="9525" cap="rnd">
              <a:solidFill>
                <a:srgbClr val="009C8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3945" name="Rectangle 428"/>
          <p:cNvSpPr>
            <a:spLocks noChangeArrowheads="1"/>
          </p:cNvSpPr>
          <p:nvPr/>
        </p:nvSpPr>
        <p:spPr bwMode="auto">
          <a:xfrm>
            <a:off x="2108200" y="2316163"/>
            <a:ext cx="1381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He </a:t>
            </a:r>
            <a:endParaRPr lang="de-DE">
              <a:cs typeface="ＭＳ Ｐゴシック"/>
            </a:endParaRPr>
          </a:p>
        </p:txBody>
      </p:sp>
      <p:sp>
        <p:nvSpPr>
          <p:cNvPr id="33946" name="Rectangle 429"/>
          <p:cNvSpPr>
            <a:spLocks noChangeArrowheads="1"/>
          </p:cNvSpPr>
          <p:nvPr/>
        </p:nvSpPr>
        <p:spPr bwMode="auto">
          <a:xfrm>
            <a:off x="2243138" y="2316163"/>
            <a:ext cx="236537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Dreiht</a:t>
            </a:r>
            <a:endParaRPr lang="de-DE">
              <a:cs typeface="ＭＳ Ｐゴシック"/>
            </a:endParaRPr>
          </a:p>
        </p:txBody>
      </p:sp>
      <p:sp>
        <p:nvSpPr>
          <p:cNvPr id="33947" name="Rectangle 430"/>
          <p:cNvSpPr>
            <a:spLocks noChangeArrowheads="1"/>
          </p:cNvSpPr>
          <p:nvPr/>
        </p:nvSpPr>
        <p:spPr bwMode="auto">
          <a:xfrm>
            <a:off x="2474913" y="2316163"/>
            <a:ext cx="268287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, GER </a:t>
            </a:r>
            <a:endParaRPr lang="de-DE">
              <a:cs typeface="ＭＳ Ｐゴシック"/>
            </a:endParaRPr>
          </a:p>
        </p:txBody>
      </p:sp>
      <p:sp>
        <p:nvSpPr>
          <p:cNvPr id="33948" name="Rectangle 431"/>
          <p:cNvSpPr>
            <a:spLocks noChangeArrowheads="1"/>
          </p:cNvSpPr>
          <p:nvPr/>
        </p:nvSpPr>
        <p:spPr bwMode="auto">
          <a:xfrm>
            <a:off x="2108200" y="2408238"/>
            <a:ext cx="3921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595 MW)</a:t>
            </a:r>
            <a:endParaRPr lang="de-DE">
              <a:cs typeface="ＭＳ Ｐゴシック"/>
            </a:endParaRPr>
          </a:p>
        </p:txBody>
      </p:sp>
      <p:pic>
        <p:nvPicPr>
          <p:cNvPr id="33949" name="Picture 43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79588" y="2295525"/>
            <a:ext cx="215900" cy="12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3950" name="Group 435"/>
          <p:cNvGrpSpPr>
            <a:grpSpLocks/>
          </p:cNvGrpSpPr>
          <p:nvPr/>
        </p:nvGrpSpPr>
        <p:grpSpPr bwMode="auto">
          <a:xfrm>
            <a:off x="4668838" y="1855788"/>
            <a:ext cx="1233487" cy="280987"/>
            <a:chOff x="2183" y="1169"/>
            <a:chExt cx="777" cy="177"/>
          </a:xfrm>
        </p:grpSpPr>
        <p:sp>
          <p:nvSpPr>
            <p:cNvPr id="34200" name="Rectangle 433"/>
            <p:cNvSpPr>
              <a:spLocks noChangeArrowheads="1"/>
            </p:cNvSpPr>
            <p:nvPr/>
          </p:nvSpPr>
          <p:spPr bwMode="auto">
            <a:xfrm>
              <a:off x="2183" y="1169"/>
              <a:ext cx="777" cy="177"/>
            </a:xfrm>
            <a:prstGeom prst="rect">
              <a:avLst/>
            </a:prstGeom>
            <a:solidFill>
              <a:srgbClr val="D8E0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201" name="Rectangle 434"/>
            <p:cNvSpPr>
              <a:spLocks noChangeArrowheads="1"/>
            </p:cNvSpPr>
            <p:nvPr/>
          </p:nvSpPr>
          <p:spPr bwMode="auto">
            <a:xfrm>
              <a:off x="2183" y="1169"/>
              <a:ext cx="777" cy="177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3951" name="Rectangle 436"/>
          <p:cNvSpPr>
            <a:spLocks noChangeArrowheads="1"/>
          </p:cNvSpPr>
          <p:nvPr/>
        </p:nvSpPr>
        <p:spPr bwMode="auto">
          <a:xfrm>
            <a:off x="5027613" y="1912938"/>
            <a:ext cx="674687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Kriegers Flak III, </a:t>
            </a:r>
            <a:endParaRPr lang="de-DE">
              <a:cs typeface="ＭＳ Ｐゴシック"/>
            </a:endParaRPr>
          </a:p>
        </p:txBody>
      </p:sp>
      <p:sp>
        <p:nvSpPr>
          <p:cNvPr id="33952" name="Rectangle 437"/>
          <p:cNvSpPr>
            <a:spLocks noChangeArrowheads="1"/>
          </p:cNvSpPr>
          <p:nvPr/>
        </p:nvSpPr>
        <p:spPr bwMode="auto">
          <a:xfrm>
            <a:off x="5027613" y="2005013"/>
            <a:ext cx="603250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DAN (455 MW)</a:t>
            </a:r>
            <a:endParaRPr lang="de-DE">
              <a:cs typeface="ＭＳ Ｐゴシック"/>
            </a:endParaRPr>
          </a:p>
        </p:txBody>
      </p:sp>
      <p:pic>
        <p:nvPicPr>
          <p:cNvPr id="33953" name="Picture 438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99000" y="1895475"/>
            <a:ext cx="20796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3954" name="Group 441"/>
          <p:cNvGrpSpPr>
            <a:grpSpLocks/>
          </p:cNvGrpSpPr>
          <p:nvPr/>
        </p:nvGrpSpPr>
        <p:grpSpPr bwMode="auto">
          <a:xfrm>
            <a:off x="6089650" y="2259013"/>
            <a:ext cx="1233488" cy="280987"/>
            <a:chOff x="3078" y="1423"/>
            <a:chExt cx="777" cy="177"/>
          </a:xfrm>
        </p:grpSpPr>
        <p:sp>
          <p:nvSpPr>
            <p:cNvPr id="34198" name="Rectangle 439"/>
            <p:cNvSpPr>
              <a:spLocks noChangeArrowheads="1"/>
            </p:cNvSpPr>
            <p:nvPr/>
          </p:nvSpPr>
          <p:spPr bwMode="auto">
            <a:xfrm>
              <a:off x="3078" y="1423"/>
              <a:ext cx="777" cy="177"/>
            </a:xfrm>
            <a:prstGeom prst="rect">
              <a:avLst/>
            </a:prstGeom>
            <a:solidFill>
              <a:srgbClr val="D8E0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99" name="Rectangle 440"/>
            <p:cNvSpPr>
              <a:spLocks noChangeArrowheads="1"/>
            </p:cNvSpPr>
            <p:nvPr/>
          </p:nvSpPr>
          <p:spPr bwMode="auto">
            <a:xfrm>
              <a:off x="3078" y="1423"/>
              <a:ext cx="777" cy="177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3955" name="Rectangle 442"/>
          <p:cNvSpPr>
            <a:spLocks noChangeArrowheads="1"/>
          </p:cNvSpPr>
          <p:nvPr/>
        </p:nvSpPr>
        <p:spPr bwMode="auto">
          <a:xfrm>
            <a:off x="6446838" y="2316163"/>
            <a:ext cx="23177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Korsn</a:t>
            </a:r>
            <a:endParaRPr lang="de-DE">
              <a:cs typeface="ＭＳ Ｐゴシック"/>
            </a:endParaRPr>
          </a:p>
        </p:txBody>
      </p:sp>
      <p:sp>
        <p:nvSpPr>
          <p:cNvPr id="33956" name="Rectangle 443"/>
          <p:cNvSpPr>
            <a:spLocks noChangeArrowheads="1"/>
          </p:cNvSpPr>
          <p:nvPr/>
        </p:nvSpPr>
        <p:spPr bwMode="auto">
          <a:xfrm>
            <a:off x="6672263" y="2316163"/>
            <a:ext cx="49212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ä</a:t>
            </a:r>
            <a:endParaRPr lang="de-DE">
              <a:cs typeface="ＭＳ Ｐゴシック"/>
            </a:endParaRPr>
          </a:p>
        </p:txBody>
      </p:sp>
      <p:sp>
        <p:nvSpPr>
          <p:cNvPr id="33957" name="Rectangle 444"/>
          <p:cNvSpPr>
            <a:spLocks noChangeArrowheads="1"/>
          </p:cNvSpPr>
          <p:nvPr/>
        </p:nvSpPr>
        <p:spPr bwMode="auto">
          <a:xfrm>
            <a:off x="6721475" y="2316163"/>
            <a:ext cx="44450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s</a:t>
            </a:r>
            <a:endParaRPr lang="de-DE">
              <a:cs typeface="ＭＳ Ｐゴシック"/>
            </a:endParaRPr>
          </a:p>
        </p:txBody>
      </p:sp>
      <p:sp>
        <p:nvSpPr>
          <p:cNvPr id="33958" name="Rectangle 445"/>
          <p:cNvSpPr>
            <a:spLocks noChangeArrowheads="1"/>
          </p:cNvSpPr>
          <p:nvPr/>
        </p:nvSpPr>
        <p:spPr bwMode="auto">
          <a:xfrm>
            <a:off x="6765925" y="2316163"/>
            <a:ext cx="19367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, FIN</a:t>
            </a:r>
            <a:endParaRPr lang="de-DE">
              <a:cs typeface="ＭＳ Ｐゴシック"/>
            </a:endParaRPr>
          </a:p>
        </p:txBody>
      </p:sp>
      <p:sp>
        <p:nvSpPr>
          <p:cNvPr id="33959" name="Rectangle 446"/>
          <p:cNvSpPr>
            <a:spLocks noChangeArrowheads="1"/>
          </p:cNvSpPr>
          <p:nvPr/>
        </p:nvSpPr>
        <p:spPr bwMode="auto">
          <a:xfrm>
            <a:off x="6446838" y="2408238"/>
            <a:ext cx="569912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600-800 MW)</a:t>
            </a:r>
            <a:endParaRPr lang="de-DE">
              <a:cs typeface="ＭＳ Ｐゴシック"/>
            </a:endParaRPr>
          </a:p>
        </p:txBody>
      </p:sp>
      <p:grpSp>
        <p:nvGrpSpPr>
          <p:cNvPr id="33960" name="Group 449"/>
          <p:cNvGrpSpPr>
            <a:grpSpLocks/>
          </p:cNvGrpSpPr>
          <p:nvPr/>
        </p:nvGrpSpPr>
        <p:grpSpPr bwMode="auto">
          <a:xfrm>
            <a:off x="6116638" y="2295525"/>
            <a:ext cx="230187" cy="138113"/>
            <a:chOff x="3095" y="1446"/>
            <a:chExt cx="145" cy="87"/>
          </a:xfrm>
        </p:grpSpPr>
        <p:pic>
          <p:nvPicPr>
            <p:cNvPr id="34196" name="Picture 447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098" y="1448"/>
              <a:ext cx="142" cy="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97" name="Rectangle 448"/>
            <p:cNvSpPr>
              <a:spLocks noChangeArrowheads="1"/>
            </p:cNvSpPr>
            <p:nvPr/>
          </p:nvSpPr>
          <p:spPr bwMode="auto">
            <a:xfrm>
              <a:off x="3095" y="1446"/>
              <a:ext cx="145" cy="87"/>
            </a:xfrm>
            <a:prstGeom prst="rect">
              <a:avLst/>
            </a:prstGeom>
            <a:noFill/>
            <a:ln w="3175" cap="rnd">
              <a:solidFill>
                <a:srgbClr val="C0C0C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61" name="Group 452"/>
          <p:cNvGrpSpPr>
            <a:grpSpLocks/>
          </p:cNvGrpSpPr>
          <p:nvPr/>
        </p:nvGrpSpPr>
        <p:grpSpPr bwMode="auto">
          <a:xfrm>
            <a:off x="6080125" y="1855788"/>
            <a:ext cx="1233488" cy="280987"/>
            <a:chOff x="3072" y="1169"/>
            <a:chExt cx="777" cy="177"/>
          </a:xfrm>
        </p:grpSpPr>
        <p:sp>
          <p:nvSpPr>
            <p:cNvPr id="34194" name="Rectangle 450"/>
            <p:cNvSpPr>
              <a:spLocks noChangeArrowheads="1"/>
            </p:cNvSpPr>
            <p:nvPr/>
          </p:nvSpPr>
          <p:spPr bwMode="auto">
            <a:xfrm>
              <a:off x="3072" y="1169"/>
              <a:ext cx="777" cy="177"/>
            </a:xfrm>
            <a:prstGeom prst="rect">
              <a:avLst/>
            </a:prstGeom>
            <a:solidFill>
              <a:srgbClr val="FFEC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95" name="Rectangle 451"/>
            <p:cNvSpPr>
              <a:spLocks noChangeArrowheads="1"/>
            </p:cNvSpPr>
            <p:nvPr/>
          </p:nvSpPr>
          <p:spPr bwMode="auto">
            <a:xfrm>
              <a:off x="3072" y="1169"/>
              <a:ext cx="777" cy="177"/>
            </a:xfrm>
            <a:prstGeom prst="rect">
              <a:avLst/>
            </a:prstGeom>
            <a:noFill/>
            <a:ln w="9525" cap="rnd">
              <a:solidFill>
                <a:srgbClr val="FFCE5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3962" name="Rectangle 453"/>
          <p:cNvSpPr>
            <a:spLocks noChangeArrowheads="1"/>
          </p:cNvSpPr>
          <p:nvPr/>
        </p:nvSpPr>
        <p:spPr bwMode="auto">
          <a:xfrm>
            <a:off x="6438900" y="1912938"/>
            <a:ext cx="4429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Suurhiekka</a:t>
            </a:r>
            <a:endParaRPr lang="de-DE">
              <a:cs typeface="ＭＳ Ｐゴシック"/>
            </a:endParaRPr>
          </a:p>
        </p:txBody>
      </p:sp>
      <p:sp>
        <p:nvSpPr>
          <p:cNvPr id="33963" name="Rectangle 454"/>
          <p:cNvSpPr>
            <a:spLocks noChangeArrowheads="1"/>
          </p:cNvSpPr>
          <p:nvPr/>
        </p:nvSpPr>
        <p:spPr bwMode="auto">
          <a:xfrm>
            <a:off x="6872288" y="1912938"/>
            <a:ext cx="19367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, FIN</a:t>
            </a:r>
            <a:endParaRPr lang="de-DE">
              <a:cs typeface="ＭＳ Ｐゴシック"/>
            </a:endParaRPr>
          </a:p>
        </p:txBody>
      </p:sp>
      <p:sp>
        <p:nvSpPr>
          <p:cNvPr id="33964" name="Rectangle 455"/>
          <p:cNvSpPr>
            <a:spLocks noChangeArrowheads="1"/>
          </p:cNvSpPr>
          <p:nvPr/>
        </p:nvSpPr>
        <p:spPr bwMode="auto">
          <a:xfrm>
            <a:off x="6438900" y="2005013"/>
            <a:ext cx="5699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400-600 MW)</a:t>
            </a:r>
            <a:endParaRPr lang="de-DE">
              <a:cs typeface="ＭＳ Ｐゴシック"/>
            </a:endParaRPr>
          </a:p>
        </p:txBody>
      </p:sp>
      <p:grpSp>
        <p:nvGrpSpPr>
          <p:cNvPr id="33965" name="Group 458"/>
          <p:cNvGrpSpPr>
            <a:grpSpLocks/>
          </p:cNvGrpSpPr>
          <p:nvPr/>
        </p:nvGrpSpPr>
        <p:grpSpPr bwMode="auto">
          <a:xfrm>
            <a:off x="6116638" y="1893888"/>
            <a:ext cx="230187" cy="138112"/>
            <a:chOff x="3095" y="1193"/>
            <a:chExt cx="145" cy="87"/>
          </a:xfrm>
        </p:grpSpPr>
        <p:pic>
          <p:nvPicPr>
            <p:cNvPr id="34192" name="Picture 456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098" y="1195"/>
              <a:ext cx="142" cy="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93" name="Rectangle 457"/>
            <p:cNvSpPr>
              <a:spLocks noChangeArrowheads="1"/>
            </p:cNvSpPr>
            <p:nvPr/>
          </p:nvSpPr>
          <p:spPr bwMode="auto">
            <a:xfrm>
              <a:off x="3095" y="1193"/>
              <a:ext cx="145" cy="87"/>
            </a:xfrm>
            <a:prstGeom prst="rect">
              <a:avLst/>
            </a:prstGeom>
            <a:noFill/>
            <a:ln w="3175" cap="rnd">
              <a:solidFill>
                <a:srgbClr val="C0C0C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3966" name="Group 461"/>
          <p:cNvGrpSpPr>
            <a:grpSpLocks/>
          </p:cNvGrpSpPr>
          <p:nvPr/>
        </p:nvGrpSpPr>
        <p:grpSpPr bwMode="auto">
          <a:xfrm>
            <a:off x="6080125" y="3919538"/>
            <a:ext cx="1233488" cy="280987"/>
            <a:chOff x="3072" y="2469"/>
            <a:chExt cx="777" cy="177"/>
          </a:xfrm>
        </p:grpSpPr>
        <p:sp>
          <p:nvSpPr>
            <p:cNvPr id="34190" name="Rectangle 459"/>
            <p:cNvSpPr>
              <a:spLocks noChangeArrowheads="1"/>
            </p:cNvSpPr>
            <p:nvPr/>
          </p:nvSpPr>
          <p:spPr bwMode="auto">
            <a:xfrm>
              <a:off x="3072" y="2469"/>
              <a:ext cx="777" cy="177"/>
            </a:xfrm>
            <a:prstGeom prst="rect">
              <a:avLst/>
            </a:prstGeom>
            <a:solidFill>
              <a:srgbClr val="D8E0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91" name="Rectangle 460"/>
            <p:cNvSpPr>
              <a:spLocks noChangeArrowheads="1"/>
            </p:cNvSpPr>
            <p:nvPr/>
          </p:nvSpPr>
          <p:spPr bwMode="auto">
            <a:xfrm>
              <a:off x="3072" y="2469"/>
              <a:ext cx="777" cy="177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3967" name="Rectangle 462"/>
          <p:cNvSpPr>
            <a:spLocks noChangeArrowheads="1"/>
          </p:cNvSpPr>
          <p:nvPr/>
        </p:nvSpPr>
        <p:spPr bwMode="auto">
          <a:xfrm>
            <a:off x="6438900" y="3975100"/>
            <a:ext cx="241300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Klockt</a:t>
            </a:r>
            <a:endParaRPr lang="de-DE">
              <a:cs typeface="ＭＳ Ｐゴシック"/>
            </a:endParaRPr>
          </a:p>
        </p:txBody>
      </p:sp>
      <p:sp>
        <p:nvSpPr>
          <p:cNvPr id="33968" name="Rectangle 463"/>
          <p:cNvSpPr>
            <a:spLocks noChangeArrowheads="1"/>
          </p:cNvSpPr>
          <p:nvPr/>
        </p:nvSpPr>
        <p:spPr bwMode="auto">
          <a:xfrm>
            <a:off x="6675438" y="3975100"/>
            <a:ext cx="49212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ä</a:t>
            </a:r>
            <a:endParaRPr lang="de-DE">
              <a:cs typeface="ＭＳ Ｐゴシック"/>
            </a:endParaRPr>
          </a:p>
        </p:txBody>
      </p:sp>
      <p:sp>
        <p:nvSpPr>
          <p:cNvPr id="33969" name="Rectangle 464"/>
          <p:cNvSpPr>
            <a:spLocks noChangeArrowheads="1"/>
          </p:cNvSpPr>
          <p:nvPr/>
        </p:nvSpPr>
        <p:spPr bwMode="auto">
          <a:xfrm>
            <a:off x="6723063" y="3975100"/>
            <a:ext cx="177800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rnan</a:t>
            </a:r>
            <a:endParaRPr lang="de-DE">
              <a:cs typeface="ＭＳ Ｐゴシック"/>
            </a:endParaRPr>
          </a:p>
        </p:txBody>
      </p:sp>
      <p:sp>
        <p:nvSpPr>
          <p:cNvPr id="33970" name="Rectangle 465"/>
          <p:cNvSpPr>
            <a:spLocks noChangeArrowheads="1"/>
          </p:cNvSpPr>
          <p:nvPr/>
        </p:nvSpPr>
        <p:spPr bwMode="auto">
          <a:xfrm>
            <a:off x="6894513" y="3975100"/>
            <a:ext cx="238125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**, SE</a:t>
            </a:r>
            <a:endParaRPr lang="de-DE">
              <a:cs typeface="ＭＳ Ｐゴシック"/>
            </a:endParaRPr>
          </a:p>
        </p:txBody>
      </p:sp>
      <p:sp>
        <p:nvSpPr>
          <p:cNvPr id="33971" name="Rectangle 466"/>
          <p:cNvSpPr>
            <a:spLocks noChangeArrowheads="1"/>
          </p:cNvSpPr>
          <p:nvPr/>
        </p:nvSpPr>
        <p:spPr bwMode="auto">
          <a:xfrm>
            <a:off x="6438900" y="4068763"/>
            <a:ext cx="3921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660 MW)</a:t>
            </a:r>
            <a:endParaRPr lang="de-DE">
              <a:cs typeface="ＭＳ Ｐゴシック"/>
            </a:endParaRPr>
          </a:p>
        </p:txBody>
      </p:sp>
      <p:pic>
        <p:nvPicPr>
          <p:cNvPr id="33972" name="Picture 46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110288" y="3960813"/>
            <a:ext cx="207962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3973" name="Group 470"/>
          <p:cNvGrpSpPr>
            <a:grpSpLocks/>
          </p:cNvGrpSpPr>
          <p:nvPr/>
        </p:nvGrpSpPr>
        <p:grpSpPr bwMode="auto">
          <a:xfrm>
            <a:off x="6080125" y="3090863"/>
            <a:ext cx="1233488" cy="280987"/>
            <a:chOff x="3072" y="1947"/>
            <a:chExt cx="777" cy="177"/>
          </a:xfrm>
        </p:grpSpPr>
        <p:sp>
          <p:nvSpPr>
            <p:cNvPr id="34188" name="Rectangle 468"/>
            <p:cNvSpPr>
              <a:spLocks noChangeArrowheads="1"/>
            </p:cNvSpPr>
            <p:nvPr/>
          </p:nvSpPr>
          <p:spPr bwMode="auto">
            <a:xfrm>
              <a:off x="3072" y="1947"/>
              <a:ext cx="777" cy="177"/>
            </a:xfrm>
            <a:prstGeom prst="rect">
              <a:avLst/>
            </a:prstGeom>
            <a:solidFill>
              <a:srgbClr val="FFEC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89" name="Rectangle 469"/>
            <p:cNvSpPr>
              <a:spLocks noChangeArrowheads="1"/>
            </p:cNvSpPr>
            <p:nvPr/>
          </p:nvSpPr>
          <p:spPr bwMode="auto">
            <a:xfrm>
              <a:off x="3072" y="1947"/>
              <a:ext cx="777" cy="177"/>
            </a:xfrm>
            <a:prstGeom prst="rect">
              <a:avLst/>
            </a:prstGeom>
            <a:noFill/>
            <a:ln w="9525" cap="rnd">
              <a:solidFill>
                <a:srgbClr val="FFCE5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3974" name="Rectangle 471"/>
          <p:cNvSpPr>
            <a:spLocks noChangeArrowheads="1"/>
          </p:cNvSpPr>
          <p:nvPr/>
        </p:nvSpPr>
        <p:spPr bwMode="auto">
          <a:xfrm>
            <a:off x="6438900" y="3148013"/>
            <a:ext cx="465138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Storgrundet</a:t>
            </a:r>
            <a:endParaRPr lang="de-DE">
              <a:cs typeface="ＭＳ Ｐゴシック"/>
            </a:endParaRPr>
          </a:p>
        </p:txBody>
      </p:sp>
      <p:sp>
        <p:nvSpPr>
          <p:cNvPr id="33975" name="Rectangle 472"/>
          <p:cNvSpPr>
            <a:spLocks noChangeArrowheads="1"/>
          </p:cNvSpPr>
          <p:nvPr/>
        </p:nvSpPr>
        <p:spPr bwMode="auto">
          <a:xfrm>
            <a:off x="6891338" y="3148013"/>
            <a:ext cx="26352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**,  SE</a:t>
            </a:r>
            <a:endParaRPr lang="de-DE">
              <a:cs typeface="ＭＳ Ｐゴシック"/>
            </a:endParaRPr>
          </a:p>
        </p:txBody>
      </p:sp>
      <p:sp>
        <p:nvSpPr>
          <p:cNvPr id="33976" name="Rectangle 473"/>
          <p:cNvSpPr>
            <a:spLocks noChangeArrowheads="1"/>
          </p:cNvSpPr>
          <p:nvPr/>
        </p:nvSpPr>
        <p:spPr bwMode="auto">
          <a:xfrm>
            <a:off x="6438900" y="3241675"/>
            <a:ext cx="569913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230-265 MW)</a:t>
            </a:r>
            <a:endParaRPr lang="de-DE">
              <a:cs typeface="ＭＳ Ｐゴシック"/>
            </a:endParaRPr>
          </a:p>
        </p:txBody>
      </p:sp>
      <p:pic>
        <p:nvPicPr>
          <p:cNvPr id="33977" name="Picture 47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110288" y="3130550"/>
            <a:ext cx="207962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3978" name="Group 477"/>
          <p:cNvGrpSpPr>
            <a:grpSpLocks/>
          </p:cNvGrpSpPr>
          <p:nvPr/>
        </p:nvGrpSpPr>
        <p:grpSpPr bwMode="auto">
          <a:xfrm>
            <a:off x="6080125" y="3506788"/>
            <a:ext cx="1233488" cy="279400"/>
            <a:chOff x="3072" y="2209"/>
            <a:chExt cx="777" cy="176"/>
          </a:xfrm>
        </p:grpSpPr>
        <p:sp>
          <p:nvSpPr>
            <p:cNvPr id="34186" name="Rectangle 475"/>
            <p:cNvSpPr>
              <a:spLocks noChangeArrowheads="1"/>
            </p:cNvSpPr>
            <p:nvPr/>
          </p:nvSpPr>
          <p:spPr bwMode="auto">
            <a:xfrm>
              <a:off x="3072" y="2209"/>
              <a:ext cx="777" cy="176"/>
            </a:xfrm>
            <a:prstGeom prst="rect">
              <a:avLst/>
            </a:prstGeom>
            <a:solidFill>
              <a:srgbClr val="FFEC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87" name="Rectangle 476"/>
            <p:cNvSpPr>
              <a:spLocks noChangeArrowheads="1"/>
            </p:cNvSpPr>
            <p:nvPr/>
          </p:nvSpPr>
          <p:spPr bwMode="auto">
            <a:xfrm>
              <a:off x="3072" y="2209"/>
              <a:ext cx="777" cy="176"/>
            </a:xfrm>
            <a:prstGeom prst="rect">
              <a:avLst/>
            </a:prstGeom>
            <a:noFill/>
            <a:ln w="9525" cap="rnd">
              <a:solidFill>
                <a:srgbClr val="FFCE5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3979" name="Rectangle 478"/>
          <p:cNvSpPr>
            <a:spLocks noChangeArrowheads="1"/>
          </p:cNvSpPr>
          <p:nvPr/>
        </p:nvSpPr>
        <p:spPr bwMode="auto">
          <a:xfrm>
            <a:off x="6438900" y="3562350"/>
            <a:ext cx="496888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Finngrunden</a:t>
            </a:r>
            <a:endParaRPr lang="de-DE">
              <a:cs typeface="ＭＳ Ｐゴシック"/>
            </a:endParaRPr>
          </a:p>
        </p:txBody>
      </p:sp>
      <p:sp>
        <p:nvSpPr>
          <p:cNvPr id="33980" name="Rectangle 479"/>
          <p:cNvSpPr>
            <a:spLocks noChangeArrowheads="1"/>
          </p:cNvSpPr>
          <p:nvPr/>
        </p:nvSpPr>
        <p:spPr bwMode="auto">
          <a:xfrm>
            <a:off x="6924675" y="3562350"/>
            <a:ext cx="193675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, SE </a:t>
            </a:r>
            <a:endParaRPr lang="de-DE">
              <a:cs typeface="ＭＳ Ｐゴシック"/>
            </a:endParaRPr>
          </a:p>
        </p:txBody>
      </p:sp>
      <p:sp>
        <p:nvSpPr>
          <p:cNvPr id="33981" name="Rectangle 480"/>
          <p:cNvSpPr>
            <a:spLocks noChangeArrowheads="1"/>
          </p:cNvSpPr>
          <p:nvPr/>
        </p:nvSpPr>
        <p:spPr bwMode="auto">
          <a:xfrm>
            <a:off x="6438900" y="3656013"/>
            <a:ext cx="2524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1,300</a:t>
            </a:r>
            <a:endParaRPr lang="de-DE">
              <a:cs typeface="ＭＳ Ｐゴシック"/>
            </a:endParaRPr>
          </a:p>
        </p:txBody>
      </p:sp>
      <p:sp>
        <p:nvSpPr>
          <p:cNvPr id="33982" name="Rectangle 481"/>
          <p:cNvSpPr>
            <a:spLocks noChangeArrowheads="1"/>
          </p:cNvSpPr>
          <p:nvPr/>
        </p:nvSpPr>
        <p:spPr bwMode="auto">
          <a:xfrm>
            <a:off x="6684963" y="3656013"/>
            <a:ext cx="30162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-</a:t>
            </a:r>
            <a:endParaRPr lang="de-DE">
              <a:cs typeface="ＭＳ Ｐゴシック"/>
            </a:endParaRPr>
          </a:p>
        </p:txBody>
      </p:sp>
      <p:sp>
        <p:nvSpPr>
          <p:cNvPr id="33983" name="Rectangle 482"/>
          <p:cNvSpPr>
            <a:spLocks noChangeArrowheads="1"/>
          </p:cNvSpPr>
          <p:nvPr/>
        </p:nvSpPr>
        <p:spPr bwMode="auto">
          <a:xfrm>
            <a:off x="6715125" y="3656013"/>
            <a:ext cx="43656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1,400 MW)</a:t>
            </a:r>
            <a:endParaRPr lang="de-DE">
              <a:cs typeface="ＭＳ Ｐゴシック"/>
            </a:endParaRPr>
          </a:p>
        </p:txBody>
      </p:sp>
      <p:pic>
        <p:nvPicPr>
          <p:cNvPr id="33984" name="Picture 48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110288" y="3541713"/>
            <a:ext cx="207962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3985" name="Group 486"/>
          <p:cNvGrpSpPr>
            <a:grpSpLocks/>
          </p:cNvGrpSpPr>
          <p:nvPr/>
        </p:nvGrpSpPr>
        <p:grpSpPr bwMode="auto">
          <a:xfrm>
            <a:off x="6091238" y="2663825"/>
            <a:ext cx="1233487" cy="280988"/>
            <a:chOff x="3079" y="1678"/>
            <a:chExt cx="777" cy="177"/>
          </a:xfrm>
        </p:grpSpPr>
        <p:sp>
          <p:nvSpPr>
            <p:cNvPr id="34184" name="Rectangle 484"/>
            <p:cNvSpPr>
              <a:spLocks noChangeArrowheads="1"/>
            </p:cNvSpPr>
            <p:nvPr/>
          </p:nvSpPr>
          <p:spPr bwMode="auto">
            <a:xfrm>
              <a:off x="3079" y="1678"/>
              <a:ext cx="777" cy="177"/>
            </a:xfrm>
            <a:prstGeom prst="rect">
              <a:avLst/>
            </a:prstGeom>
            <a:solidFill>
              <a:srgbClr val="BAE4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85" name="Rectangle 485"/>
            <p:cNvSpPr>
              <a:spLocks noChangeArrowheads="1"/>
            </p:cNvSpPr>
            <p:nvPr/>
          </p:nvSpPr>
          <p:spPr bwMode="auto">
            <a:xfrm>
              <a:off x="3079" y="1678"/>
              <a:ext cx="777" cy="177"/>
            </a:xfrm>
            <a:prstGeom prst="rect">
              <a:avLst/>
            </a:prstGeom>
            <a:noFill/>
            <a:ln w="9525" cap="rnd">
              <a:solidFill>
                <a:srgbClr val="009C8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3986" name="Rectangle 487"/>
          <p:cNvSpPr>
            <a:spLocks noChangeArrowheads="1"/>
          </p:cNvSpPr>
          <p:nvPr/>
        </p:nvSpPr>
        <p:spPr bwMode="auto">
          <a:xfrm>
            <a:off x="6448425" y="2720975"/>
            <a:ext cx="792163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Kriegers Flak II, SE </a:t>
            </a:r>
            <a:endParaRPr lang="de-DE">
              <a:cs typeface="ＭＳ Ｐゴシック"/>
            </a:endParaRPr>
          </a:p>
        </p:txBody>
      </p:sp>
      <p:sp>
        <p:nvSpPr>
          <p:cNvPr id="33987" name="Rectangle 488"/>
          <p:cNvSpPr>
            <a:spLocks noChangeArrowheads="1"/>
          </p:cNvSpPr>
          <p:nvPr/>
        </p:nvSpPr>
        <p:spPr bwMode="auto">
          <a:xfrm>
            <a:off x="6448425" y="2814638"/>
            <a:ext cx="3921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640 MW)</a:t>
            </a:r>
            <a:endParaRPr lang="de-DE">
              <a:cs typeface="ＭＳ Ｐゴシック"/>
            </a:endParaRPr>
          </a:p>
        </p:txBody>
      </p:sp>
      <p:pic>
        <p:nvPicPr>
          <p:cNvPr id="33988" name="Picture 489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119813" y="2706688"/>
            <a:ext cx="207962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3989" name="Group 492"/>
          <p:cNvGrpSpPr>
            <a:grpSpLocks/>
          </p:cNvGrpSpPr>
          <p:nvPr/>
        </p:nvGrpSpPr>
        <p:grpSpPr bwMode="auto">
          <a:xfrm>
            <a:off x="1751013" y="2663825"/>
            <a:ext cx="1233487" cy="280988"/>
            <a:chOff x="345" y="1678"/>
            <a:chExt cx="777" cy="177"/>
          </a:xfrm>
        </p:grpSpPr>
        <p:sp>
          <p:nvSpPr>
            <p:cNvPr id="34182" name="Rectangle 490"/>
            <p:cNvSpPr>
              <a:spLocks noChangeArrowheads="1"/>
            </p:cNvSpPr>
            <p:nvPr/>
          </p:nvSpPr>
          <p:spPr bwMode="auto">
            <a:xfrm>
              <a:off x="345" y="1678"/>
              <a:ext cx="777" cy="177"/>
            </a:xfrm>
            <a:prstGeom prst="rect">
              <a:avLst/>
            </a:prstGeom>
            <a:solidFill>
              <a:srgbClr val="FFEC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83" name="Rectangle 491"/>
            <p:cNvSpPr>
              <a:spLocks noChangeArrowheads="1"/>
            </p:cNvSpPr>
            <p:nvPr/>
          </p:nvSpPr>
          <p:spPr bwMode="auto">
            <a:xfrm>
              <a:off x="345" y="1678"/>
              <a:ext cx="777" cy="177"/>
            </a:xfrm>
            <a:prstGeom prst="rect">
              <a:avLst/>
            </a:prstGeom>
            <a:noFill/>
            <a:ln w="9525" cap="rnd">
              <a:solidFill>
                <a:srgbClr val="FFCE5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3990" name="Rectangle 493"/>
          <p:cNvSpPr>
            <a:spLocks noChangeArrowheads="1"/>
          </p:cNvSpPr>
          <p:nvPr/>
        </p:nvSpPr>
        <p:spPr bwMode="auto">
          <a:xfrm>
            <a:off x="2108200" y="2720975"/>
            <a:ext cx="239713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Aiolos</a:t>
            </a:r>
            <a:endParaRPr lang="de-DE">
              <a:cs typeface="ＭＳ Ｐゴシック"/>
            </a:endParaRPr>
          </a:p>
        </p:txBody>
      </p:sp>
      <p:sp>
        <p:nvSpPr>
          <p:cNvPr id="33991" name="Rectangle 494"/>
          <p:cNvSpPr>
            <a:spLocks noChangeArrowheads="1"/>
          </p:cNvSpPr>
          <p:nvPr/>
        </p:nvSpPr>
        <p:spPr bwMode="auto">
          <a:xfrm>
            <a:off x="2344738" y="2720975"/>
            <a:ext cx="268287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, GER </a:t>
            </a:r>
            <a:endParaRPr lang="de-DE">
              <a:cs typeface="ＭＳ Ｐゴシック"/>
            </a:endParaRPr>
          </a:p>
        </p:txBody>
      </p:sp>
      <p:sp>
        <p:nvSpPr>
          <p:cNvPr id="33992" name="Rectangle 495"/>
          <p:cNvSpPr>
            <a:spLocks noChangeArrowheads="1"/>
          </p:cNvSpPr>
          <p:nvPr/>
        </p:nvSpPr>
        <p:spPr bwMode="auto">
          <a:xfrm>
            <a:off x="2108200" y="2814638"/>
            <a:ext cx="46672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1,050 MW)</a:t>
            </a:r>
            <a:endParaRPr lang="de-DE">
              <a:cs typeface="ＭＳ Ｐゴシック"/>
            </a:endParaRPr>
          </a:p>
        </p:txBody>
      </p:sp>
      <p:pic>
        <p:nvPicPr>
          <p:cNvPr id="33993" name="Picture 49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79588" y="2705100"/>
            <a:ext cx="215900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994" name="Rectangle 497"/>
          <p:cNvSpPr>
            <a:spLocks noChangeArrowheads="1"/>
          </p:cNvSpPr>
          <p:nvPr/>
        </p:nvSpPr>
        <p:spPr bwMode="auto">
          <a:xfrm>
            <a:off x="2335213" y="5700713"/>
            <a:ext cx="1312862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4D4D4D"/>
                </a:solidFill>
                <a:cs typeface="ＭＳ Ｐゴシック"/>
              </a:rPr>
              <a:t>5 projects with a total capacity of </a:t>
            </a:r>
            <a:endParaRPr lang="de-DE">
              <a:cs typeface="ＭＳ Ｐゴシック"/>
            </a:endParaRPr>
          </a:p>
        </p:txBody>
      </p:sp>
      <p:sp>
        <p:nvSpPr>
          <p:cNvPr id="33995" name="Rectangle 498"/>
          <p:cNvSpPr>
            <a:spLocks noChangeArrowheads="1"/>
          </p:cNvSpPr>
          <p:nvPr/>
        </p:nvSpPr>
        <p:spPr bwMode="auto">
          <a:xfrm>
            <a:off x="2335213" y="5805488"/>
            <a:ext cx="124142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4D4D4D"/>
                </a:solidFill>
                <a:cs typeface="ＭＳ Ｐゴシック"/>
              </a:rPr>
              <a:t>~ 2,040 MW permitted and sold</a:t>
            </a:r>
            <a:endParaRPr lang="de-DE">
              <a:cs typeface="ＭＳ Ｐゴシック"/>
            </a:endParaRPr>
          </a:p>
        </p:txBody>
      </p:sp>
      <p:sp>
        <p:nvSpPr>
          <p:cNvPr id="33996" name="Rectangle 499"/>
          <p:cNvSpPr>
            <a:spLocks noChangeArrowheads="1"/>
          </p:cNvSpPr>
          <p:nvPr/>
        </p:nvSpPr>
        <p:spPr bwMode="auto">
          <a:xfrm>
            <a:off x="4570413" y="5702300"/>
            <a:ext cx="1822450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4D4D4D"/>
                </a:solidFill>
                <a:cs typeface="ＭＳ Ｐゴシック"/>
              </a:rPr>
              <a:t>7 projects with a total capacity of ~ 4,500 MW </a:t>
            </a:r>
          </a:p>
        </p:txBody>
      </p:sp>
      <p:sp>
        <p:nvSpPr>
          <p:cNvPr id="33997" name="Rectangle 500"/>
          <p:cNvSpPr>
            <a:spLocks noChangeArrowheads="1"/>
          </p:cNvSpPr>
          <p:nvPr/>
        </p:nvSpPr>
        <p:spPr bwMode="auto">
          <a:xfrm>
            <a:off x="4570413" y="5807075"/>
            <a:ext cx="1503362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4D4D4D"/>
                </a:solidFill>
                <a:cs typeface="ＭＳ Ｐゴシック"/>
              </a:rPr>
              <a:t>(net) in advanced permission process </a:t>
            </a:r>
            <a:endParaRPr lang="de-DE">
              <a:cs typeface="ＭＳ Ｐゴシック"/>
            </a:endParaRPr>
          </a:p>
        </p:txBody>
      </p:sp>
      <p:sp>
        <p:nvSpPr>
          <p:cNvPr id="33998" name="Rectangle 501"/>
          <p:cNvSpPr>
            <a:spLocks noChangeArrowheads="1"/>
          </p:cNvSpPr>
          <p:nvPr/>
        </p:nvSpPr>
        <p:spPr bwMode="auto">
          <a:xfrm>
            <a:off x="2335213" y="5992813"/>
            <a:ext cx="136207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4D4D4D"/>
                </a:solidFill>
                <a:cs typeface="ＭＳ Ｐゴシック"/>
              </a:rPr>
              <a:t>10 projects with a total capacity of </a:t>
            </a:r>
            <a:endParaRPr lang="de-DE">
              <a:cs typeface="ＭＳ Ｐゴシック"/>
            </a:endParaRPr>
          </a:p>
        </p:txBody>
      </p:sp>
      <p:sp>
        <p:nvSpPr>
          <p:cNvPr id="33999" name="Rectangle 502"/>
          <p:cNvSpPr>
            <a:spLocks noChangeArrowheads="1"/>
          </p:cNvSpPr>
          <p:nvPr/>
        </p:nvSpPr>
        <p:spPr bwMode="auto">
          <a:xfrm>
            <a:off x="2335213" y="6096000"/>
            <a:ext cx="1701800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4D4D4D"/>
                </a:solidFill>
                <a:cs typeface="ＭＳ Ｐゴシック"/>
              </a:rPr>
              <a:t>~ 5,000 MW (net) in early permission stage</a:t>
            </a:r>
            <a:endParaRPr lang="de-DE">
              <a:cs typeface="ＭＳ Ｐゴシック"/>
            </a:endParaRPr>
          </a:p>
        </p:txBody>
      </p:sp>
      <p:sp>
        <p:nvSpPr>
          <p:cNvPr id="34000" name="Rectangle 503"/>
          <p:cNvSpPr>
            <a:spLocks noChangeArrowheads="1"/>
          </p:cNvSpPr>
          <p:nvPr/>
        </p:nvSpPr>
        <p:spPr bwMode="auto">
          <a:xfrm>
            <a:off x="4570413" y="6043613"/>
            <a:ext cx="1481137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4D4D4D"/>
                </a:solidFill>
                <a:cs typeface="ＭＳ Ｐゴシック"/>
              </a:rPr>
              <a:t>Several projects under site evaluation</a:t>
            </a:r>
            <a:endParaRPr lang="de-DE">
              <a:cs typeface="ＭＳ Ｐゴシック"/>
            </a:endParaRPr>
          </a:p>
        </p:txBody>
      </p:sp>
      <p:grpSp>
        <p:nvGrpSpPr>
          <p:cNvPr id="34001" name="Group 506"/>
          <p:cNvGrpSpPr>
            <a:grpSpLocks/>
          </p:cNvGrpSpPr>
          <p:nvPr/>
        </p:nvGrpSpPr>
        <p:grpSpPr bwMode="auto">
          <a:xfrm>
            <a:off x="2098675" y="5745163"/>
            <a:ext cx="109538" cy="106362"/>
            <a:chOff x="564" y="3619"/>
            <a:chExt cx="69" cy="67"/>
          </a:xfrm>
        </p:grpSpPr>
        <p:sp>
          <p:nvSpPr>
            <p:cNvPr id="34180" name="Rectangle 504"/>
            <p:cNvSpPr>
              <a:spLocks noChangeArrowheads="1"/>
            </p:cNvSpPr>
            <p:nvPr/>
          </p:nvSpPr>
          <p:spPr bwMode="auto">
            <a:xfrm>
              <a:off x="564" y="3619"/>
              <a:ext cx="69" cy="67"/>
            </a:xfrm>
            <a:prstGeom prst="rect">
              <a:avLst/>
            </a:prstGeom>
            <a:solidFill>
              <a:srgbClr val="BAE4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81" name="Rectangle 505"/>
            <p:cNvSpPr>
              <a:spLocks noChangeArrowheads="1"/>
            </p:cNvSpPr>
            <p:nvPr/>
          </p:nvSpPr>
          <p:spPr bwMode="auto">
            <a:xfrm>
              <a:off x="564" y="3619"/>
              <a:ext cx="69" cy="67"/>
            </a:xfrm>
            <a:prstGeom prst="rect">
              <a:avLst/>
            </a:prstGeom>
            <a:noFill/>
            <a:ln w="9525" cap="rnd">
              <a:solidFill>
                <a:srgbClr val="009C8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4002" name="Group 509"/>
          <p:cNvGrpSpPr>
            <a:grpSpLocks/>
          </p:cNvGrpSpPr>
          <p:nvPr/>
        </p:nvGrpSpPr>
        <p:grpSpPr bwMode="auto">
          <a:xfrm>
            <a:off x="4332288" y="5745163"/>
            <a:ext cx="109537" cy="106362"/>
            <a:chOff x="1971" y="3619"/>
            <a:chExt cx="69" cy="67"/>
          </a:xfrm>
        </p:grpSpPr>
        <p:sp>
          <p:nvSpPr>
            <p:cNvPr id="34178" name="Rectangle 507"/>
            <p:cNvSpPr>
              <a:spLocks noChangeArrowheads="1"/>
            </p:cNvSpPr>
            <p:nvPr/>
          </p:nvSpPr>
          <p:spPr bwMode="auto">
            <a:xfrm>
              <a:off x="1971" y="3619"/>
              <a:ext cx="69" cy="67"/>
            </a:xfrm>
            <a:prstGeom prst="rect">
              <a:avLst/>
            </a:prstGeom>
            <a:solidFill>
              <a:srgbClr val="FFEC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79" name="Rectangle 508"/>
            <p:cNvSpPr>
              <a:spLocks noChangeArrowheads="1"/>
            </p:cNvSpPr>
            <p:nvPr/>
          </p:nvSpPr>
          <p:spPr bwMode="auto">
            <a:xfrm>
              <a:off x="1971" y="3619"/>
              <a:ext cx="69" cy="67"/>
            </a:xfrm>
            <a:prstGeom prst="rect">
              <a:avLst/>
            </a:prstGeom>
            <a:noFill/>
            <a:ln w="9525" cap="rnd">
              <a:solidFill>
                <a:srgbClr val="FFCE5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4003" name="Group 512"/>
          <p:cNvGrpSpPr>
            <a:grpSpLocks/>
          </p:cNvGrpSpPr>
          <p:nvPr/>
        </p:nvGrpSpPr>
        <p:grpSpPr bwMode="auto">
          <a:xfrm>
            <a:off x="2098675" y="6035675"/>
            <a:ext cx="109538" cy="106363"/>
            <a:chOff x="564" y="3802"/>
            <a:chExt cx="69" cy="67"/>
          </a:xfrm>
        </p:grpSpPr>
        <p:sp>
          <p:nvSpPr>
            <p:cNvPr id="34176" name="Rectangle 510"/>
            <p:cNvSpPr>
              <a:spLocks noChangeArrowheads="1"/>
            </p:cNvSpPr>
            <p:nvPr/>
          </p:nvSpPr>
          <p:spPr bwMode="auto">
            <a:xfrm>
              <a:off x="564" y="3802"/>
              <a:ext cx="69" cy="67"/>
            </a:xfrm>
            <a:prstGeom prst="rect">
              <a:avLst/>
            </a:prstGeom>
            <a:solidFill>
              <a:srgbClr val="D8E0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77" name="Rectangle 511"/>
            <p:cNvSpPr>
              <a:spLocks noChangeArrowheads="1"/>
            </p:cNvSpPr>
            <p:nvPr/>
          </p:nvSpPr>
          <p:spPr bwMode="auto">
            <a:xfrm>
              <a:off x="564" y="3802"/>
              <a:ext cx="69" cy="67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4004" name="Group 515"/>
          <p:cNvGrpSpPr>
            <a:grpSpLocks/>
          </p:cNvGrpSpPr>
          <p:nvPr/>
        </p:nvGrpSpPr>
        <p:grpSpPr bwMode="auto">
          <a:xfrm>
            <a:off x="4332288" y="6037263"/>
            <a:ext cx="109537" cy="104775"/>
            <a:chOff x="1971" y="3803"/>
            <a:chExt cx="69" cy="66"/>
          </a:xfrm>
        </p:grpSpPr>
        <p:sp>
          <p:nvSpPr>
            <p:cNvPr id="34174" name="Rectangle 513"/>
            <p:cNvSpPr>
              <a:spLocks noChangeArrowheads="1"/>
            </p:cNvSpPr>
            <p:nvPr/>
          </p:nvSpPr>
          <p:spPr bwMode="auto">
            <a:xfrm>
              <a:off x="1971" y="3803"/>
              <a:ext cx="69" cy="66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75" name="Rectangle 514"/>
            <p:cNvSpPr>
              <a:spLocks noChangeArrowheads="1"/>
            </p:cNvSpPr>
            <p:nvPr/>
          </p:nvSpPr>
          <p:spPr bwMode="auto">
            <a:xfrm>
              <a:off x="1971" y="3803"/>
              <a:ext cx="69" cy="66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4005" name="Group 519"/>
          <p:cNvGrpSpPr>
            <a:grpSpLocks/>
          </p:cNvGrpSpPr>
          <p:nvPr/>
        </p:nvGrpSpPr>
        <p:grpSpPr bwMode="auto">
          <a:xfrm>
            <a:off x="4314825" y="3951288"/>
            <a:ext cx="88900" cy="90487"/>
            <a:chOff x="1960" y="2489"/>
            <a:chExt cx="56" cy="57"/>
          </a:xfrm>
        </p:grpSpPr>
        <p:pic>
          <p:nvPicPr>
            <p:cNvPr id="34171" name="Picture 516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1960" y="2489"/>
              <a:ext cx="56" cy="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72" name="Picture 517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1960" y="2489"/>
              <a:ext cx="56" cy="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73" name="Oval 518"/>
            <p:cNvSpPr>
              <a:spLocks noChangeArrowheads="1"/>
            </p:cNvSpPr>
            <p:nvPr/>
          </p:nvSpPr>
          <p:spPr bwMode="auto">
            <a:xfrm>
              <a:off x="1961" y="2490"/>
              <a:ext cx="55" cy="55"/>
            </a:xfrm>
            <a:prstGeom prst="ellipse">
              <a:avLst/>
            </a:prstGeom>
            <a:noFill/>
            <a:ln w="9525" cap="rnd">
              <a:solidFill>
                <a:srgbClr val="3956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4006" name="Group 523"/>
          <p:cNvGrpSpPr>
            <a:grpSpLocks/>
          </p:cNvGrpSpPr>
          <p:nvPr/>
        </p:nvGrpSpPr>
        <p:grpSpPr bwMode="auto">
          <a:xfrm>
            <a:off x="4575175" y="3865563"/>
            <a:ext cx="90488" cy="88900"/>
            <a:chOff x="2124" y="2435"/>
            <a:chExt cx="57" cy="56"/>
          </a:xfrm>
        </p:grpSpPr>
        <p:pic>
          <p:nvPicPr>
            <p:cNvPr id="34168" name="Picture 520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2124" y="2435"/>
              <a:ext cx="57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69" name="Picture 521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2124" y="2435"/>
              <a:ext cx="57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70" name="Oval 522"/>
            <p:cNvSpPr>
              <a:spLocks noChangeArrowheads="1"/>
            </p:cNvSpPr>
            <p:nvPr/>
          </p:nvSpPr>
          <p:spPr bwMode="auto">
            <a:xfrm>
              <a:off x="2125" y="2435"/>
              <a:ext cx="55" cy="55"/>
            </a:xfrm>
            <a:prstGeom prst="ellipse">
              <a:avLst/>
            </a:prstGeom>
            <a:noFill/>
            <a:ln w="9525" cap="rnd">
              <a:solidFill>
                <a:srgbClr val="3956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4007" name="Group 527"/>
          <p:cNvGrpSpPr>
            <a:grpSpLocks/>
          </p:cNvGrpSpPr>
          <p:nvPr/>
        </p:nvGrpSpPr>
        <p:grpSpPr bwMode="auto">
          <a:xfrm>
            <a:off x="4532313" y="3897313"/>
            <a:ext cx="90487" cy="88900"/>
            <a:chOff x="2097" y="2455"/>
            <a:chExt cx="57" cy="56"/>
          </a:xfrm>
        </p:grpSpPr>
        <p:pic>
          <p:nvPicPr>
            <p:cNvPr id="34165" name="Picture 524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097" y="2455"/>
              <a:ext cx="57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66" name="Picture 525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2097" y="2455"/>
              <a:ext cx="57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67" name="Oval 526"/>
            <p:cNvSpPr>
              <a:spLocks noChangeArrowheads="1"/>
            </p:cNvSpPr>
            <p:nvPr/>
          </p:nvSpPr>
          <p:spPr bwMode="auto">
            <a:xfrm>
              <a:off x="2098" y="2455"/>
              <a:ext cx="55" cy="55"/>
            </a:xfrm>
            <a:prstGeom prst="ellipse">
              <a:avLst/>
            </a:prstGeom>
            <a:noFill/>
            <a:ln w="9525" cap="rnd">
              <a:solidFill>
                <a:srgbClr val="3956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4008" name="Group 531"/>
          <p:cNvGrpSpPr>
            <a:grpSpLocks/>
          </p:cNvGrpSpPr>
          <p:nvPr/>
        </p:nvGrpSpPr>
        <p:grpSpPr bwMode="auto">
          <a:xfrm>
            <a:off x="4819650" y="3370263"/>
            <a:ext cx="88900" cy="88900"/>
            <a:chOff x="2278" y="2123"/>
            <a:chExt cx="56" cy="56"/>
          </a:xfrm>
        </p:grpSpPr>
        <p:pic>
          <p:nvPicPr>
            <p:cNvPr id="34162" name="Picture 528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2278" y="2123"/>
              <a:ext cx="56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63" name="Picture 529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2278" y="2123"/>
              <a:ext cx="56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64" name="Oval 530"/>
            <p:cNvSpPr>
              <a:spLocks noChangeArrowheads="1"/>
            </p:cNvSpPr>
            <p:nvPr/>
          </p:nvSpPr>
          <p:spPr bwMode="auto">
            <a:xfrm>
              <a:off x="2278" y="2123"/>
              <a:ext cx="55" cy="54"/>
            </a:xfrm>
            <a:prstGeom prst="ellipse">
              <a:avLst/>
            </a:prstGeom>
            <a:noFill/>
            <a:ln w="9525" cap="rnd">
              <a:solidFill>
                <a:srgbClr val="3956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4009" name="Group 535"/>
          <p:cNvGrpSpPr>
            <a:grpSpLocks/>
          </p:cNvGrpSpPr>
          <p:nvPr/>
        </p:nvGrpSpPr>
        <p:grpSpPr bwMode="auto">
          <a:xfrm>
            <a:off x="4826000" y="3257550"/>
            <a:ext cx="88900" cy="90488"/>
            <a:chOff x="2282" y="2052"/>
            <a:chExt cx="56" cy="57"/>
          </a:xfrm>
        </p:grpSpPr>
        <p:pic>
          <p:nvPicPr>
            <p:cNvPr id="34159" name="Picture 532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2282" y="2052"/>
              <a:ext cx="56" cy="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60" name="Picture 533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2282" y="2052"/>
              <a:ext cx="56" cy="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61" name="Oval 534"/>
            <p:cNvSpPr>
              <a:spLocks noChangeArrowheads="1"/>
            </p:cNvSpPr>
            <p:nvPr/>
          </p:nvSpPr>
          <p:spPr bwMode="auto">
            <a:xfrm>
              <a:off x="2282" y="2052"/>
              <a:ext cx="55" cy="55"/>
            </a:xfrm>
            <a:prstGeom prst="ellipse">
              <a:avLst/>
            </a:prstGeom>
            <a:noFill/>
            <a:ln w="9525" cap="rnd">
              <a:solidFill>
                <a:srgbClr val="3956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4010" name="Group 539"/>
          <p:cNvGrpSpPr>
            <a:grpSpLocks/>
          </p:cNvGrpSpPr>
          <p:nvPr/>
        </p:nvGrpSpPr>
        <p:grpSpPr bwMode="auto">
          <a:xfrm>
            <a:off x="5024438" y="2952750"/>
            <a:ext cx="88900" cy="88900"/>
            <a:chOff x="2407" y="1860"/>
            <a:chExt cx="56" cy="56"/>
          </a:xfrm>
        </p:grpSpPr>
        <p:pic>
          <p:nvPicPr>
            <p:cNvPr id="34156" name="Picture 536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2407" y="1860"/>
              <a:ext cx="56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57" name="Picture 537"/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2407" y="1860"/>
              <a:ext cx="56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58" name="Oval 538"/>
            <p:cNvSpPr>
              <a:spLocks noChangeArrowheads="1"/>
            </p:cNvSpPr>
            <p:nvPr/>
          </p:nvSpPr>
          <p:spPr bwMode="auto">
            <a:xfrm>
              <a:off x="2408" y="1861"/>
              <a:ext cx="54" cy="55"/>
            </a:xfrm>
            <a:prstGeom prst="ellipse">
              <a:avLst/>
            </a:prstGeom>
            <a:noFill/>
            <a:ln w="9525" cap="rnd">
              <a:solidFill>
                <a:srgbClr val="3956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4011" name="Group 543"/>
          <p:cNvGrpSpPr>
            <a:grpSpLocks/>
          </p:cNvGrpSpPr>
          <p:nvPr/>
        </p:nvGrpSpPr>
        <p:grpSpPr bwMode="auto">
          <a:xfrm>
            <a:off x="5024438" y="3071813"/>
            <a:ext cx="88900" cy="88900"/>
            <a:chOff x="2407" y="1935"/>
            <a:chExt cx="56" cy="56"/>
          </a:xfrm>
        </p:grpSpPr>
        <p:pic>
          <p:nvPicPr>
            <p:cNvPr id="34153" name="Picture 540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2407" y="1935"/>
              <a:ext cx="56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54" name="Picture 541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2407" y="1935"/>
              <a:ext cx="56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55" name="Oval 542"/>
            <p:cNvSpPr>
              <a:spLocks noChangeArrowheads="1"/>
            </p:cNvSpPr>
            <p:nvPr/>
          </p:nvSpPr>
          <p:spPr bwMode="auto">
            <a:xfrm>
              <a:off x="2408" y="1935"/>
              <a:ext cx="54" cy="55"/>
            </a:xfrm>
            <a:prstGeom prst="ellipse">
              <a:avLst/>
            </a:prstGeom>
            <a:noFill/>
            <a:ln w="9525" cap="rnd">
              <a:solidFill>
                <a:srgbClr val="3956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4012" name="Group 547"/>
          <p:cNvGrpSpPr>
            <a:grpSpLocks/>
          </p:cNvGrpSpPr>
          <p:nvPr/>
        </p:nvGrpSpPr>
        <p:grpSpPr bwMode="auto">
          <a:xfrm>
            <a:off x="5105400" y="2903538"/>
            <a:ext cx="90488" cy="88900"/>
            <a:chOff x="2458" y="1829"/>
            <a:chExt cx="57" cy="56"/>
          </a:xfrm>
        </p:grpSpPr>
        <p:pic>
          <p:nvPicPr>
            <p:cNvPr id="34150" name="Picture 544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2458" y="1829"/>
              <a:ext cx="57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51" name="Picture 545"/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2458" y="1829"/>
              <a:ext cx="57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52" name="Oval 546"/>
            <p:cNvSpPr>
              <a:spLocks noChangeArrowheads="1"/>
            </p:cNvSpPr>
            <p:nvPr/>
          </p:nvSpPr>
          <p:spPr bwMode="auto">
            <a:xfrm>
              <a:off x="2458" y="1830"/>
              <a:ext cx="55" cy="54"/>
            </a:xfrm>
            <a:prstGeom prst="ellipse">
              <a:avLst/>
            </a:prstGeom>
            <a:noFill/>
            <a:ln w="9525" cap="rnd">
              <a:solidFill>
                <a:srgbClr val="3956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13" name="Freeform 548"/>
          <p:cNvSpPr>
            <a:spLocks/>
          </p:cNvSpPr>
          <p:nvPr/>
        </p:nvSpPr>
        <p:spPr bwMode="auto">
          <a:xfrm>
            <a:off x="5111750" y="2997200"/>
            <a:ext cx="968375" cy="1063625"/>
          </a:xfrm>
          <a:custGeom>
            <a:avLst/>
            <a:gdLst>
              <a:gd name="T0" fmla="*/ 968375 w 610"/>
              <a:gd name="T1" fmla="*/ 1063625 h 670"/>
              <a:gd name="T2" fmla="*/ 484188 w 610"/>
              <a:gd name="T3" fmla="*/ 1063625 h 670"/>
              <a:gd name="T4" fmla="*/ 484188 w 610"/>
              <a:gd name="T5" fmla="*/ 0 h 670"/>
              <a:gd name="T6" fmla="*/ 0 w 610"/>
              <a:gd name="T7" fmla="*/ 0 h 670"/>
              <a:gd name="T8" fmla="*/ 0 60000 65536"/>
              <a:gd name="T9" fmla="*/ 0 60000 65536"/>
              <a:gd name="T10" fmla="*/ 0 60000 65536"/>
              <a:gd name="T11" fmla="*/ 0 60000 65536"/>
              <a:gd name="T12" fmla="*/ 0 w 610"/>
              <a:gd name="T13" fmla="*/ 0 h 670"/>
              <a:gd name="T14" fmla="*/ 610 w 610"/>
              <a:gd name="T15" fmla="*/ 670 h 67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10" h="670">
                <a:moveTo>
                  <a:pt x="610" y="670"/>
                </a:moveTo>
                <a:lnTo>
                  <a:pt x="305" y="670"/>
                </a:lnTo>
                <a:lnTo>
                  <a:pt x="305" y="0"/>
                </a:lnTo>
                <a:lnTo>
                  <a:pt x="0" y="0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sp>
        <p:nvSpPr>
          <p:cNvPr id="34014" name="Freeform 549"/>
          <p:cNvSpPr>
            <a:spLocks/>
          </p:cNvSpPr>
          <p:nvPr/>
        </p:nvSpPr>
        <p:spPr bwMode="auto">
          <a:xfrm>
            <a:off x="5111750" y="2400300"/>
            <a:ext cx="977900" cy="715963"/>
          </a:xfrm>
          <a:custGeom>
            <a:avLst/>
            <a:gdLst>
              <a:gd name="T0" fmla="*/ 977900 w 616"/>
              <a:gd name="T1" fmla="*/ 0 h 451"/>
              <a:gd name="T2" fmla="*/ 695325 w 616"/>
              <a:gd name="T3" fmla="*/ 0 h 451"/>
              <a:gd name="T4" fmla="*/ 695325 w 616"/>
              <a:gd name="T5" fmla="*/ 715963 h 451"/>
              <a:gd name="T6" fmla="*/ 0 w 616"/>
              <a:gd name="T7" fmla="*/ 715963 h 451"/>
              <a:gd name="T8" fmla="*/ 0 60000 65536"/>
              <a:gd name="T9" fmla="*/ 0 60000 65536"/>
              <a:gd name="T10" fmla="*/ 0 60000 65536"/>
              <a:gd name="T11" fmla="*/ 0 60000 65536"/>
              <a:gd name="T12" fmla="*/ 0 w 616"/>
              <a:gd name="T13" fmla="*/ 0 h 451"/>
              <a:gd name="T14" fmla="*/ 616 w 616"/>
              <a:gd name="T15" fmla="*/ 451 h 45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16" h="451">
                <a:moveTo>
                  <a:pt x="616" y="0"/>
                </a:moveTo>
                <a:lnTo>
                  <a:pt x="438" y="0"/>
                </a:lnTo>
                <a:lnTo>
                  <a:pt x="438" y="451"/>
                </a:lnTo>
                <a:lnTo>
                  <a:pt x="0" y="451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sp>
        <p:nvSpPr>
          <p:cNvPr id="34015" name="Freeform 550"/>
          <p:cNvSpPr>
            <a:spLocks/>
          </p:cNvSpPr>
          <p:nvPr/>
        </p:nvSpPr>
        <p:spPr bwMode="auto">
          <a:xfrm>
            <a:off x="4913313" y="3232150"/>
            <a:ext cx="1166812" cy="69850"/>
          </a:xfrm>
          <a:custGeom>
            <a:avLst/>
            <a:gdLst>
              <a:gd name="T0" fmla="*/ 1166812 w 735"/>
              <a:gd name="T1" fmla="*/ 0 h 44"/>
              <a:gd name="T2" fmla="*/ 582612 w 735"/>
              <a:gd name="T3" fmla="*/ 0 h 44"/>
              <a:gd name="T4" fmla="*/ 582612 w 735"/>
              <a:gd name="T5" fmla="*/ 69850 h 44"/>
              <a:gd name="T6" fmla="*/ 0 w 735"/>
              <a:gd name="T7" fmla="*/ 69850 h 44"/>
              <a:gd name="T8" fmla="*/ 0 60000 65536"/>
              <a:gd name="T9" fmla="*/ 0 60000 65536"/>
              <a:gd name="T10" fmla="*/ 0 60000 65536"/>
              <a:gd name="T11" fmla="*/ 0 60000 65536"/>
              <a:gd name="T12" fmla="*/ 0 w 735"/>
              <a:gd name="T13" fmla="*/ 0 h 44"/>
              <a:gd name="T14" fmla="*/ 735 w 735"/>
              <a:gd name="T15" fmla="*/ 44 h 4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35" h="44">
                <a:moveTo>
                  <a:pt x="735" y="0"/>
                </a:moveTo>
                <a:lnTo>
                  <a:pt x="367" y="0"/>
                </a:lnTo>
                <a:lnTo>
                  <a:pt x="367" y="44"/>
                </a:lnTo>
                <a:lnTo>
                  <a:pt x="0" y="44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sp>
        <p:nvSpPr>
          <p:cNvPr id="34016" name="Freeform 551"/>
          <p:cNvSpPr>
            <a:spLocks/>
          </p:cNvSpPr>
          <p:nvPr/>
        </p:nvSpPr>
        <p:spPr bwMode="auto">
          <a:xfrm>
            <a:off x="4906963" y="3413125"/>
            <a:ext cx="1173162" cy="234950"/>
          </a:xfrm>
          <a:custGeom>
            <a:avLst/>
            <a:gdLst>
              <a:gd name="T0" fmla="*/ 1173162 w 739"/>
              <a:gd name="T1" fmla="*/ 234950 h 148"/>
              <a:gd name="T2" fmla="*/ 587375 w 739"/>
              <a:gd name="T3" fmla="*/ 234950 h 148"/>
              <a:gd name="T4" fmla="*/ 587375 w 739"/>
              <a:gd name="T5" fmla="*/ 0 h 148"/>
              <a:gd name="T6" fmla="*/ 0 w 739"/>
              <a:gd name="T7" fmla="*/ 0 h 148"/>
              <a:gd name="T8" fmla="*/ 0 60000 65536"/>
              <a:gd name="T9" fmla="*/ 0 60000 65536"/>
              <a:gd name="T10" fmla="*/ 0 60000 65536"/>
              <a:gd name="T11" fmla="*/ 0 60000 65536"/>
              <a:gd name="T12" fmla="*/ 0 w 739"/>
              <a:gd name="T13" fmla="*/ 0 h 148"/>
              <a:gd name="T14" fmla="*/ 739 w 739"/>
              <a:gd name="T15" fmla="*/ 148 h 14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39" h="148">
                <a:moveTo>
                  <a:pt x="739" y="148"/>
                </a:moveTo>
                <a:lnTo>
                  <a:pt x="370" y="148"/>
                </a:lnTo>
                <a:lnTo>
                  <a:pt x="370" y="0"/>
                </a:lnTo>
                <a:lnTo>
                  <a:pt x="0" y="0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grpSp>
        <p:nvGrpSpPr>
          <p:cNvPr id="34017" name="Group 554"/>
          <p:cNvGrpSpPr>
            <a:grpSpLocks/>
          </p:cNvGrpSpPr>
          <p:nvPr/>
        </p:nvGrpSpPr>
        <p:grpSpPr bwMode="auto">
          <a:xfrm>
            <a:off x="1751013" y="3919538"/>
            <a:ext cx="1233487" cy="279400"/>
            <a:chOff x="345" y="2469"/>
            <a:chExt cx="777" cy="176"/>
          </a:xfrm>
        </p:grpSpPr>
        <p:sp>
          <p:nvSpPr>
            <p:cNvPr id="34148" name="Rectangle 552"/>
            <p:cNvSpPr>
              <a:spLocks noChangeArrowheads="1"/>
            </p:cNvSpPr>
            <p:nvPr/>
          </p:nvSpPr>
          <p:spPr bwMode="auto">
            <a:xfrm>
              <a:off x="345" y="2469"/>
              <a:ext cx="777" cy="176"/>
            </a:xfrm>
            <a:prstGeom prst="rect">
              <a:avLst/>
            </a:prstGeom>
            <a:solidFill>
              <a:srgbClr val="FFEC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49" name="Rectangle 553"/>
            <p:cNvSpPr>
              <a:spLocks noChangeArrowheads="1"/>
            </p:cNvSpPr>
            <p:nvPr/>
          </p:nvSpPr>
          <p:spPr bwMode="auto">
            <a:xfrm>
              <a:off x="345" y="2469"/>
              <a:ext cx="777" cy="176"/>
            </a:xfrm>
            <a:prstGeom prst="rect">
              <a:avLst/>
            </a:prstGeom>
            <a:noFill/>
            <a:ln w="9525" cap="rnd">
              <a:solidFill>
                <a:srgbClr val="FFCE5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18" name="Rectangle 555"/>
          <p:cNvSpPr>
            <a:spLocks noChangeArrowheads="1"/>
          </p:cNvSpPr>
          <p:nvPr/>
        </p:nvSpPr>
        <p:spPr bwMode="auto">
          <a:xfrm>
            <a:off x="2108200" y="3975100"/>
            <a:ext cx="473075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Calvados, F</a:t>
            </a:r>
            <a:endParaRPr lang="de-DE">
              <a:cs typeface="ＭＳ Ｐゴシック"/>
            </a:endParaRPr>
          </a:p>
        </p:txBody>
      </p:sp>
      <p:sp>
        <p:nvSpPr>
          <p:cNvPr id="34019" name="Rectangle 556"/>
          <p:cNvSpPr>
            <a:spLocks noChangeArrowheads="1"/>
          </p:cNvSpPr>
          <p:nvPr/>
        </p:nvSpPr>
        <p:spPr bwMode="auto">
          <a:xfrm>
            <a:off x="2108200" y="4068763"/>
            <a:ext cx="3921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250 MW)</a:t>
            </a:r>
            <a:endParaRPr lang="de-DE">
              <a:cs typeface="ＭＳ Ｐゴシック"/>
            </a:endParaRPr>
          </a:p>
        </p:txBody>
      </p:sp>
      <p:pic>
        <p:nvPicPr>
          <p:cNvPr id="34020" name="Picture 557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781175" y="3957638"/>
            <a:ext cx="215900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021" name="Freeform 558"/>
          <p:cNvSpPr>
            <a:spLocks/>
          </p:cNvSpPr>
          <p:nvPr/>
        </p:nvSpPr>
        <p:spPr bwMode="auto">
          <a:xfrm>
            <a:off x="3992563" y="4938713"/>
            <a:ext cx="288925" cy="407987"/>
          </a:xfrm>
          <a:custGeom>
            <a:avLst/>
            <a:gdLst>
              <a:gd name="T0" fmla="*/ 288925 w 182"/>
              <a:gd name="T1" fmla="*/ 407987 h 257"/>
              <a:gd name="T2" fmla="*/ 0 w 182"/>
              <a:gd name="T3" fmla="*/ 407987 h 257"/>
              <a:gd name="T4" fmla="*/ 0 w 182"/>
              <a:gd name="T5" fmla="*/ 0 h 257"/>
              <a:gd name="T6" fmla="*/ 0 60000 65536"/>
              <a:gd name="T7" fmla="*/ 0 60000 65536"/>
              <a:gd name="T8" fmla="*/ 0 60000 65536"/>
              <a:gd name="T9" fmla="*/ 0 w 182"/>
              <a:gd name="T10" fmla="*/ 0 h 257"/>
              <a:gd name="T11" fmla="*/ 182 w 182"/>
              <a:gd name="T12" fmla="*/ 257 h 25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82" h="257">
                <a:moveTo>
                  <a:pt x="182" y="257"/>
                </a:moveTo>
                <a:lnTo>
                  <a:pt x="0" y="257"/>
                </a:lnTo>
                <a:lnTo>
                  <a:pt x="0" y="0"/>
                </a:lnTo>
              </a:path>
            </a:pathLst>
          </a:custGeom>
          <a:noFill/>
          <a:ln w="9525" cap="rnd">
            <a:solidFill>
              <a:srgbClr val="395691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grpSp>
        <p:nvGrpSpPr>
          <p:cNvPr id="34022" name="Group 561"/>
          <p:cNvGrpSpPr>
            <a:grpSpLocks/>
          </p:cNvGrpSpPr>
          <p:nvPr/>
        </p:nvGrpSpPr>
        <p:grpSpPr bwMode="auto">
          <a:xfrm>
            <a:off x="3189288" y="5192713"/>
            <a:ext cx="1343025" cy="301625"/>
            <a:chOff x="1251" y="3271"/>
            <a:chExt cx="846" cy="190"/>
          </a:xfrm>
        </p:grpSpPr>
        <p:sp>
          <p:nvSpPr>
            <p:cNvPr id="34146" name="Rectangle 559"/>
            <p:cNvSpPr>
              <a:spLocks noChangeArrowheads="1"/>
            </p:cNvSpPr>
            <p:nvPr/>
          </p:nvSpPr>
          <p:spPr bwMode="auto">
            <a:xfrm>
              <a:off x="1251" y="3271"/>
              <a:ext cx="846" cy="19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47" name="Rectangle 560"/>
            <p:cNvSpPr>
              <a:spLocks noChangeArrowheads="1"/>
            </p:cNvSpPr>
            <p:nvPr/>
          </p:nvSpPr>
          <p:spPr bwMode="auto">
            <a:xfrm>
              <a:off x="1251" y="3271"/>
              <a:ext cx="846" cy="190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23" name="Rectangle 562"/>
          <p:cNvSpPr>
            <a:spLocks noChangeArrowheads="1"/>
          </p:cNvSpPr>
          <p:nvPr/>
        </p:nvSpPr>
        <p:spPr bwMode="auto">
          <a:xfrm>
            <a:off x="3548063" y="5249863"/>
            <a:ext cx="300037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Several</a:t>
            </a:r>
            <a:endParaRPr lang="de-DE">
              <a:cs typeface="ＭＳ Ｐゴシック"/>
            </a:endParaRPr>
          </a:p>
        </p:txBody>
      </p:sp>
      <p:sp>
        <p:nvSpPr>
          <p:cNvPr id="34024" name="Rectangle 563"/>
          <p:cNvSpPr>
            <a:spLocks noChangeArrowheads="1"/>
          </p:cNvSpPr>
          <p:nvPr/>
        </p:nvSpPr>
        <p:spPr bwMode="auto">
          <a:xfrm>
            <a:off x="3867150" y="5249863"/>
            <a:ext cx="311150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projects</a:t>
            </a:r>
            <a:endParaRPr lang="de-DE">
              <a:cs typeface="ＭＳ Ｐゴシック"/>
            </a:endParaRPr>
          </a:p>
        </p:txBody>
      </p:sp>
      <p:sp>
        <p:nvSpPr>
          <p:cNvPr id="34025" name="Rectangle 564"/>
          <p:cNvSpPr>
            <a:spLocks noChangeArrowheads="1"/>
          </p:cNvSpPr>
          <p:nvPr/>
        </p:nvSpPr>
        <p:spPr bwMode="auto">
          <a:xfrm>
            <a:off x="4195763" y="5249863"/>
            <a:ext cx="93662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in </a:t>
            </a:r>
            <a:endParaRPr lang="de-DE">
              <a:cs typeface="ＭＳ Ｐゴシック"/>
            </a:endParaRPr>
          </a:p>
        </p:txBody>
      </p:sp>
      <p:sp>
        <p:nvSpPr>
          <p:cNvPr id="34026" name="Rectangle 565"/>
          <p:cNvSpPr>
            <a:spLocks noChangeArrowheads="1"/>
          </p:cNvSpPr>
          <p:nvPr/>
        </p:nvSpPr>
        <p:spPr bwMode="auto">
          <a:xfrm>
            <a:off x="4287838" y="5249863"/>
            <a:ext cx="138112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site</a:t>
            </a:r>
            <a:endParaRPr lang="de-DE">
              <a:cs typeface="ＭＳ Ｐゴシック"/>
            </a:endParaRPr>
          </a:p>
        </p:txBody>
      </p:sp>
      <p:sp>
        <p:nvSpPr>
          <p:cNvPr id="34027" name="Rectangle 566"/>
          <p:cNvSpPr>
            <a:spLocks noChangeArrowheads="1"/>
          </p:cNvSpPr>
          <p:nvPr/>
        </p:nvSpPr>
        <p:spPr bwMode="auto">
          <a:xfrm>
            <a:off x="3548063" y="5341938"/>
            <a:ext cx="40322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evaluation</a:t>
            </a:r>
            <a:endParaRPr lang="de-DE">
              <a:cs typeface="ＭＳ Ｐゴシック"/>
            </a:endParaRPr>
          </a:p>
        </p:txBody>
      </p:sp>
      <p:pic>
        <p:nvPicPr>
          <p:cNvPr id="34028" name="Picture 567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221038" y="5235575"/>
            <a:ext cx="219075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029" name="Freeform 568"/>
          <p:cNvSpPr>
            <a:spLocks/>
          </p:cNvSpPr>
          <p:nvPr/>
        </p:nvSpPr>
        <p:spPr bwMode="auto">
          <a:xfrm>
            <a:off x="4478338" y="1997075"/>
            <a:ext cx="98425" cy="1900238"/>
          </a:xfrm>
          <a:custGeom>
            <a:avLst/>
            <a:gdLst>
              <a:gd name="T0" fmla="*/ 0 w 62"/>
              <a:gd name="T1" fmla="*/ 0 h 1197"/>
              <a:gd name="T2" fmla="*/ 98425 w 62"/>
              <a:gd name="T3" fmla="*/ 0 h 1197"/>
              <a:gd name="T4" fmla="*/ 98425 w 62"/>
              <a:gd name="T5" fmla="*/ 1900238 h 1197"/>
              <a:gd name="T6" fmla="*/ 0 60000 65536"/>
              <a:gd name="T7" fmla="*/ 0 60000 65536"/>
              <a:gd name="T8" fmla="*/ 0 60000 65536"/>
              <a:gd name="T9" fmla="*/ 0 w 62"/>
              <a:gd name="T10" fmla="*/ 0 h 1197"/>
              <a:gd name="T11" fmla="*/ 62 w 62"/>
              <a:gd name="T12" fmla="*/ 1197 h 1197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2" h="1197">
                <a:moveTo>
                  <a:pt x="0" y="0"/>
                </a:moveTo>
                <a:lnTo>
                  <a:pt x="62" y="0"/>
                </a:lnTo>
                <a:lnTo>
                  <a:pt x="62" y="1197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grpSp>
        <p:nvGrpSpPr>
          <p:cNvPr id="34030" name="Group 571"/>
          <p:cNvGrpSpPr>
            <a:grpSpLocks/>
          </p:cNvGrpSpPr>
          <p:nvPr/>
        </p:nvGrpSpPr>
        <p:grpSpPr bwMode="auto">
          <a:xfrm>
            <a:off x="1751013" y="3090863"/>
            <a:ext cx="1233487" cy="280987"/>
            <a:chOff x="345" y="1947"/>
            <a:chExt cx="777" cy="177"/>
          </a:xfrm>
        </p:grpSpPr>
        <p:sp>
          <p:nvSpPr>
            <p:cNvPr id="34144" name="Rectangle 569"/>
            <p:cNvSpPr>
              <a:spLocks noChangeArrowheads="1"/>
            </p:cNvSpPr>
            <p:nvPr/>
          </p:nvSpPr>
          <p:spPr bwMode="auto">
            <a:xfrm>
              <a:off x="345" y="1947"/>
              <a:ext cx="777" cy="177"/>
            </a:xfrm>
            <a:prstGeom prst="rect">
              <a:avLst/>
            </a:prstGeom>
            <a:solidFill>
              <a:srgbClr val="FFEC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45" name="Rectangle 570"/>
            <p:cNvSpPr>
              <a:spLocks noChangeArrowheads="1"/>
            </p:cNvSpPr>
            <p:nvPr/>
          </p:nvSpPr>
          <p:spPr bwMode="auto">
            <a:xfrm>
              <a:off x="345" y="1947"/>
              <a:ext cx="777" cy="177"/>
            </a:xfrm>
            <a:prstGeom prst="rect">
              <a:avLst/>
            </a:prstGeom>
            <a:noFill/>
            <a:ln w="9525" cap="rnd">
              <a:solidFill>
                <a:srgbClr val="FFCE5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31" name="Rectangle 572"/>
          <p:cNvSpPr>
            <a:spLocks noChangeArrowheads="1"/>
          </p:cNvSpPr>
          <p:nvPr/>
        </p:nvSpPr>
        <p:spPr bwMode="auto">
          <a:xfrm>
            <a:off x="2108200" y="3148013"/>
            <a:ext cx="2651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Kaikas</a:t>
            </a:r>
            <a:endParaRPr lang="de-DE">
              <a:cs typeface="ＭＳ Ｐゴシック"/>
            </a:endParaRPr>
          </a:p>
        </p:txBody>
      </p:sp>
      <p:sp>
        <p:nvSpPr>
          <p:cNvPr id="34032" name="Rectangle 573"/>
          <p:cNvSpPr>
            <a:spLocks noChangeArrowheads="1"/>
          </p:cNvSpPr>
          <p:nvPr/>
        </p:nvSpPr>
        <p:spPr bwMode="auto">
          <a:xfrm>
            <a:off x="2368550" y="3148013"/>
            <a:ext cx="268288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, GER </a:t>
            </a:r>
            <a:endParaRPr lang="de-DE">
              <a:cs typeface="ＭＳ Ｐゴシック"/>
            </a:endParaRPr>
          </a:p>
        </p:txBody>
      </p:sp>
      <p:sp>
        <p:nvSpPr>
          <p:cNvPr id="34033" name="Rectangle 574"/>
          <p:cNvSpPr>
            <a:spLocks noChangeArrowheads="1"/>
          </p:cNvSpPr>
          <p:nvPr/>
        </p:nvSpPr>
        <p:spPr bwMode="auto">
          <a:xfrm>
            <a:off x="2108200" y="3241675"/>
            <a:ext cx="392113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440 MW)</a:t>
            </a:r>
            <a:endParaRPr lang="de-DE">
              <a:cs typeface="ＭＳ Ｐゴシック"/>
            </a:endParaRPr>
          </a:p>
        </p:txBody>
      </p:sp>
      <p:pic>
        <p:nvPicPr>
          <p:cNvPr id="34034" name="Picture 57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73238" y="3133725"/>
            <a:ext cx="215900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4035" name="Group 578"/>
          <p:cNvGrpSpPr>
            <a:grpSpLocks/>
          </p:cNvGrpSpPr>
          <p:nvPr/>
        </p:nvGrpSpPr>
        <p:grpSpPr bwMode="auto">
          <a:xfrm>
            <a:off x="1751013" y="3506788"/>
            <a:ext cx="1233487" cy="279400"/>
            <a:chOff x="345" y="2209"/>
            <a:chExt cx="777" cy="176"/>
          </a:xfrm>
        </p:grpSpPr>
        <p:sp>
          <p:nvSpPr>
            <p:cNvPr id="34142" name="Rectangle 576"/>
            <p:cNvSpPr>
              <a:spLocks noChangeArrowheads="1"/>
            </p:cNvSpPr>
            <p:nvPr/>
          </p:nvSpPr>
          <p:spPr bwMode="auto">
            <a:xfrm>
              <a:off x="345" y="2209"/>
              <a:ext cx="777" cy="176"/>
            </a:xfrm>
            <a:prstGeom prst="rect">
              <a:avLst/>
            </a:prstGeom>
            <a:solidFill>
              <a:srgbClr val="FFEC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43" name="Rectangle 577"/>
            <p:cNvSpPr>
              <a:spLocks noChangeArrowheads="1"/>
            </p:cNvSpPr>
            <p:nvPr/>
          </p:nvSpPr>
          <p:spPr bwMode="auto">
            <a:xfrm>
              <a:off x="345" y="2209"/>
              <a:ext cx="777" cy="176"/>
            </a:xfrm>
            <a:prstGeom prst="rect">
              <a:avLst/>
            </a:prstGeom>
            <a:noFill/>
            <a:ln w="9525" cap="rnd">
              <a:solidFill>
                <a:srgbClr val="FFCE53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36" name="Rectangle 579"/>
          <p:cNvSpPr>
            <a:spLocks noChangeArrowheads="1"/>
          </p:cNvSpPr>
          <p:nvPr/>
        </p:nvSpPr>
        <p:spPr bwMode="auto">
          <a:xfrm>
            <a:off x="2108200" y="3562350"/>
            <a:ext cx="231775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Notos</a:t>
            </a:r>
            <a:endParaRPr lang="de-DE">
              <a:cs typeface="ＭＳ Ｐゴシック"/>
            </a:endParaRPr>
          </a:p>
        </p:txBody>
      </p:sp>
      <p:sp>
        <p:nvSpPr>
          <p:cNvPr id="34037" name="Rectangle 580"/>
          <p:cNvSpPr>
            <a:spLocks noChangeArrowheads="1"/>
          </p:cNvSpPr>
          <p:nvPr/>
        </p:nvSpPr>
        <p:spPr bwMode="auto">
          <a:xfrm>
            <a:off x="2335213" y="3562350"/>
            <a:ext cx="268287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, GER </a:t>
            </a:r>
            <a:endParaRPr lang="de-DE">
              <a:cs typeface="ＭＳ Ｐゴシック"/>
            </a:endParaRPr>
          </a:p>
        </p:txBody>
      </p:sp>
      <p:sp>
        <p:nvSpPr>
          <p:cNvPr id="34038" name="Rectangle 581"/>
          <p:cNvSpPr>
            <a:spLocks noChangeArrowheads="1"/>
          </p:cNvSpPr>
          <p:nvPr/>
        </p:nvSpPr>
        <p:spPr bwMode="auto">
          <a:xfrm>
            <a:off x="2108200" y="3656013"/>
            <a:ext cx="3921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250 MW)</a:t>
            </a:r>
            <a:endParaRPr lang="de-DE">
              <a:cs typeface="ＭＳ Ｐゴシック"/>
            </a:endParaRPr>
          </a:p>
        </p:txBody>
      </p:sp>
      <p:pic>
        <p:nvPicPr>
          <p:cNvPr id="34039" name="Picture 58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70063" y="3552825"/>
            <a:ext cx="215900" cy="128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4040" name="Group 585"/>
          <p:cNvGrpSpPr>
            <a:grpSpLocks/>
          </p:cNvGrpSpPr>
          <p:nvPr/>
        </p:nvGrpSpPr>
        <p:grpSpPr bwMode="auto">
          <a:xfrm>
            <a:off x="1751013" y="4365625"/>
            <a:ext cx="1233487" cy="280988"/>
            <a:chOff x="345" y="2750"/>
            <a:chExt cx="777" cy="177"/>
          </a:xfrm>
        </p:grpSpPr>
        <p:sp>
          <p:nvSpPr>
            <p:cNvPr id="34140" name="Rectangle 583"/>
            <p:cNvSpPr>
              <a:spLocks noChangeArrowheads="1"/>
            </p:cNvSpPr>
            <p:nvPr/>
          </p:nvSpPr>
          <p:spPr bwMode="auto">
            <a:xfrm>
              <a:off x="345" y="2750"/>
              <a:ext cx="777" cy="177"/>
            </a:xfrm>
            <a:prstGeom prst="rect">
              <a:avLst/>
            </a:prstGeom>
            <a:solidFill>
              <a:srgbClr val="D8E0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41" name="Rectangle 584"/>
            <p:cNvSpPr>
              <a:spLocks noChangeArrowheads="1"/>
            </p:cNvSpPr>
            <p:nvPr/>
          </p:nvSpPr>
          <p:spPr bwMode="auto">
            <a:xfrm>
              <a:off x="345" y="2750"/>
              <a:ext cx="777" cy="177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41" name="Rectangle 586"/>
          <p:cNvSpPr>
            <a:spLocks noChangeArrowheads="1"/>
          </p:cNvSpPr>
          <p:nvPr/>
        </p:nvSpPr>
        <p:spPr bwMode="auto">
          <a:xfrm>
            <a:off x="2108200" y="4422775"/>
            <a:ext cx="365125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Fecamps</a:t>
            </a:r>
            <a:endParaRPr lang="de-DE">
              <a:cs typeface="ＭＳ Ｐゴシック"/>
            </a:endParaRPr>
          </a:p>
        </p:txBody>
      </p:sp>
      <p:sp>
        <p:nvSpPr>
          <p:cNvPr id="34042" name="Rectangle 587"/>
          <p:cNvSpPr>
            <a:spLocks noChangeArrowheads="1"/>
          </p:cNvSpPr>
          <p:nvPr/>
        </p:nvSpPr>
        <p:spPr bwMode="auto">
          <a:xfrm>
            <a:off x="2465388" y="4422775"/>
            <a:ext cx="104775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, F</a:t>
            </a:r>
            <a:endParaRPr lang="de-DE">
              <a:cs typeface="ＭＳ Ｐゴシック"/>
            </a:endParaRPr>
          </a:p>
        </p:txBody>
      </p:sp>
      <p:sp>
        <p:nvSpPr>
          <p:cNvPr id="34043" name="Rectangle 588"/>
          <p:cNvSpPr>
            <a:spLocks noChangeArrowheads="1"/>
          </p:cNvSpPr>
          <p:nvPr/>
        </p:nvSpPr>
        <p:spPr bwMode="auto">
          <a:xfrm>
            <a:off x="2108200" y="4516438"/>
            <a:ext cx="3921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260 MW)</a:t>
            </a:r>
            <a:endParaRPr lang="de-DE">
              <a:cs typeface="ＭＳ Ｐゴシック"/>
            </a:endParaRPr>
          </a:p>
        </p:txBody>
      </p:sp>
      <p:pic>
        <p:nvPicPr>
          <p:cNvPr id="34044" name="Picture 589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781175" y="4403725"/>
            <a:ext cx="217488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4045" name="Group 592"/>
          <p:cNvGrpSpPr>
            <a:grpSpLocks/>
          </p:cNvGrpSpPr>
          <p:nvPr/>
        </p:nvGrpSpPr>
        <p:grpSpPr bwMode="auto">
          <a:xfrm>
            <a:off x="1751013" y="4814888"/>
            <a:ext cx="1233487" cy="280987"/>
            <a:chOff x="345" y="3033"/>
            <a:chExt cx="777" cy="177"/>
          </a:xfrm>
        </p:grpSpPr>
        <p:sp>
          <p:nvSpPr>
            <p:cNvPr id="34138" name="Rectangle 590"/>
            <p:cNvSpPr>
              <a:spLocks noChangeArrowheads="1"/>
            </p:cNvSpPr>
            <p:nvPr/>
          </p:nvSpPr>
          <p:spPr bwMode="auto">
            <a:xfrm>
              <a:off x="345" y="3033"/>
              <a:ext cx="777" cy="177"/>
            </a:xfrm>
            <a:prstGeom prst="rect">
              <a:avLst/>
            </a:prstGeom>
            <a:solidFill>
              <a:srgbClr val="D8E0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39" name="Rectangle 591"/>
            <p:cNvSpPr>
              <a:spLocks noChangeArrowheads="1"/>
            </p:cNvSpPr>
            <p:nvPr/>
          </p:nvSpPr>
          <p:spPr bwMode="auto">
            <a:xfrm>
              <a:off x="345" y="3033"/>
              <a:ext cx="777" cy="177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46" name="Rectangle 593"/>
          <p:cNvSpPr>
            <a:spLocks noChangeArrowheads="1"/>
          </p:cNvSpPr>
          <p:nvPr/>
        </p:nvSpPr>
        <p:spPr bwMode="auto">
          <a:xfrm>
            <a:off x="2108200" y="4872038"/>
            <a:ext cx="75247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Projects X+Y+Z, F </a:t>
            </a:r>
            <a:endParaRPr lang="de-DE">
              <a:cs typeface="ＭＳ Ｐゴシック"/>
            </a:endParaRPr>
          </a:p>
        </p:txBody>
      </p:sp>
      <p:sp>
        <p:nvSpPr>
          <p:cNvPr id="34047" name="Rectangle 594"/>
          <p:cNvSpPr>
            <a:spLocks noChangeArrowheads="1"/>
          </p:cNvSpPr>
          <p:nvPr/>
        </p:nvSpPr>
        <p:spPr bwMode="auto">
          <a:xfrm>
            <a:off x="2108200" y="4965700"/>
            <a:ext cx="766763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450+250+750MW)</a:t>
            </a:r>
            <a:endParaRPr lang="de-DE">
              <a:cs typeface="ＭＳ Ｐゴシック"/>
            </a:endParaRPr>
          </a:p>
        </p:txBody>
      </p:sp>
      <p:pic>
        <p:nvPicPr>
          <p:cNvPr id="34048" name="Picture 595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781175" y="4854575"/>
            <a:ext cx="217488" cy="12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4049" name="Group 598"/>
          <p:cNvGrpSpPr>
            <a:grpSpLocks/>
          </p:cNvGrpSpPr>
          <p:nvPr/>
        </p:nvGrpSpPr>
        <p:grpSpPr bwMode="auto">
          <a:xfrm>
            <a:off x="1751013" y="5214938"/>
            <a:ext cx="1233487" cy="280987"/>
            <a:chOff x="345" y="3285"/>
            <a:chExt cx="777" cy="177"/>
          </a:xfrm>
        </p:grpSpPr>
        <p:sp>
          <p:nvSpPr>
            <p:cNvPr id="34136" name="Rectangle 596"/>
            <p:cNvSpPr>
              <a:spLocks noChangeArrowheads="1"/>
            </p:cNvSpPr>
            <p:nvPr/>
          </p:nvSpPr>
          <p:spPr bwMode="auto">
            <a:xfrm>
              <a:off x="345" y="3285"/>
              <a:ext cx="777" cy="177"/>
            </a:xfrm>
            <a:prstGeom prst="rect">
              <a:avLst/>
            </a:prstGeom>
            <a:solidFill>
              <a:srgbClr val="D8E0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37" name="Rectangle 597"/>
            <p:cNvSpPr>
              <a:spLocks noChangeArrowheads="1"/>
            </p:cNvSpPr>
            <p:nvPr/>
          </p:nvSpPr>
          <p:spPr bwMode="auto">
            <a:xfrm>
              <a:off x="345" y="3285"/>
              <a:ext cx="777" cy="177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50" name="Rectangle 599"/>
          <p:cNvSpPr>
            <a:spLocks noChangeArrowheads="1"/>
          </p:cNvSpPr>
          <p:nvPr/>
        </p:nvSpPr>
        <p:spPr bwMode="auto">
          <a:xfrm>
            <a:off x="2108200" y="5272088"/>
            <a:ext cx="20637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Vend</a:t>
            </a:r>
            <a:endParaRPr lang="de-DE">
              <a:cs typeface="ＭＳ Ｐゴシック"/>
            </a:endParaRPr>
          </a:p>
        </p:txBody>
      </p:sp>
      <p:sp>
        <p:nvSpPr>
          <p:cNvPr id="34051" name="Rectangle 600"/>
          <p:cNvSpPr>
            <a:spLocks noChangeArrowheads="1"/>
          </p:cNvSpPr>
          <p:nvPr/>
        </p:nvSpPr>
        <p:spPr bwMode="auto">
          <a:xfrm>
            <a:off x="2309813" y="5272088"/>
            <a:ext cx="49212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é</a:t>
            </a:r>
            <a:endParaRPr lang="de-DE">
              <a:cs typeface="ＭＳ Ｐゴシック"/>
            </a:endParaRPr>
          </a:p>
        </p:txBody>
      </p:sp>
      <p:sp>
        <p:nvSpPr>
          <p:cNvPr id="34052" name="Rectangle 601"/>
          <p:cNvSpPr>
            <a:spLocks noChangeArrowheads="1"/>
          </p:cNvSpPr>
          <p:nvPr/>
        </p:nvSpPr>
        <p:spPr bwMode="auto">
          <a:xfrm>
            <a:off x="2359025" y="5272088"/>
            <a:ext cx="492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e</a:t>
            </a:r>
            <a:endParaRPr lang="de-DE">
              <a:cs typeface="ＭＳ Ｐゴシック"/>
            </a:endParaRPr>
          </a:p>
        </p:txBody>
      </p:sp>
      <p:sp>
        <p:nvSpPr>
          <p:cNvPr id="34053" name="Rectangle 602"/>
          <p:cNvSpPr>
            <a:spLocks noChangeArrowheads="1"/>
          </p:cNvSpPr>
          <p:nvPr/>
        </p:nvSpPr>
        <p:spPr bwMode="auto">
          <a:xfrm>
            <a:off x="2408238" y="5272088"/>
            <a:ext cx="10477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, F</a:t>
            </a:r>
            <a:endParaRPr lang="de-DE">
              <a:cs typeface="ＭＳ Ｐゴシック"/>
            </a:endParaRPr>
          </a:p>
        </p:txBody>
      </p:sp>
      <p:sp>
        <p:nvSpPr>
          <p:cNvPr id="34054" name="Rectangle 603"/>
          <p:cNvSpPr>
            <a:spLocks noChangeArrowheads="1"/>
          </p:cNvSpPr>
          <p:nvPr/>
        </p:nvSpPr>
        <p:spPr bwMode="auto">
          <a:xfrm>
            <a:off x="2108200" y="5365750"/>
            <a:ext cx="366713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600MW)</a:t>
            </a:r>
            <a:endParaRPr lang="de-DE">
              <a:cs typeface="ＭＳ Ｐゴシック"/>
            </a:endParaRPr>
          </a:p>
        </p:txBody>
      </p:sp>
      <p:pic>
        <p:nvPicPr>
          <p:cNvPr id="34055" name="Picture 604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781175" y="5254625"/>
            <a:ext cx="217488" cy="12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4056" name="Group 607"/>
          <p:cNvGrpSpPr>
            <a:grpSpLocks/>
          </p:cNvGrpSpPr>
          <p:nvPr/>
        </p:nvGrpSpPr>
        <p:grpSpPr bwMode="auto">
          <a:xfrm>
            <a:off x="5873750" y="4727575"/>
            <a:ext cx="307975" cy="147638"/>
            <a:chOff x="2942" y="2978"/>
            <a:chExt cx="194" cy="93"/>
          </a:xfrm>
        </p:grpSpPr>
        <p:sp>
          <p:nvSpPr>
            <p:cNvPr id="34134" name="Freeform 605"/>
            <p:cNvSpPr>
              <a:spLocks/>
            </p:cNvSpPr>
            <p:nvPr/>
          </p:nvSpPr>
          <p:spPr bwMode="auto">
            <a:xfrm>
              <a:off x="2942" y="2978"/>
              <a:ext cx="194" cy="93"/>
            </a:xfrm>
            <a:custGeom>
              <a:avLst/>
              <a:gdLst>
                <a:gd name="T0" fmla="*/ 49 w 194"/>
                <a:gd name="T1" fmla="*/ 79 h 93"/>
                <a:gd name="T2" fmla="*/ 60 w 194"/>
                <a:gd name="T3" fmla="*/ 77 h 93"/>
                <a:gd name="T4" fmla="*/ 73 w 194"/>
                <a:gd name="T5" fmla="*/ 80 h 93"/>
                <a:gd name="T6" fmla="*/ 79 w 194"/>
                <a:gd name="T7" fmla="*/ 74 h 93"/>
                <a:gd name="T8" fmla="*/ 87 w 194"/>
                <a:gd name="T9" fmla="*/ 79 h 93"/>
                <a:gd name="T10" fmla="*/ 96 w 194"/>
                <a:gd name="T11" fmla="*/ 88 h 93"/>
                <a:gd name="T12" fmla="*/ 111 w 194"/>
                <a:gd name="T13" fmla="*/ 93 h 93"/>
                <a:gd name="T14" fmla="*/ 123 w 194"/>
                <a:gd name="T15" fmla="*/ 90 h 93"/>
                <a:gd name="T16" fmla="*/ 136 w 194"/>
                <a:gd name="T17" fmla="*/ 89 h 93"/>
                <a:gd name="T18" fmla="*/ 146 w 194"/>
                <a:gd name="T19" fmla="*/ 86 h 93"/>
                <a:gd name="T20" fmla="*/ 156 w 194"/>
                <a:gd name="T21" fmla="*/ 80 h 93"/>
                <a:gd name="T22" fmla="*/ 164 w 194"/>
                <a:gd name="T23" fmla="*/ 82 h 93"/>
                <a:gd name="T24" fmla="*/ 175 w 194"/>
                <a:gd name="T25" fmla="*/ 89 h 93"/>
                <a:gd name="T26" fmla="*/ 187 w 194"/>
                <a:gd name="T27" fmla="*/ 92 h 93"/>
                <a:gd name="T28" fmla="*/ 194 w 194"/>
                <a:gd name="T29" fmla="*/ 89 h 93"/>
                <a:gd name="T30" fmla="*/ 185 w 194"/>
                <a:gd name="T31" fmla="*/ 80 h 93"/>
                <a:gd name="T32" fmla="*/ 181 w 194"/>
                <a:gd name="T33" fmla="*/ 73 h 93"/>
                <a:gd name="T34" fmla="*/ 187 w 194"/>
                <a:gd name="T35" fmla="*/ 64 h 93"/>
                <a:gd name="T36" fmla="*/ 185 w 194"/>
                <a:gd name="T37" fmla="*/ 62 h 93"/>
                <a:gd name="T38" fmla="*/ 173 w 194"/>
                <a:gd name="T39" fmla="*/ 57 h 93"/>
                <a:gd name="T40" fmla="*/ 169 w 194"/>
                <a:gd name="T41" fmla="*/ 44 h 93"/>
                <a:gd name="T42" fmla="*/ 163 w 194"/>
                <a:gd name="T43" fmla="*/ 38 h 93"/>
                <a:gd name="T44" fmla="*/ 155 w 194"/>
                <a:gd name="T45" fmla="*/ 37 h 93"/>
                <a:gd name="T46" fmla="*/ 144 w 194"/>
                <a:gd name="T47" fmla="*/ 32 h 93"/>
                <a:gd name="T48" fmla="*/ 137 w 194"/>
                <a:gd name="T49" fmla="*/ 30 h 93"/>
                <a:gd name="T50" fmla="*/ 125 w 194"/>
                <a:gd name="T51" fmla="*/ 34 h 93"/>
                <a:gd name="T52" fmla="*/ 117 w 194"/>
                <a:gd name="T53" fmla="*/ 37 h 93"/>
                <a:gd name="T54" fmla="*/ 112 w 194"/>
                <a:gd name="T55" fmla="*/ 31 h 93"/>
                <a:gd name="T56" fmla="*/ 90 w 194"/>
                <a:gd name="T57" fmla="*/ 17 h 93"/>
                <a:gd name="T58" fmla="*/ 78 w 194"/>
                <a:gd name="T59" fmla="*/ 15 h 93"/>
                <a:gd name="T60" fmla="*/ 57 w 194"/>
                <a:gd name="T61" fmla="*/ 13 h 93"/>
                <a:gd name="T62" fmla="*/ 40 w 194"/>
                <a:gd name="T63" fmla="*/ 7 h 93"/>
                <a:gd name="T64" fmla="*/ 28 w 194"/>
                <a:gd name="T65" fmla="*/ 3 h 93"/>
                <a:gd name="T66" fmla="*/ 16 w 194"/>
                <a:gd name="T67" fmla="*/ 1 h 93"/>
                <a:gd name="T68" fmla="*/ 7 w 194"/>
                <a:gd name="T69" fmla="*/ 1 h 93"/>
                <a:gd name="T70" fmla="*/ 2 w 194"/>
                <a:gd name="T71" fmla="*/ 5 h 93"/>
                <a:gd name="T72" fmla="*/ 11 w 194"/>
                <a:gd name="T73" fmla="*/ 14 h 93"/>
                <a:gd name="T74" fmla="*/ 29 w 194"/>
                <a:gd name="T75" fmla="*/ 20 h 93"/>
                <a:gd name="T76" fmla="*/ 41 w 194"/>
                <a:gd name="T77" fmla="*/ 29 h 93"/>
                <a:gd name="T78" fmla="*/ 46 w 194"/>
                <a:gd name="T79" fmla="*/ 42 h 93"/>
                <a:gd name="T80" fmla="*/ 52 w 194"/>
                <a:gd name="T81" fmla="*/ 58 h 93"/>
                <a:gd name="T82" fmla="*/ 52 w 194"/>
                <a:gd name="T83" fmla="*/ 71 h 93"/>
                <a:gd name="T84" fmla="*/ 46 w 194"/>
                <a:gd name="T85" fmla="*/ 76 h 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94"/>
                <a:gd name="T130" fmla="*/ 0 h 93"/>
                <a:gd name="T131" fmla="*/ 194 w 194"/>
                <a:gd name="T132" fmla="*/ 93 h 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94" h="93">
                  <a:moveTo>
                    <a:pt x="46" y="76"/>
                  </a:moveTo>
                  <a:lnTo>
                    <a:pt x="49" y="79"/>
                  </a:lnTo>
                  <a:lnTo>
                    <a:pt x="53" y="79"/>
                  </a:lnTo>
                  <a:lnTo>
                    <a:pt x="60" y="77"/>
                  </a:lnTo>
                  <a:lnTo>
                    <a:pt x="70" y="80"/>
                  </a:lnTo>
                  <a:lnTo>
                    <a:pt x="73" y="80"/>
                  </a:lnTo>
                  <a:lnTo>
                    <a:pt x="76" y="76"/>
                  </a:lnTo>
                  <a:lnTo>
                    <a:pt x="79" y="74"/>
                  </a:lnTo>
                  <a:lnTo>
                    <a:pt x="83" y="76"/>
                  </a:lnTo>
                  <a:lnTo>
                    <a:pt x="87" y="79"/>
                  </a:lnTo>
                  <a:lnTo>
                    <a:pt x="93" y="88"/>
                  </a:lnTo>
                  <a:lnTo>
                    <a:pt x="96" y="88"/>
                  </a:lnTo>
                  <a:lnTo>
                    <a:pt x="100" y="93"/>
                  </a:lnTo>
                  <a:lnTo>
                    <a:pt x="111" y="93"/>
                  </a:lnTo>
                  <a:lnTo>
                    <a:pt x="115" y="90"/>
                  </a:lnTo>
                  <a:lnTo>
                    <a:pt x="123" y="90"/>
                  </a:lnTo>
                  <a:lnTo>
                    <a:pt x="127" y="88"/>
                  </a:lnTo>
                  <a:lnTo>
                    <a:pt x="136" y="89"/>
                  </a:lnTo>
                  <a:lnTo>
                    <a:pt x="140" y="88"/>
                  </a:lnTo>
                  <a:lnTo>
                    <a:pt x="146" y="86"/>
                  </a:lnTo>
                  <a:lnTo>
                    <a:pt x="148" y="85"/>
                  </a:lnTo>
                  <a:lnTo>
                    <a:pt x="156" y="80"/>
                  </a:lnTo>
                  <a:lnTo>
                    <a:pt x="160" y="81"/>
                  </a:lnTo>
                  <a:lnTo>
                    <a:pt x="164" y="82"/>
                  </a:lnTo>
                  <a:lnTo>
                    <a:pt x="167" y="85"/>
                  </a:lnTo>
                  <a:lnTo>
                    <a:pt x="175" y="89"/>
                  </a:lnTo>
                  <a:lnTo>
                    <a:pt x="179" y="88"/>
                  </a:lnTo>
                  <a:lnTo>
                    <a:pt x="187" y="92"/>
                  </a:lnTo>
                  <a:lnTo>
                    <a:pt x="192" y="92"/>
                  </a:lnTo>
                  <a:lnTo>
                    <a:pt x="194" y="89"/>
                  </a:lnTo>
                  <a:lnTo>
                    <a:pt x="192" y="85"/>
                  </a:lnTo>
                  <a:lnTo>
                    <a:pt x="185" y="80"/>
                  </a:lnTo>
                  <a:lnTo>
                    <a:pt x="184" y="76"/>
                  </a:lnTo>
                  <a:lnTo>
                    <a:pt x="181" y="73"/>
                  </a:lnTo>
                  <a:lnTo>
                    <a:pt x="181" y="69"/>
                  </a:lnTo>
                  <a:lnTo>
                    <a:pt x="187" y="64"/>
                  </a:lnTo>
                  <a:lnTo>
                    <a:pt x="188" y="64"/>
                  </a:lnTo>
                  <a:lnTo>
                    <a:pt x="185" y="62"/>
                  </a:lnTo>
                  <a:lnTo>
                    <a:pt x="181" y="59"/>
                  </a:lnTo>
                  <a:lnTo>
                    <a:pt x="173" y="57"/>
                  </a:lnTo>
                  <a:lnTo>
                    <a:pt x="167" y="52"/>
                  </a:lnTo>
                  <a:lnTo>
                    <a:pt x="169" y="44"/>
                  </a:lnTo>
                  <a:lnTo>
                    <a:pt x="167" y="40"/>
                  </a:lnTo>
                  <a:lnTo>
                    <a:pt x="163" y="38"/>
                  </a:lnTo>
                  <a:lnTo>
                    <a:pt x="159" y="38"/>
                  </a:lnTo>
                  <a:lnTo>
                    <a:pt x="155" y="37"/>
                  </a:lnTo>
                  <a:lnTo>
                    <a:pt x="153" y="34"/>
                  </a:lnTo>
                  <a:lnTo>
                    <a:pt x="144" y="32"/>
                  </a:lnTo>
                  <a:lnTo>
                    <a:pt x="140" y="33"/>
                  </a:lnTo>
                  <a:lnTo>
                    <a:pt x="137" y="30"/>
                  </a:lnTo>
                  <a:lnTo>
                    <a:pt x="133" y="30"/>
                  </a:lnTo>
                  <a:lnTo>
                    <a:pt x="125" y="34"/>
                  </a:lnTo>
                  <a:lnTo>
                    <a:pt x="122" y="36"/>
                  </a:lnTo>
                  <a:lnTo>
                    <a:pt x="117" y="37"/>
                  </a:lnTo>
                  <a:lnTo>
                    <a:pt x="113" y="35"/>
                  </a:lnTo>
                  <a:lnTo>
                    <a:pt x="112" y="31"/>
                  </a:lnTo>
                  <a:lnTo>
                    <a:pt x="92" y="20"/>
                  </a:lnTo>
                  <a:lnTo>
                    <a:pt x="90" y="17"/>
                  </a:lnTo>
                  <a:lnTo>
                    <a:pt x="86" y="15"/>
                  </a:lnTo>
                  <a:lnTo>
                    <a:pt x="78" y="15"/>
                  </a:lnTo>
                  <a:lnTo>
                    <a:pt x="69" y="12"/>
                  </a:lnTo>
                  <a:lnTo>
                    <a:pt x="57" y="13"/>
                  </a:lnTo>
                  <a:lnTo>
                    <a:pt x="52" y="12"/>
                  </a:lnTo>
                  <a:lnTo>
                    <a:pt x="40" y="7"/>
                  </a:lnTo>
                  <a:lnTo>
                    <a:pt x="31" y="6"/>
                  </a:lnTo>
                  <a:lnTo>
                    <a:pt x="28" y="3"/>
                  </a:lnTo>
                  <a:lnTo>
                    <a:pt x="21" y="1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7" y="1"/>
                  </a:lnTo>
                  <a:lnTo>
                    <a:pt x="0" y="3"/>
                  </a:lnTo>
                  <a:lnTo>
                    <a:pt x="2" y="5"/>
                  </a:lnTo>
                  <a:lnTo>
                    <a:pt x="7" y="9"/>
                  </a:lnTo>
                  <a:lnTo>
                    <a:pt x="11" y="14"/>
                  </a:lnTo>
                  <a:lnTo>
                    <a:pt x="16" y="16"/>
                  </a:lnTo>
                  <a:lnTo>
                    <a:pt x="29" y="20"/>
                  </a:lnTo>
                  <a:lnTo>
                    <a:pt x="35" y="26"/>
                  </a:lnTo>
                  <a:lnTo>
                    <a:pt x="41" y="29"/>
                  </a:lnTo>
                  <a:lnTo>
                    <a:pt x="44" y="35"/>
                  </a:lnTo>
                  <a:lnTo>
                    <a:pt x="46" y="42"/>
                  </a:lnTo>
                  <a:lnTo>
                    <a:pt x="48" y="53"/>
                  </a:lnTo>
                  <a:lnTo>
                    <a:pt x="52" y="58"/>
                  </a:lnTo>
                  <a:lnTo>
                    <a:pt x="52" y="64"/>
                  </a:lnTo>
                  <a:lnTo>
                    <a:pt x="52" y="71"/>
                  </a:lnTo>
                  <a:lnTo>
                    <a:pt x="48" y="74"/>
                  </a:lnTo>
                  <a:lnTo>
                    <a:pt x="46" y="76"/>
                  </a:lnTo>
                  <a:close/>
                </a:path>
              </a:pathLst>
            </a:custGeom>
            <a:solidFill>
              <a:srgbClr val="AFBFD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35" name="Freeform 606"/>
            <p:cNvSpPr>
              <a:spLocks/>
            </p:cNvSpPr>
            <p:nvPr/>
          </p:nvSpPr>
          <p:spPr bwMode="auto">
            <a:xfrm>
              <a:off x="2942" y="2978"/>
              <a:ext cx="194" cy="93"/>
            </a:xfrm>
            <a:custGeom>
              <a:avLst/>
              <a:gdLst>
                <a:gd name="T0" fmla="*/ 49 w 194"/>
                <a:gd name="T1" fmla="*/ 79 h 93"/>
                <a:gd name="T2" fmla="*/ 60 w 194"/>
                <a:gd name="T3" fmla="*/ 77 h 93"/>
                <a:gd name="T4" fmla="*/ 73 w 194"/>
                <a:gd name="T5" fmla="*/ 80 h 93"/>
                <a:gd name="T6" fmla="*/ 79 w 194"/>
                <a:gd name="T7" fmla="*/ 74 h 93"/>
                <a:gd name="T8" fmla="*/ 87 w 194"/>
                <a:gd name="T9" fmla="*/ 79 h 93"/>
                <a:gd name="T10" fmla="*/ 96 w 194"/>
                <a:gd name="T11" fmla="*/ 88 h 93"/>
                <a:gd name="T12" fmla="*/ 111 w 194"/>
                <a:gd name="T13" fmla="*/ 93 h 93"/>
                <a:gd name="T14" fmla="*/ 123 w 194"/>
                <a:gd name="T15" fmla="*/ 90 h 93"/>
                <a:gd name="T16" fmla="*/ 136 w 194"/>
                <a:gd name="T17" fmla="*/ 89 h 93"/>
                <a:gd name="T18" fmla="*/ 146 w 194"/>
                <a:gd name="T19" fmla="*/ 86 h 93"/>
                <a:gd name="T20" fmla="*/ 156 w 194"/>
                <a:gd name="T21" fmla="*/ 80 h 93"/>
                <a:gd name="T22" fmla="*/ 164 w 194"/>
                <a:gd name="T23" fmla="*/ 82 h 93"/>
                <a:gd name="T24" fmla="*/ 175 w 194"/>
                <a:gd name="T25" fmla="*/ 89 h 93"/>
                <a:gd name="T26" fmla="*/ 187 w 194"/>
                <a:gd name="T27" fmla="*/ 92 h 93"/>
                <a:gd name="T28" fmla="*/ 194 w 194"/>
                <a:gd name="T29" fmla="*/ 89 h 93"/>
                <a:gd name="T30" fmla="*/ 185 w 194"/>
                <a:gd name="T31" fmla="*/ 80 h 93"/>
                <a:gd name="T32" fmla="*/ 181 w 194"/>
                <a:gd name="T33" fmla="*/ 73 h 93"/>
                <a:gd name="T34" fmla="*/ 187 w 194"/>
                <a:gd name="T35" fmla="*/ 64 h 93"/>
                <a:gd name="T36" fmla="*/ 185 w 194"/>
                <a:gd name="T37" fmla="*/ 62 h 93"/>
                <a:gd name="T38" fmla="*/ 173 w 194"/>
                <a:gd name="T39" fmla="*/ 57 h 93"/>
                <a:gd name="T40" fmla="*/ 169 w 194"/>
                <a:gd name="T41" fmla="*/ 44 h 93"/>
                <a:gd name="T42" fmla="*/ 163 w 194"/>
                <a:gd name="T43" fmla="*/ 38 h 93"/>
                <a:gd name="T44" fmla="*/ 155 w 194"/>
                <a:gd name="T45" fmla="*/ 37 h 93"/>
                <a:gd name="T46" fmla="*/ 144 w 194"/>
                <a:gd name="T47" fmla="*/ 32 h 93"/>
                <a:gd name="T48" fmla="*/ 137 w 194"/>
                <a:gd name="T49" fmla="*/ 30 h 93"/>
                <a:gd name="T50" fmla="*/ 125 w 194"/>
                <a:gd name="T51" fmla="*/ 34 h 93"/>
                <a:gd name="T52" fmla="*/ 117 w 194"/>
                <a:gd name="T53" fmla="*/ 37 h 93"/>
                <a:gd name="T54" fmla="*/ 112 w 194"/>
                <a:gd name="T55" fmla="*/ 31 h 93"/>
                <a:gd name="T56" fmla="*/ 90 w 194"/>
                <a:gd name="T57" fmla="*/ 17 h 93"/>
                <a:gd name="T58" fmla="*/ 78 w 194"/>
                <a:gd name="T59" fmla="*/ 15 h 93"/>
                <a:gd name="T60" fmla="*/ 57 w 194"/>
                <a:gd name="T61" fmla="*/ 13 h 93"/>
                <a:gd name="T62" fmla="*/ 40 w 194"/>
                <a:gd name="T63" fmla="*/ 7 h 93"/>
                <a:gd name="T64" fmla="*/ 28 w 194"/>
                <a:gd name="T65" fmla="*/ 3 h 93"/>
                <a:gd name="T66" fmla="*/ 16 w 194"/>
                <a:gd name="T67" fmla="*/ 1 h 93"/>
                <a:gd name="T68" fmla="*/ 7 w 194"/>
                <a:gd name="T69" fmla="*/ 1 h 93"/>
                <a:gd name="T70" fmla="*/ 2 w 194"/>
                <a:gd name="T71" fmla="*/ 5 h 93"/>
                <a:gd name="T72" fmla="*/ 11 w 194"/>
                <a:gd name="T73" fmla="*/ 14 h 93"/>
                <a:gd name="T74" fmla="*/ 29 w 194"/>
                <a:gd name="T75" fmla="*/ 20 h 93"/>
                <a:gd name="T76" fmla="*/ 41 w 194"/>
                <a:gd name="T77" fmla="*/ 29 h 93"/>
                <a:gd name="T78" fmla="*/ 46 w 194"/>
                <a:gd name="T79" fmla="*/ 42 h 93"/>
                <a:gd name="T80" fmla="*/ 52 w 194"/>
                <a:gd name="T81" fmla="*/ 58 h 93"/>
                <a:gd name="T82" fmla="*/ 52 w 194"/>
                <a:gd name="T83" fmla="*/ 71 h 93"/>
                <a:gd name="T84" fmla="*/ 46 w 194"/>
                <a:gd name="T85" fmla="*/ 76 h 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94"/>
                <a:gd name="T130" fmla="*/ 0 h 93"/>
                <a:gd name="T131" fmla="*/ 194 w 194"/>
                <a:gd name="T132" fmla="*/ 93 h 9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94" h="93">
                  <a:moveTo>
                    <a:pt x="46" y="76"/>
                  </a:moveTo>
                  <a:lnTo>
                    <a:pt x="49" y="79"/>
                  </a:lnTo>
                  <a:lnTo>
                    <a:pt x="53" y="79"/>
                  </a:lnTo>
                  <a:lnTo>
                    <a:pt x="60" y="77"/>
                  </a:lnTo>
                  <a:lnTo>
                    <a:pt x="70" y="80"/>
                  </a:lnTo>
                  <a:lnTo>
                    <a:pt x="73" y="80"/>
                  </a:lnTo>
                  <a:lnTo>
                    <a:pt x="76" y="76"/>
                  </a:lnTo>
                  <a:lnTo>
                    <a:pt x="79" y="74"/>
                  </a:lnTo>
                  <a:lnTo>
                    <a:pt x="83" y="76"/>
                  </a:lnTo>
                  <a:lnTo>
                    <a:pt x="87" y="79"/>
                  </a:lnTo>
                  <a:lnTo>
                    <a:pt x="93" y="88"/>
                  </a:lnTo>
                  <a:lnTo>
                    <a:pt x="96" y="88"/>
                  </a:lnTo>
                  <a:lnTo>
                    <a:pt x="100" y="93"/>
                  </a:lnTo>
                  <a:lnTo>
                    <a:pt x="111" y="93"/>
                  </a:lnTo>
                  <a:lnTo>
                    <a:pt x="115" y="90"/>
                  </a:lnTo>
                  <a:lnTo>
                    <a:pt x="123" y="90"/>
                  </a:lnTo>
                  <a:lnTo>
                    <a:pt x="127" y="88"/>
                  </a:lnTo>
                  <a:lnTo>
                    <a:pt x="136" y="89"/>
                  </a:lnTo>
                  <a:lnTo>
                    <a:pt x="140" y="88"/>
                  </a:lnTo>
                  <a:lnTo>
                    <a:pt x="146" y="86"/>
                  </a:lnTo>
                  <a:lnTo>
                    <a:pt x="148" y="85"/>
                  </a:lnTo>
                  <a:lnTo>
                    <a:pt x="156" y="80"/>
                  </a:lnTo>
                  <a:lnTo>
                    <a:pt x="160" y="81"/>
                  </a:lnTo>
                  <a:lnTo>
                    <a:pt x="164" y="82"/>
                  </a:lnTo>
                  <a:lnTo>
                    <a:pt x="167" y="85"/>
                  </a:lnTo>
                  <a:lnTo>
                    <a:pt x="175" y="89"/>
                  </a:lnTo>
                  <a:lnTo>
                    <a:pt x="179" y="88"/>
                  </a:lnTo>
                  <a:lnTo>
                    <a:pt x="187" y="92"/>
                  </a:lnTo>
                  <a:lnTo>
                    <a:pt x="192" y="92"/>
                  </a:lnTo>
                  <a:lnTo>
                    <a:pt x="194" y="89"/>
                  </a:lnTo>
                  <a:lnTo>
                    <a:pt x="192" y="85"/>
                  </a:lnTo>
                  <a:lnTo>
                    <a:pt x="185" y="80"/>
                  </a:lnTo>
                  <a:lnTo>
                    <a:pt x="184" y="76"/>
                  </a:lnTo>
                  <a:lnTo>
                    <a:pt x="181" y="73"/>
                  </a:lnTo>
                  <a:lnTo>
                    <a:pt x="181" y="69"/>
                  </a:lnTo>
                  <a:lnTo>
                    <a:pt x="187" y="64"/>
                  </a:lnTo>
                  <a:lnTo>
                    <a:pt x="188" y="64"/>
                  </a:lnTo>
                  <a:lnTo>
                    <a:pt x="185" y="62"/>
                  </a:lnTo>
                  <a:lnTo>
                    <a:pt x="181" y="59"/>
                  </a:lnTo>
                  <a:lnTo>
                    <a:pt x="173" y="57"/>
                  </a:lnTo>
                  <a:lnTo>
                    <a:pt x="167" y="52"/>
                  </a:lnTo>
                  <a:lnTo>
                    <a:pt x="169" y="44"/>
                  </a:lnTo>
                  <a:lnTo>
                    <a:pt x="167" y="40"/>
                  </a:lnTo>
                  <a:lnTo>
                    <a:pt x="163" y="38"/>
                  </a:lnTo>
                  <a:lnTo>
                    <a:pt x="159" y="38"/>
                  </a:lnTo>
                  <a:lnTo>
                    <a:pt x="155" y="37"/>
                  </a:lnTo>
                  <a:lnTo>
                    <a:pt x="153" y="34"/>
                  </a:lnTo>
                  <a:lnTo>
                    <a:pt x="144" y="32"/>
                  </a:lnTo>
                  <a:lnTo>
                    <a:pt x="140" y="33"/>
                  </a:lnTo>
                  <a:lnTo>
                    <a:pt x="137" y="30"/>
                  </a:lnTo>
                  <a:lnTo>
                    <a:pt x="133" y="30"/>
                  </a:lnTo>
                  <a:lnTo>
                    <a:pt x="125" y="34"/>
                  </a:lnTo>
                  <a:lnTo>
                    <a:pt x="122" y="36"/>
                  </a:lnTo>
                  <a:lnTo>
                    <a:pt x="117" y="37"/>
                  </a:lnTo>
                  <a:lnTo>
                    <a:pt x="113" y="35"/>
                  </a:lnTo>
                  <a:lnTo>
                    <a:pt x="112" y="31"/>
                  </a:lnTo>
                  <a:lnTo>
                    <a:pt x="92" y="20"/>
                  </a:lnTo>
                  <a:lnTo>
                    <a:pt x="90" y="17"/>
                  </a:lnTo>
                  <a:lnTo>
                    <a:pt x="86" y="15"/>
                  </a:lnTo>
                  <a:lnTo>
                    <a:pt x="78" y="15"/>
                  </a:lnTo>
                  <a:lnTo>
                    <a:pt x="69" y="12"/>
                  </a:lnTo>
                  <a:lnTo>
                    <a:pt x="57" y="13"/>
                  </a:lnTo>
                  <a:lnTo>
                    <a:pt x="52" y="12"/>
                  </a:lnTo>
                  <a:lnTo>
                    <a:pt x="40" y="7"/>
                  </a:lnTo>
                  <a:lnTo>
                    <a:pt x="31" y="6"/>
                  </a:lnTo>
                  <a:lnTo>
                    <a:pt x="28" y="3"/>
                  </a:lnTo>
                  <a:lnTo>
                    <a:pt x="21" y="1"/>
                  </a:lnTo>
                  <a:lnTo>
                    <a:pt x="16" y="1"/>
                  </a:lnTo>
                  <a:lnTo>
                    <a:pt x="12" y="0"/>
                  </a:lnTo>
                  <a:lnTo>
                    <a:pt x="7" y="1"/>
                  </a:lnTo>
                  <a:lnTo>
                    <a:pt x="0" y="3"/>
                  </a:lnTo>
                  <a:lnTo>
                    <a:pt x="2" y="5"/>
                  </a:lnTo>
                  <a:lnTo>
                    <a:pt x="7" y="9"/>
                  </a:lnTo>
                  <a:lnTo>
                    <a:pt x="11" y="14"/>
                  </a:lnTo>
                  <a:lnTo>
                    <a:pt x="16" y="16"/>
                  </a:lnTo>
                  <a:lnTo>
                    <a:pt x="29" y="20"/>
                  </a:lnTo>
                  <a:lnTo>
                    <a:pt x="35" y="26"/>
                  </a:lnTo>
                  <a:lnTo>
                    <a:pt x="41" y="29"/>
                  </a:lnTo>
                  <a:lnTo>
                    <a:pt x="44" y="35"/>
                  </a:lnTo>
                  <a:lnTo>
                    <a:pt x="46" y="42"/>
                  </a:lnTo>
                  <a:lnTo>
                    <a:pt x="48" y="53"/>
                  </a:lnTo>
                  <a:lnTo>
                    <a:pt x="52" y="58"/>
                  </a:lnTo>
                  <a:lnTo>
                    <a:pt x="52" y="64"/>
                  </a:lnTo>
                  <a:lnTo>
                    <a:pt x="52" y="71"/>
                  </a:lnTo>
                  <a:lnTo>
                    <a:pt x="48" y="74"/>
                  </a:lnTo>
                  <a:lnTo>
                    <a:pt x="46" y="76"/>
                  </a:lnTo>
                  <a:close/>
                </a:path>
              </a:pathLst>
            </a:custGeom>
            <a:noFill/>
            <a:ln w="635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grpSp>
        <p:nvGrpSpPr>
          <p:cNvPr id="34057" name="Group 610"/>
          <p:cNvGrpSpPr>
            <a:grpSpLocks/>
          </p:cNvGrpSpPr>
          <p:nvPr/>
        </p:nvGrpSpPr>
        <p:grpSpPr bwMode="auto">
          <a:xfrm>
            <a:off x="6072188" y="4365625"/>
            <a:ext cx="1233487" cy="301625"/>
            <a:chOff x="3067" y="2750"/>
            <a:chExt cx="777" cy="190"/>
          </a:xfrm>
        </p:grpSpPr>
        <p:sp>
          <p:nvSpPr>
            <p:cNvPr id="34132" name="Rectangle 608"/>
            <p:cNvSpPr>
              <a:spLocks noChangeArrowheads="1"/>
            </p:cNvSpPr>
            <p:nvPr/>
          </p:nvSpPr>
          <p:spPr bwMode="auto">
            <a:xfrm>
              <a:off x="3067" y="2750"/>
              <a:ext cx="777" cy="19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33" name="Rectangle 609"/>
            <p:cNvSpPr>
              <a:spLocks noChangeArrowheads="1"/>
            </p:cNvSpPr>
            <p:nvPr/>
          </p:nvSpPr>
          <p:spPr bwMode="auto">
            <a:xfrm>
              <a:off x="3067" y="2750"/>
              <a:ext cx="777" cy="190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58" name="Rectangle 611"/>
          <p:cNvSpPr>
            <a:spLocks noChangeArrowheads="1"/>
          </p:cNvSpPr>
          <p:nvPr/>
        </p:nvSpPr>
        <p:spPr bwMode="auto">
          <a:xfrm>
            <a:off x="6430963" y="4376738"/>
            <a:ext cx="755650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Several projects in </a:t>
            </a:r>
            <a:endParaRPr lang="de-DE">
              <a:cs typeface="ＭＳ Ｐゴシック"/>
            </a:endParaRPr>
          </a:p>
        </p:txBody>
      </p:sp>
      <p:sp>
        <p:nvSpPr>
          <p:cNvPr id="34059" name="Rectangle 612"/>
          <p:cNvSpPr>
            <a:spLocks noChangeArrowheads="1"/>
          </p:cNvSpPr>
          <p:nvPr/>
        </p:nvSpPr>
        <p:spPr bwMode="auto">
          <a:xfrm>
            <a:off x="6430963" y="4470400"/>
            <a:ext cx="835025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site evaluation/ early </a:t>
            </a:r>
            <a:endParaRPr lang="de-DE">
              <a:cs typeface="ＭＳ Ｐゴシック"/>
            </a:endParaRPr>
          </a:p>
        </p:txBody>
      </p:sp>
      <p:sp>
        <p:nvSpPr>
          <p:cNvPr id="34060" name="Rectangle 613"/>
          <p:cNvSpPr>
            <a:spLocks noChangeArrowheads="1"/>
          </p:cNvSpPr>
          <p:nvPr/>
        </p:nvSpPr>
        <p:spPr bwMode="auto">
          <a:xfrm>
            <a:off x="6430963" y="4564063"/>
            <a:ext cx="750887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development stage</a:t>
            </a:r>
            <a:endParaRPr lang="de-DE">
              <a:cs typeface="ＭＳ Ｐゴシック"/>
            </a:endParaRPr>
          </a:p>
        </p:txBody>
      </p:sp>
      <p:grpSp>
        <p:nvGrpSpPr>
          <p:cNvPr id="34061" name="Group 616"/>
          <p:cNvGrpSpPr>
            <a:grpSpLocks/>
          </p:cNvGrpSpPr>
          <p:nvPr/>
        </p:nvGrpSpPr>
        <p:grpSpPr bwMode="auto">
          <a:xfrm>
            <a:off x="6097588" y="4402138"/>
            <a:ext cx="217487" cy="134937"/>
            <a:chOff x="3083" y="2773"/>
            <a:chExt cx="137" cy="85"/>
          </a:xfrm>
        </p:grpSpPr>
        <p:pic>
          <p:nvPicPr>
            <p:cNvPr id="34130" name="Picture 614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087" y="2776"/>
              <a:ext cx="131" cy="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31" name="Rectangle 615"/>
            <p:cNvSpPr>
              <a:spLocks noChangeArrowheads="1"/>
            </p:cNvSpPr>
            <p:nvPr/>
          </p:nvSpPr>
          <p:spPr bwMode="auto">
            <a:xfrm>
              <a:off x="3083" y="2773"/>
              <a:ext cx="137" cy="85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62" name="Freeform 617"/>
          <p:cNvSpPr>
            <a:spLocks/>
          </p:cNvSpPr>
          <p:nvPr/>
        </p:nvSpPr>
        <p:spPr bwMode="auto">
          <a:xfrm>
            <a:off x="2984500" y="1997075"/>
            <a:ext cx="1331913" cy="1998663"/>
          </a:xfrm>
          <a:custGeom>
            <a:avLst/>
            <a:gdLst>
              <a:gd name="T0" fmla="*/ 0 w 839"/>
              <a:gd name="T1" fmla="*/ 0 h 1259"/>
              <a:gd name="T2" fmla="*/ 112713 w 839"/>
              <a:gd name="T3" fmla="*/ 0 h 1259"/>
              <a:gd name="T4" fmla="*/ 112713 w 839"/>
              <a:gd name="T5" fmla="*/ 1998663 h 1259"/>
              <a:gd name="T6" fmla="*/ 1331913 w 839"/>
              <a:gd name="T7" fmla="*/ 1998663 h 1259"/>
              <a:gd name="T8" fmla="*/ 0 60000 65536"/>
              <a:gd name="T9" fmla="*/ 0 60000 65536"/>
              <a:gd name="T10" fmla="*/ 0 60000 65536"/>
              <a:gd name="T11" fmla="*/ 0 60000 65536"/>
              <a:gd name="T12" fmla="*/ 0 w 839"/>
              <a:gd name="T13" fmla="*/ 0 h 1259"/>
              <a:gd name="T14" fmla="*/ 839 w 839"/>
              <a:gd name="T15" fmla="*/ 1259 h 125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839" h="1259">
                <a:moveTo>
                  <a:pt x="0" y="0"/>
                </a:moveTo>
                <a:lnTo>
                  <a:pt x="71" y="0"/>
                </a:lnTo>
                <a:lnTo>
                  <a:pt x="71" y="1259"/>
                </a:lnTo>
                <a:lnTo>
                  <a:pt x="839" y="1259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sp>
        <p:nvSpPr>
          <p:cNvPr id="34063" name="Freeform 618"/>
          <p:cNvSpPr>
            <a:spLocks/>
          </p:cNvSpPr>
          <p:nvPr/>
        </p:nvSpPr>
        <p:spPr bwMode="auto">
          <a:xfrm>
            <a:off x="5149850" y="2136775"/>
            <a:ext cx="1547813" cy="768350"/>
          </a:xfrm>
          <a:custGeom>
            <a:avLst/>
            <a:gdLst>
              <a:gd name="T0" fmla="*/ 1547813 w 975"/>
              <a:gd name="T1" fmla="*/ 0 h 484"/>
              <a:gd name="T2" fmla="*/ 1547813 w 975"/>
              <a:gd name="T3" fmla="*/ 85725 h 484"/>
              <a:gd name="T4" fmla="*/ 0 w 975"/>
              <a:gd name="T5" fmla="*/ 85725 h 484"/>
              <a:gd name="T6" fmla="*/ 0 w 975"/>
              <a:gd name="T7" fmla="*/ 768350 h 484"/>
              <a:gd name="T8" fmla="*/ 0 60000 65536"/>
              <a:gd name="T9" fmla="*/ 0 60000 65536"/>
              <a:gd name="T10" fmla="*/ 0 60000 65536"/>
              <a:gd name="T11" fmla="*/ 0 60000 65536"/>
              <a:gd name="T12" fmla="*/ 0 w 975"/>
              <a:gd name="T13" fmla="*/ 0 h 484"/>
              <a:gd name="T14" fmla="*/ 975 w 975"/>
              <a:gd name="T15" fmla="*/ 484 h 48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975" h="484">
                <a:moveTo>
                  <a:pt x="975" y="0"/>
                </a:moveTo>
                <a:lnTo>
                  <a:pt x="975" y="54"/>
                </a:lnTo>
                <a:lnTo>
                  <a:pt x="0" y="54"/>
                </a:lnTo>
                <a:lnTo>
                  <a:pt x="0" y="484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grpSp>
        <p:nvGrpSpPr>
          <p:cNvPr id="34064" name="Group 621"/>
          <p:cNvGrpSpPr>
            <a:grpSpLocks/>
          </p:cNvGrpSpPr>
          <p:nvPr/>
        </p:nvGrpSpPr>
        <p:grpSpPr bwMode="auto">
          <a:xfrm>
            <a:off x="4699000" y="5210175"/>
            <a:ext cx="1233488" cy="280988"/>
            <a:chOff x="2202" y="3282"/>
            <a:chExt cx="777" cy="177"/>
          </a:xfrm>
        </p:grpSpPr>
        <p:sp>
          <p:nvSpPr>
            <p:cNvPr id="34128" name="Rectangle 619"/>
            <p:cNvSpPr>
              <a:spLocks noChangeArrowheads="1"/>
            </p:cNvSpPr>
            <p:nvPr/>
          </p:nvSpPr>
          <p:spPr bwMode="auto">
            <a:xfrm>
              <a:off x="2202" y="3282"/>
              <a:ext cx="777" cy="177"/>
            </a:xfrm>
            <a:prstGeom prst="rect">
              <a:avLst/>
            </a:prstGeom>
            <a:solidFill>
              <a:srgbClr val="D8E0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29" name="Rectangle 620"/>
            <p:cNvSpPr>
              <a:spLocks noChangeArrowheads="1"/>
            </p:cNvSpPr>
            <p:nvPr/>
          </p:nvSpPr>
          <p:spPr bwMode="auto">
            <a:xfrm>
              <a:off x="2202" y="3282"/>
              <a:ext cx="777" cy="177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65" name="Rectangle 622"/>
          <p:cNvSpPr>
            <a:spLocks noChangeArrowheads="1"/>
          </p:cNvSpPr>
          <p:nvPr/>
        </p:nvSpPr>
        <p:spPr bwMode="auto">
          <a:xfrm>
            <a:off x="5056188" y="5267325"/>
            <a:ext cx="346075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Gargano</a:t>
            </a:r>
            <a:endParaRPr lang="de-DE">
              <a:cs typeface="ＭＳ Ｐゴシック"/>
            </a:endParaRPr>
          </a:p>
        </p:txBody>
      </p:sp>
      <p:sp>
        <p:nvSpPr>
          <p:cNvPr id="34066" name="Rectangle 623"/>
          <p:cNvSpPr>
            <a:spLocks noChangeArrowheads="1"/>
          </p:cNvSpPr>
          <p:nvPr/>
        </p:nvSpPr>
        <p:spPr bwMode="auto">
          <a:xfrm>
            <a:off x="5419725" y="5267325"/>
            <a:ext cx="228600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N*, IT</a:t>
            </a:r>
            <a:endParaRPr lang="de-DE">
              <a:cs typeface="ＭＳ Ｐゴシック"/>
            </a:endParaRPr>
          </a:p>
        </p:txBody>
      </p:sp>
      <p:sp>
        <p:nvSpPr>
          <p:cNvPr id="34067" name="Rectangle 624"/>
          <p:cNvSpPr>
            <a:spLocks noChangeArrowheads="1"/>
          </p:cNvSpPr>
          <p:nvPr/>
        </p:nvSpPr>
        <p:spPr bwMode="auto">
          <a:xfrm>
            <a:off x="5056188" y="5360988"/>
            <a:ext cx="392112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680 MW)</a:t>
            </a:r>
            <a:endParaRPr lang="de-DE">
              <a:cs typeface="ＭＳ Ｐゴシック"/>
            </a:endParaRPr>
          </a:p>
        </p:txBody>
      </p:sp>
      <p:pic>
        <p:nvPicPr>
          <p:cNvPr id="34068" name="Picture 625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4724400" y="5245100"/>
            <a:ext cx="2174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4069" name="Group 628"/>
          <p:cNvGrpSpPr>
            <a:grpSpLocks/>
          </p:cNvGrpSpPr>
          <p:nvPr/>
        </p:nvGrpSpPr>
        <p:grpSpPr bwMode="auto">
          <a:xfrm>
            <a:off x="6080125" y="5210175"/>
            <a:ext cx="1233488" cy="280988"/>
            <a:chOff x="3072" y="3282"/>
            <a:chExt cx="777" cy="177"/>
          </a:xfrm>
        </p:grpSpPr>
        <p:sp>
          <p:nvSpPr>
            <p:cNvPr id="34126" name="Rectangle 626"/>
            <p:cNvSpPr>
              <a:spLocks noChangeArrowheads="1"/>
            </p:cNvSpPr>
            <p:nvPr/>
          </p:nvSpPr>
          <p:spPr bwMode="auto">
            <a:xfrm>
              <a:off x="3072" y="3282"/>
              <a:ext cx="777" cy="177"/>
            </a:xfrm>
            <a:prstGeom prst="rect">
              <a:avLst/>
            </a:prstGeom>
            <a:solidFill>
              <a:srgbClr val="D8E0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27" name="Rectangle 627"/>
            <p:cNvSpPr>
              <a:spLocks noChangeArrowheads="1"/>
            </p:cNvSpPr>
            <p:nvPr/>
          </p:nvSpPr>
          <p:spPr bwMode="auto">
            <a:xfrm>
              <a:off x="3072" y="3282"/>
              <a:ext cx="777" cy="177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70" name="Rectangle 629"/>
          <p:cNvSpPr>
            <a:spLocks noChangeArrowheads="1"/>
          </p:cNvSpPr>
          <p:nvPr/>
        </p:nvSpPr>
        <p:spPr bwMode="auto">
          <a:xfrm>
            <a:off x="6438900" y="5267325"/>
            <a:ext cx="346075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Gargano</a:t>
            </a:r>
            <a:endParaRPr lang="de-DE">
              <a:cs typeface="ＭＳ Ｐゴシック"/>
            </a:endParaRPr>
          </a:p>
        </p:txBody>
      </p:sp>
      <p:sp>
        <p:nvSpPr>
          <p:cNvPr id="34071" name="Rectangle 630"/>
          <p:cNvSpPr>
            <a:spLocks noChangeArrowheads="1"/>
          </p:cNvSpPr>
          <p:nvPr/>
        </p:nvSpPr>
        <p:spPr bwMode="auto">
          <a:xfrm>
            <a:off x="6800850" y="5267325"/>
            <a:ext cx="223838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S*, IT</a:t>
            </a:r>
            <a:endParaRPr lang="de-DE">
              <a:cs typeface="ＭＳ Ｐゴシック"/>
            </a:endParaRPr>
          </a:p>
        </p:txBody>
      </p:sp>
      <p:sp>
        <p:nvSpPr>
          <p:cNvPr id="34072" name="Rectangle 631"/>
          <p:cNvSpPr>
            <a:spLocks noChangeArrowheads="1"/>
          </p:cNvSpPr>
          <p:nvPr/>
        </p:nvSpPr>
        <p:spPr bwMode="auto">
          <a:xfrm>
            <a:off x="6438900" y="5360988"/>
            <a:ext cx="3921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(855 MW)</a:t>
            </a:r>
            <a:endParaRPr lang="de-DE">
              <a:cs typeface="ＭＳ Ｐゴシック"/>
            </a:endParaRPr>
          </a:p>
        </p:txBody>
      </p:sp>
      <p:pic>
        <p:nvPicPr>
          <p:cNvPr id="34073" name="Picture 632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6110288" y="5245100"/>
            <a:ext cx="2190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074" name="Line 633"/>
          <p:cNvSpPr>
            <a:spLocks noChangeShapeType="1"/>
          </p:cNvSpPr>
          <p:nvPr/>
        </p:nvSpPr>
        <p:spPr bwMode="auto">
          <a:xfrm>
            <a:off x="2986088" y="2397125"/>
            <a:ext cx="106362" cy="0"/>
          </a:xfrm>
          <a:prstGeom prst="line">
            <a:avLst/>
          </a:pr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34075" name="Group 637"/>
          <p:cNvGrpSpPr>
            <a:grpSpLocks/>
          </p:cNvGrpSpPr>
          <p:nvPr/>
        </p:nvGrpSpPr>
        <p:grpSpPr bwMode="auto">
          <a:xfrm>
            <a:off x="3995738" y="4267200"/>
            <a:ext cx="90487" cy="88900"/>
            <a:chOff x="1759" y="2688"/>
            <a:chExt cx="57" cy="56"/>
          </a:xfrm>
        </p:grpSpPr>
        <p:pic>
          <p:nvPicPr>
            <p:cNvPr id="34123" name="Picture 634"/>
            <p:cNvPicPr>
              <a:picLocks noChangeAspect="1" noChangeArrowheads="1"/>
            </p:cNvPicPr>
            <p:nvPr/>
          </p:nvPicPr>
          <p:blipFill>
            <a:blip r:embed="rId28" cstate="print"/>
            <a:srcRect/>
            <a:stretch>
              <a:fillRect/>
            </a:stretch>
          </p:blipFill>
          <p:spPr bwMode="auto">
            <a:xfrm>
              <a:off x="1759" y="2688"/>
              <a:ext cx="57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24" name="Picture 635"/>
            <p:cNvPicPr>
              <a:picLocks noChangeAspect="1" noChangeArrowheads="1"/>
            </p:cNvPicPr>
            <p:nvPr/>
          </p:nvPicPr>
          <p:blipFill>
            <a:blip r:embed="rId29" cstate="print"/>
            <a:srcRect/>
            <a:stretch>
              <a:fillRect/>
            </a:stretch>
          </p:blipFill>
          <p:spPr bwMode="auto">
            <a:xfrm>
              <a:off x="1759" y="2688"/>
              <a:ext cx="57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25" name="Oval 636"/>
            <p:cNvSpPr>
              <a:spLocks noChangeArrowheads="1"/>
            </p:cNvSpPr>
            <p:nvPr/>
          </p:nvSpPr>
          <p:spPr bwMode="auto">
            <a:xfrm>
              <a:off x="1760" y="2688"/>
              <a:ext cx="55" cy="55"/>
            </a:xfrm>
            <a:prstGeom prst="ellipse">
              <a:avLst/>
            </a:prstGeom>
            <a:noFill/>
            <a:ln w="9525" cap="rnd">
              <a:solidFill>
                <a:srgbClr val="3956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76" name="Freeform 638"/>
          <p:cNvSpPr>
            <a:spLocks/>
          </p:cNvSpPr>
          <p:nvPr/>
        </p:nvSpPr>
        <p:spPr bwMode="auto">
          <a:xfrm>
            <a:off x="2984500" y="4059238"/>
            <a:ext cx="1012825" cy="252412"/>
          </a:xfrm>
          <a:custGeom>
            <a:avLst/>
            <a:gdLst>
              <a:gd name="T0" fmla="*/ 0 w 638"/>
              <a:gd name="T1" fmla="*/ 0 h 159"/>
              <a:gd name="T2" fmla="*/ 504825 w 638"/>
              <a:gd name="T3" fmla="*/ 0 h 159"/>
              <a:gd name="T4" fmla="*/ 504825 w 638"/>
              <a:gd name="T5" fmla="*/ 252412 h 159"/>
              <a:gd name="T6" fmla="*/ 1012825 w 638"/>
              <a:gd name="T7" fmla="*/ 252412 h 159"/>
              <a:gd name="T8" fmla="*/ 0 60000 65536"/>
              <a:gd name="T9" fmla="*/ 0 60000 65536"/>
              <a:gd name="T10" fmla="*/ 0 60000 65536"/>
              <a:gd name="T11" fmla="*/ 0 60000 65536"/>
              <a:gd name="T12" fmla="*/ 0 w 638"/>
              <a:gd name="T13" fmla="*/ 0 h 159"/>
              <a:gd name="T14" fmla="*/ 638 w 638"/>
              <a:gd name="T15" fmla="*/ 159 h 159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38" h="159">
                <a:moveTo>
                  <a:pt x="0" y="0"/>
                </a:moveTo>
                <a:lnTo>
                  <a:pt x="318" y="0"/>
                </a:lnTo>
                <a:lnTo>
                  <a:pt x="318" y="159"/>
                </a:lnTo>
                <a:lnTo>
                  <a:pt x="638" y="159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sp>
        <p:nvSpPr>
          <p:cNvPr id="34077" name="Freeform 639"/>
          <p:cNvSpPr>
            <a:spLocks/>
          </p:cNvSpPr>
          <p:nvPr/>
        </p:nvSpPr>
        <p:spPr bwMode="auto">
          <a:xfrm>
            <a:off x="4621213" y="2805113"/>
            <a:ext cx="1470025" cy="1060450"/>
          </a:xfrm>
          <a:custGeom>
            <a:avLst/>
            <a:gdLst>
              <a:gd name="T0" fmla="*/ 1470025 w 926"/>
              <a:gd name="T1" fmla="*/ 0 h 668"/>
              <a:gd name="T2" fmla="*/ 0 w 926"/>
              <a:gd name="T3" fmla="*/ 0 h 668"/>
              <a:gd name="T4" fmla="*/ 0 w 926"/>
              <a:gd name="T5" fmla="*/ 1060450 h 668"/>
              <a:gd name="T6" fmla="*/ 0 60000 65536"/>
              <a:gd name="T7" fmla="*/ 0 60000 65536"/>
              <a:gd name="T8" fmla="*/ 0 60000 65536"/>
              <a:gd name="T9" fmla="*/ 0 w 926"/>
              <a:gd name="T10" fmla="*/ 0 h 668"/>
              <a:gd name="T11" fmla="*/ 926 w 926"/>
              <a:gd name="T12" fmla="*/ 668 h 66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26" h="668">
                <a:moveTo>
                  <a:pt x="926" y="0"/>
                </a:moveTo>
                <a:lnTo>
                  <a:pt x="0" y="0"/>
                </a:lnTo>
                <a:lnTo>
                  <a:pt x="0" y="668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grpSp>
        <p:nvGrpSpPr>
          <p:cNvPr id="34078" name="Group 643"/>
          <p:cNvGrpSpPr>
            <a:grpSpLocks/>
          </p:cNvGrpSpPr>
          <p:nvPr/>
        </p:nvGrpSpPr>
        <p:grpSpPr bwMode="auto">
          <a:xfrm>
            <a:off x="4762500" y="4764088"/>
            <a:ext cx="90488" cy="90487"/>
            <a:chOff x="2242" y="3001"/>
            <a:chExt cx="57" cy="57"/>
          </a:xfrm>
        </p:grpSpPr>
        <p:pic>
          <p:nvPicPr>
            <p:cNvPr id="34120" name="Picture 640"/>
            <p:cNvPicPr>
              <a:picLocks noChangeAspect="1" noChangeArrowheads="1"/>
            </p:cNvPicPr>
            <p:nvPr/>
          </p:nvPicPr>
          <p:blipFill>
            <a:blip r:embed="rId30" cstate="print"/>
            <a:srcRect/>
            <a:stretch>
              <a:fillRect/>
            </a:stretch>
          </p:blipFill>
          <p:spPr bwMode="auto">
            <a:xfrm>
              <a:off x="2242" y="3001"/>
              <a:ext cx="57" cy="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21" name="Picture 641"/>
            <p:cNvPicPr>
              <a:picLocks noChangeAspect="1" noChangeArrowheads="1"/>
            </p:cNvPicPr>
            <p:nvPr/>
          </p:nvPicPr>
          <p:blipFill>
            <a:blip r:embed="rId31" cstate="print"/>
            <a:srcRect/>
            <a:stretch>
              <a:fillRect/>
            </a:stretch>
          </p:blipFill>
          <p:spPr bwMode="auto">
            <a:xfrm>
              <a:off x="2242" y="3001"/>
              <a:ext cx="57" cy="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22" name="Oval 642"/>
            <p:cNvSpPr>
              <a:spLocks noChangeArrowheads="1"/>
            </p:cNvSpPr>
            <p:nvPr/>
          </p:nvSpPr>
          <p:spPr bwMode="auto">
            <a:xfrm>
              <a:off x="2243" y="3002"/>
              <a:ext cx="55" cy="55"/>
            </a:xfrm>
            <a:prstGeom prst="ellipse">
              <a:avLst/>
            </a:prstGeom>
            <a:noFill/>
            <a:ln w="9525" cap="rnd">
              <a:solidFill>
                <a:srgbClr val="3956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79" name="Line 644"/>
          <p:cNvSpPr>
            <a:spLocks noChangeShapeType="1"/>
          </p:cNvSpPr>
          <p:nvPr/>
        </p:nvSpPr>
        <p:spPr bwMode="auto">
          <a:xfrm>
            <a:off x="2987675" y="2803525"/>
            <a:ext cx="104775" cy="0"/>
          </a:xfrm>
          <a:prstGeom prst="line">
            <a:avLst/>
          </a:pr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4080" name="Line 645"/>
          <p:cNvSpPr>
            <a:spLocks noChangeShapeType="1"/>
          </p:cNvSpPr>
          <p:nvPr/>
        </p:nvSpPr>
        <p:spPr bwMode="auto">
          <a:xfrm>
            <a:off x="2989263" y="3243263"/>
            <a:ext cx="104775" cy="0"/>
          </a:xfrm>
          <a:prstGeom prst="line">
            <a:avLst/>
          </a:pr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4081" name="Line 646"/>
          <p:cNvSpPr>
            <a:spLocks noChangeShapeType="1"/>
          </p:cNvSpPr>
          <p:nvPr/>
        </p:nvSpPr>
        <p:spPr bwMode="auto">
          <a:xfrm>
            <a:off x="2990850" y="3657600"/>
            <a:ext cx="104775" cy="0"/>
          </a:xfrm>
          <a:prstGeom prst="line">
            <a:avLst/>
          </a:pr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4082" name="Freeform 647"/>
          <p:cNvSpPr>
            <a:spLocks/>
          </p:cNvSpPr>
          <p:nvPr/>
        </p:nvSpPr>
        <p:spPr bwMode="auto">
          <a:xfrm>
            <a:off x="4806950" y="4852988"/>
            <a:ext cx="509588" cy="357187"/>
          </a:xfrm>
          <a:custGeom>
            <a:avLst/>
            <a:gdLst>
              <a:gd name="T0" fmla="*/ 0 w 321"/>
              <a:gd name="T1" fmla="*/ 0 h 225"/>
              <a:gd name="T2" fmla="*/ 0 w 321"/>
              <a:gd name="T3" fmla="*/ 177800 h 225"/>
              <a:gd name="T4" fmla="*/ 509588 w 321"/>
              <a:gd name="T5" fmla="*/ 177800 h 225"/>
              <a:gd name="T6" fmla="*/ 509588 w 321"/>
              <a:gd name="T7" fmla="*/ 357187 h 225"/>
              <a:gd name="T8" fmla="*/ 0 60000 65536"/>
              <a:gd name="T9" fmla="*/ 0 60000 65536"/>
              <a:gd name="T10" fmla="*/ 0 60000 65536"/>
              <a:gd name="T11" fmla="*/ 0 60000 65536"/>
              <a:gd name="T12" fmla="*/ 0 w 321"/>
              <a:gd name="T13" fmla="*/ 0 h 225"/>
              <a:gd name="T14" fmla="*/ 321 w 321"/>
              <a:gd name="T15" fmla="*/ 225 h 225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21" h="225">
                <a:moveTo>
                  <a:pt x="0" y="0"/>
                </a:moveTo>
                <a:lnTo>
                  <a:pt x="0" y="112"/>
                </a:lnTo>
                <a:lnTo>
                  <a:pt x="321" y="112"/>
                </a:lnTo>
                <a:lnTo>
                  <a:pt x="321" y="225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sp>
        <p:nvSpPr>
          <p:cNvPr id="34083" name="Freeform 648"/>
          <p:cNvSpPr>
            <a:spLocks/>
          </p:cNvSpPr>
          <p:nvPr/>
        </p:nvSpPr>
        <p:spPr bwMode="auto">
          <a:xfrm>
            <a:off x="5321300" y="5032375"/>
            <a:ext cx="758825" cy="319088"/>
          </a:xfrm>
          <a:custGeom>
            <a:avLst/>
            <a:gdLst>
              <a:gd name="T0" fmla="*/ 0 w 478"/>
              <a:gd name="T1" fmla="*/ 0 h 201"/>
              <a:gd name="T2" fmla="*/ 688975 w 478"/>
              <a:gd name="T3" fmla="*/ 0 h 201"/>
              <a:gd name="T4" fmla="*/ 688975 w 478"/>
              <a:gd name="T5" fmla="*/ 319088 h 201"/>
              <a:gd name="T6" fmla="*/ 758825 w 478"/>
              <a:gd name="T7" fmla="*/ 319088 h 201"/>
              <a:gd name="T8" fmla="*/ 0 60000 65536"/>
              <a:gd name="T9" fmla="*/ 0 60000 65536"/>
              <a:gd name="T10" fmla="*/ 0 60000 65536"/>
              <a:gd name="T11" fmla="*/ 0 60000 65536"/>
              <a:gd name="T12" fmla="*/ 0 w 478"/>
              <a:gd name="T13" fmla="*/ 0 h 201"/>
              <a:gd name="T14" fmla="*/ 478 w 478"/>
              <a:gd name="T15" fmla="*/ 201 h 20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78" h="201">
                <a:moveTo>
                  <a:pt x="0" y="0"/>
                </a:moveTo>
                <a:lnTo>
                  <a:pt x="434" y="0"/>
                </a:lnTo>
                <a:lnTo>
                  <a:pt x="434" y="201"/>
                </a:lnTo>
                <a:lnTo>
                  <a:pt x="478" y="201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grpSp>
        <p:nvGrpSpPr>
          <p:cNvPr id="34084" name="Group 652"/>
          <p:cNvGrpSpPr>
            <a:grpSpLocks/>
          </p:cNvGrpSpPr>
          <p:nvPr/>
        </p:nvGrpSpPr>
        <p:grpSpPr bwMode="auto">
          <a:xfrm>
            <a:off x="4897438" y="3125788"/>
            <a:ext cx="88900" cy="88900"/>
            <a:chOff x="2327" y="1969"/>
            <a:chExt cx="56" cy="56"/>
          </a:xfrm>
        </p:grpSpPr>
        <p:pic>
          <p:nvPicPr>
            <p:cNvPr id="34117" name="Picture 649"/>
            <p:cNvPicPr>
              <a:picLocks noChangeAspect="1" noChangeArrowheads="1"/>
            </p:cNvPicPr>
            <p:nvPr/>
          </p:nvPicPr>
          <p:blipFill>
            <a:blip r:embed="rId32" cstate="print"/>
            <a:srcRect/>
            <a:stretch>
              <a:fillRect/>
            </a:stretch>
          </p:blipFill>
          <p:spPr bwMode="auto">
            <a:xfrm>
              <a:off x="2327" y="1969"/>
              <a:ext cx="56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18" name="Picture 650"/>
            <p:cNvPicPr>
              <a:picLocks noChangeAspect="1" noChangeArrowheads="1"/>
            </p:cNvPicPr>
            <p:nvPr/>
          </p:nvPicPr>
          <p:blipFill>
            <a:blip r:embed="rId33" cstate="print"/>
            <a:srcRect/>
            <a:stretch>
              <a:fillRect/>
            </a:stretch>
          </p:blipFill>
          <p:spPr bwMode="auto">
            <a:xfrm>
              <a:off x="2327" y="1969"/>
              <a:ext cx="56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19" name="Oval 651"/>
            <p:cNvSpPr>
              <a:spLocks noChangeArrowheads="1"/>
            </p:cNvSpPr>
            <p:nvPr/>
          </p:nvSpPr>
          <p:spPr bwMode="auto">
            <a:xfrm>
              <a:off x="2327" y="1969"/>
              <a:ext cx="55" cy="55"/>
            </a:xfrm>
            <a:prstGeom prst="ellipse">
              <a:avLst/>
            </a:prstGeom>
            <a:noFill/>
            <a:ln w="9525" cap="rnd">
              <a:solidFill>
                <a:srgbClr val="3956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85" name="Freeform 653"/>
          <p:cNvSpPr>
            <a:spLocks/>
          </p:cNvSpPr>
          <p:nvPr/>
        </p:nvSpPr>
        <p:spPr bwMode="auto">
          <a:xfrm>
            <a:off x="4941888" y="3213100"/>
            <a:ext cx="1130300" cy="1304925"/>
          </a:xfrm>
          <a:custGeom>
            <a:avLst/>
            <a:gdLst>
              <a:gd name="T0" fmla="*/ 1130300 w 712"/>
              <a:gd name="T1" fmla="*/ 1304925 h 822"/>
              <a:gd name="T2" fmla="*/ 0 w 712"/>
              <a:gd name="T3" fmla="*/ 1304925 h 822"/>
              <a:gd name="T4" fmla="*/ 0 w 712"/>
              <a:gd name="T5" fmla="*/ 0 h 822"/>
              <a:gd name="T6" fmla="*/ 0 60000 65536"/>
              <a:gd name="T7" fmla="*/ 0 60000 65536"/>
              <a:gd name="T8" fmla="*/ 0 60000 65536"/>
              <a:gd name="T9" fmla="*/ 0 w 712"/>
              <a:gd name="T10" fmla="*/ 0 h 822"/>
              <a:gd name="T11" fmla="*/ 712 w 712"/>
              <a:gd name="T12" fmla="*/ 822 h 82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12" h="822">
                <a:moveTo>
                  <a:pt x="712" y="822"/>
                </a:moveTo>
                <a:lnTo>
                  <a:pt x="0" y="822"/>
                </a:lnTo>
                <a:lnTo>
                  <a:pt x="0" y="0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sp>
        <p:nvSpPr>
          <p:cNvPr id="34086" name="Freeform 654"/>
          <p:cNvSpPr>
            <a:spLocks/>
          </p:cNvSpPr>
          <p:nvPr/>
        </p:nvSpPr>
        <p:spPr bwMode="auto">
          <a:xfrm>
            <a:off x="2984500" y="4311650"/>
            <a:ext cx="1012825" cy="195263"/>
          </a:xfrm>
          <a:custGeom>
            <a:avLst/>
            <a:gdLst>
              <a:gd name="T0" fmla="*/ 0 w 638"/>
              <a:gd name="T1" fmla="*/ 195263 h 123"/>
              <a:gd name="T2" fmla="*/ 504825 w 638"/>
              <a:gd name="T3" fmla="*/ 195263 h 123"/>
              <a:gd name="T4" fmla="*/ 504825 w 638"/>
              <a:gd name="T5" fmla="*/ 0 h 123"/>
              <a:gd name="T6" fmla="*/ 1012825 w 638"/>
              <a:gd name="T7" fmla="*/ 0 h 123"/>
              <a:gd name="T8" fmla="*/ 0 60000 65536"/>
              <a:gd name="T9" fmla="*/ 0 60000 65536"/>
              <a:gd name="T10" fmla="*/ 0 60000 65536"/>
              <a:gd name="T11" fmla="*/ 0 60000 65536"/>
              <a:gd name="T12" fmla="*/ 0 w 638"/>
              <a:gd name="T13" fmla="*/ 0 h 123"/>
              <a:gd name="T14" fmla="*/ 638 w 638"/>
              <a:gd name="T15" fmla="*/ 123 h 123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38" h="123">
                <a:moveTo>
                  <a:pt x="0" y="123"/>
                </a:moveTo>
                <a:lnTo>
                  <a:pt x="318" y="123"/>
                </a:lnTo>
                <a:lnTo>
                  <a:pt x="318" y="0"/>
                </a:lnTo>
                <a:lnTo>
                  <a:pt x="638" y="0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grpSp>
        <p:nvGrpSpPr>
          <p:cNvPr id="34087" name="Group 658"/>
          <p:cNvGrpSpPr>
            <a:grpSpLocks/>
          </p:cNvGrpSpPr>
          <p:nvPr/>
        </p:nvGrpSpPr>
        <p:grpSpPr bwMode="auto">
          <a:xfrm>
            <a:off x="3927475" y="4291013"/>
            <a:ext cx="90488" cy="88900"/>
            <a:chOff x="1716" y="2703"/>
            <a:chExt cx="57" cy="56"/>
          </a:xfrm>
        </p:grpSpPr>
        <p:pic>
          <p:nvPicPr>
            <p:cNvPr id="34114" name="Picture 655"/>
            <p:cNvPicPr>
              <a:picLocks noChangeAspect="1" noChangeArrowheads="1"/>
            </p:cNvPicPr>
            <p:nvPr/>
          </p:nvPicPr>
          <p:blipFill>
            <a:blip r:embed="rId34" cstate="print"/>
            <a:srcRect/>
            <a:stretch>
              <a:fillRect/>
            </a:stretch>
          </p:blipFill>
          <p:spPr bwMode="auto">
            <a:xfrm>
              <a:off x="1716" y="2703"/>
              <a:ext cx="57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15" name="Picture 656"/>
            <p:cNvPicPr>
              <a:picLocks noChangeAspect="1" noChangeArrowheads="1"/>
            </p:cNvPicPr>
            <p:nvPr/>
          </p:nvPicPr>
          <p:blipFill>
            <a:blip r:embed="rId35" cstate="print"/>
            <a:srcRect/>
            <a:stretch>
              <a:fillRect/>
            </a:stretch>
          </p:blipFill>
          <p:spPr bwMode="auto">
            <a:xfrm>
              <a:off x="1716" y="2703"/>
              <a:ext cx="57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16" name="Oval 657"/>
            <p:cNvSpPr>
              <a:spLocks noChangeArrowheads="1"/>
            </p:cNvSpPr>
            <p:nvPr/>
          </p:nvSpPr>
          <p:spPr bwMode="auto">
            <a:xfrm>
              <a:off x="1717" y="2704"/>
              <a:ext cx="55" cy="55"/>
            </a:xfrm>
            <a:prstGeom prst="ellipse">
              <a:avLst/>
            </a:prstGeom>
            <a:noFill/>
            <a:ln w="9525" cap="rnd">
              <a:solidFill>
                <a:srgbClr val="3956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88" name="Freeform 659"/>
          <p:cNvSpPr>
            <a:spLocks/>
          </p:cNvSpPr>
          <p:nvPr/>
        </p:nvSpPr>
        <p:spPr bwMode="auto">
          <a:xfrm>
            <a:off x="2984500" y="4335463"/>
            <a:ext cx="944563" cy="620712"/>
          </a:xfrm>
          <a:custGeom>
            <a:avLst/>
            <a:gdLst>
              <a:gd name="T0" fmla="*/ 0 w 595"/>
              <a:gd name="T1" fmla="*/ 620712 h 391"/>
              <a:gd name="T2" fmla="*/ 581025 w 595"/>
              <a:gd name="T3" fmla="*/ 620712 h 391"/>
              <a:gd name="T4" fmla="*/ 581025 w 595"/>
              <a:gd name="T5" fmla="*/ 0 h 391"/>
              <a:gd name="T6" fmla="*/ 944563 w 595"/>
              <a:gd name="T7" fmla="*/ 0 h 391"/>
              <a:gd name="T8" fmla="*/ 0 60000 65536"/>
              <a:gd name="T9" fmla="*/ 0 60000 65536"/>
              <a:gd name="T10" fmla="*/ 0 60000 65536"/>
              <a:gd name="T11" fmla="*/ 0 60000 65536"/>
              <a:gd name="T12" fmla="*/ 0 w 595"/>
              <a:gd name="T13" fmla="*/ 0 h 391"/>
              <a:gd name="T14" fmla="*/ 595 w 595"/>
              <a:gd name="T15" fmla="*/ 391 h 39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95" h="391">
                <a:moveTo>
                  <a:pt x="0" y="391"/>
                </a:moveTo>
                <a:lnTo>
                  <a:pt x="366" y="391"/>
                </a:lnTo>
                <a:lnTo>
                  <a:pt x="366" y="0"/>
                </a:lnTo>
                <a:lnTo>
                  <a:pt x="595" y="0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grpSp>
        <p:nvGrpSpPr>
          <p:cNvPr id="34089" name="Group 663"/>
          <p:cNvGrpSpPr>
            <a:grpSpLocks/>
          </p:cNvGrpSpPr>
          <p:nvPr/>
        </p:nvGrpSpPr>
        <p:grpSpPr bwMode="auto">
          <a:xfrm>
            <a:off x="3883025" y="4494213"/>
            <a:ext cx="88900" cy="88900"/>
            <a:chOff x="1688" y="2831"/>
            <a:chExt cx="56" cy="56"/>
          </a:xfrm>
        </p:grpSpPr>
        <p:pic>
          <p:nvPicPr>
            <p:cNvPr id="34111" name="Picture 660"/>
            <p:cNvPicPr>
              <a:picLocks noChangeAspect="1" noChangeArrowheads="1"/>
            </p:cNvPicPr>
            <p:nvPr/>
          </p:nvPicPr>
          <p:blipFill>
            <a:blip r:embed="rId36" cstate="print"/>
            <a:srcRect/>
            <a:stretch>
              <a:fillRect/>
            </a:stretch>
          </p:blipFill>
          <p:spPr bwMode="auto">
            <a:xfrm>
              <a:off x="1688" y="2831"/>
              <a:ext cx="56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112" name="Picture 661"/>
            <p:cNvPicPr>
              <a:picLocks noChangeAspect="1" noChangeArrowheads="1"/>
            </p:cNvPicPr>
            <p:nvPr/>
          </p:nvPicPr>
          <p:blipFill>
            <a:blip r:embed="rId37" cstate="print"/>
            <a:srcRect/>
            <a:stretch>
              <a:fillRect/>
            </a:stretch>
          </p:blipFill>
          <p:spPr bwMode="auto">
            <a:xfrm>
              <a:off x="1688" y="2831"/>
              <a:ext cx="56" cy="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113" name="Oval 662"/>
            <p:cNvSpPr>
              <a:spLocks noChangeArrowheads="1"/>
            </p:cNvSpPr>
            <p:nvPr/>
          </p:nvSpPr>
          <p:spPr bwMode="auto">
            <a:xfrm>
              <a:off x="1688" y="2831"/>
              <a:ext cx="55" cy="55"/>
            </a:xfrm>
            <a:prstGeom prst="ellipse">
              <a:avLst/>
            </a:prstGeom>
            <a:noFill/>
            <a:ln w="9525" cap="rnd">
              <a:solidFill>
                <a:srgbClr val="39569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090" name="Freeform 664"/>
          <p:cNvSpPr>
            <a:spLocks/>
          </p:cNvSpPr>
          <p:nvPr/>
        </p:nvSpPr>
        <p:spPr bwMode="auto">
          <a:xfrm>
            <a:off x="2984500" y="4537075"/>
            <a:ext cx="898525" cy="819150"/>
          </a:xfrm>
          <a:custGeom>
            <a:avLst/>
            <a:gdLst>
              <a:gd name="T0" fmla="*/ 0 w 566"/>
              <a:gd name="T1" fmla="*/ 819150 h 516"/>
              <a:gd name="T2" fmla="*/ 93662 w 566"/>
              <a:gd name="T3" fmla="*/ 819150 h 516"/>
              <a:gd name="T4" fmla="*/ 93662 w 566"/>
              <a:gd name="T5" fmla="*/ 0 h 516"/>
              <a:gd name="T6" fmla="*/ 898525 w 566"/>
              <a:gd name="T7" fmla="*/ 0 h 516"/>
              <a:gd name="T8" fmla="*/ 0 60000 65536"/>
              <a:gd name="T9" fmla="*/ 0 60000 65536"/>
              <a:gd name="T10" fmla="*/ 0 60000 65536"/>
              <a:gd name="T11" fmla="*/ 0 60000 65536"/>
              <a:gd name="T12" fmla="*/ 0 w 566"/>
              <a:gd name="T13" fmla="*/ 0 h 516"/>
              <a:gd name="T14" fmla="*/ 566 w 566"/>
              <a:gd name="T15" fmla="*/ 516 h 51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566" h="516">
                <a:moveTo>
                  <a:pt x="0" y="516"/>
                </a:moveTo>
                <a:lnTo>
                  <a:pt x="59" y="516"/>
                </a:lnTo>
                <a:lnTo>
                  <a:pt x="59" y="0"/>
                </a:lnTo>
                <a:lnTo>
                  <a:pt x="566" y="0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sp>
        <p:nvSpPr>
          <p:cNvPr id="34091" name="Freeform 665"/>
          <p:cNvSpPr>
            <a:spLocks/>
          </p:cNvSpPr>
          <p:nvPr/>
        </p:nvSpPr>
        <p:spPr bwMode="auto">
          <a:xfrm>
            <a:off x="4478338" y="2400300"/>
            <a:ext cx="142875" cy="1465263"/>
          </a:xfrm>
          <a:custGeom>
            <a:avLst/>
            <a:gdLst>
              <a:gd name="T0" fmla="*/ 142875 w 90"/>
              <a:gd name="T1" fmla="*/ 1465263 h 923"/>
              <a:gd name="T2" fmla="*/ 142875 w 90"/>
              <a:gd name="T3" fmla="*/ 0 h 923"/>
              <a:gd name="T4" fmla="*/ 0 w 90"/>
              <a:gd name="T5" fmla="*/ 0 h 923"/>
              <a:gd name="T6" fmla="*/ 0 60000 65536"/>
              <a:gd name="T7" fmla="*/ 0 60000 65536"/>
              <a:gd name="T8" fmla="*/ 0 60000 65536"/>
              <a:gd name="T9" fmla="*/ 0 w 90"/>
              <a:gd name="T10" fmla="*/ 0 h 923"/>
              <a:gd name="T11" fmla="*/ 90 w 90"/>
              <a:gd name="T12" fmla="*/ 923 h 92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90" h="923">
                <a:moveTo>
                  <a:pt x="90" y="923"/>
                </a:moveTo>
                <a:lnTo>
                  <a:pt x="90" y="0"/>
                </a:lnTo>
                <a:lnTo>
                  <a:pt x="0" y="0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sp>
        <p:nvSpPr>
          <p:cNvPr id="34092" name="Freeform 666"/>
          <p:cNvSpPr>
            <a:spLocks/>
          </p:cNvSpPr>
          <p:nvPr/>
        </p:nvSpPr>
        <p:spPr bwMode="auto">
          <a:xfrm>
            <a:off x="4478338" y="2136775"/>
            <a:ext cx="808037" cy="263525"/>
          </a:xfrm>
          <a:custGeom>
            <a:avLst/>
            <a:gdLst>
              <a:gd name="T0" fmla="*/ 808037 w 509"/>
              <a:gd name="T1" fmla="*/ 0 h 166"/>
              <a:gd name="T2" fmla="*/ 808037 w 509"/>
              <a:gd name="T3" fmla="*/ 263525 h 166"/>
              <a:gd name="T4" fmla="*/ 0 w 509"/>
              <a:gd name="T5" fmla="*/ 263525 h 166"/>
              <a:gd name="T6" fmla="*/ 0 60000 65536"/>
              <a:gd name="T7" fmla="*/ 0 60000 65536"/>
              <a:gd name="T8" fmla="*/ 0 60000 65536"/>
              <a:gd name="T9" fmla="*/ 0 w 509"/>
              <a:gd name="T10" fmla="*/ 0 h 166"/>
              <a:gd name="T11" fmla="*/ 509 w 509"/>
              <a:gd name="T12" fmla="*/ 166 h 16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09" h="166">
                <a:moveTo>
                  <a:pt x="509" y="0"/>
                </a:moveTo>
                <a:lnTo>
                  <a:pt x="509" y="166"/>
                </a:lnTo>
                <a:lnTo>
                  <a:pt x="0" y="166"/>
                </a:lnTo>
              </a:path>
            </a:pathLst>
          </a:custGeom>
          <a:noFill/>
          <a:ln w="6350" cap="rnd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de-DE">
              <a:cs typeface="ＭＳ Ｐゴシック"/>
            </a:endParaRPr>
          </a:p>
        </p:txBody>
      </p:sp>
      <p:sp>
        <p:nvSpPr>
          <p:cNvPr id="34093" name="Rectangle 667"/>
          <p:cNvSpPr>
            <a:spLocks noChangeArrowheads="1"/>
          </p:cNvSpPr>
          <p:nvPr/>
        </p:nvSpPr>
        <p:spPr bwMode="auto">
          <a:xfrm>
            <a:off x="6684963" y="6011863"/>
            <a:ext cx="6032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4D4D4D"/>
                </a:solidFill>
                <a:cs typeface="ＭＳ Ｐゴシック"/>
              </a:rPr>
              <a:t>* </a:t>
            </a:r>
            <a:endParaRPr lang="de-DE">
              <a:cs typeface="ＭＳ Ｐゴシック"/>
            </a:endParaRPr>
          </a:p>
        </p:txBody>
      </p:sp>
      <p:sp>
        <p:nvSpPr>
          <p:cNvPr id="34094" name="Rectangle 668"/>
          <p:cNvSpPr>
            <a:spLocks noChangeArrowheads="1"/>
          </p:cNvSpPr>
          <p:nvPr/>
        </p:nvSpPr>
        <p:spPr bwMode="auto">
          <a:xfrm>
            <a:off x="6767513" y="6011863"/>
            <a:ext cx="9842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4D4D4D"/>
                </a:solidFill>
                <a:cs typeface="ＭＳ Ｐゴシック"/>
              </a:rPr>
              <a:t>75</a:t>
            </a:r>
            <a:endParaRPr lang="de-DE">
              <a:cs typeface="ＭＳ Ｐゴシック"/>
            </a:endParaRPr>
          </a:p>
        </p:txBody>
      </p:sp>
      <p:sp>
        <p:nvSpPr>
          <p:cNvPr id="34095" name="Rectangle 669"/>
          <p:cNvSpPr>
            <a:spLocks noChangeArrowheads="1"/>
          </p:cNvSpPr>
          <p:nvPr/>
        </p:nvSpPr>
        <p:spPr bwMode="auto">
          <a:xfrm>
            <a:off x="6864350" y="6011863"/>
            <a:ext cx="13017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4D4D4D"/>
                </a:solidFill>
                <a:cs typeface="ＭＳ Ｐゴシック"/>
              </a:rPr>
              <a:t>%  </a:t>
            </a:r>
            <a:endParaRPr lang="de-DE">
              <a:cs typeface="ＭＳ Ｐゴシック"/>
            </a:endParaRPr>
          </a:p>
        </p:txBody>
      </p:sp>
      <p:sp>
        <p:nvSpPr>
          <p:cNvPr id="34096" name="Rectangle 670"/>
          <p:cNvSpPr>
            <a:spLocks noChangeArrowheads="1"/>
          </p:cNvSpPr>
          <p:nvPr/>
        </p:nvSpPr>
        <p:spPr bwMode="auto">
          <a:xfrm>
            <a:off x="6991350" y="6011863"/>
            <a:ext cx="260350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4D4D4D"/>
                </a:solidFill>
                <a:cs typeface="ＭＳ Ｐゴシック"/>
              </a:rPr>
              <a:t>owned</a:t>
            </a:r>
            <a:endParaRPr lang="de-DE">
              <a:cs typeface="ＭＳ Ｐゴシック"/>
            </a:endParaRPr>
          </a:p>
        </p:txBody>
      </p:sp>
      <p:sp>
        <p:nvSpPr>
          <p:cNvPr id="34097" name="Rectangle 671"/>
          <p:cNvSpPr>
            <a:spLocks noChangeArrowheads="1"/>
          </p:cNvSpPr>
          <p:nvPr/>
        </p:nvSpPr>
        <p:spPr bwMode="auto">
          <a:xfrm>
            <a:off x="6684963" y="6116638"/>
            <a:ext cx="298450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4D4D4D"/>
                </a:solidFill>
                <a:cs typeface="ＭＳ Ｐゴシック"/>
              </a:rPr>
              <a:t>** 80% </a:t>
            </a:r>
            <a:endParaRPr lang="de-DE">
              <a:cs typeface="ＭＳ Ｐゴシック"/>
            </a:endParaRPr>
          </a:p>
        </p:txBody>
      </p:sp>
      <p:sp>
        <p:nvSpPr>
          <p:cNvPr id="34098" name="Rectangle 672"/>
          <p:cNvSpPr>
            <a:spLocks noChangeArrowheads="1"/>
          </p:cNvSpPr>
          <p:nvPr/>
        </p:nvSpPr>
        <p:spPr bwMode="auto">
          <a:xfrm>
            <a:off x="7000875" y="6116638"/>
            <a:ext cx="260350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4D4D4D"/>
                </a:solidFill>
                <a:cs typeface="ＭＳ Ｐゴシック"/>
              </a:rPr>
              <a:t>owned</a:t>
            </a:r>
            <a:endParaRPr lang="de-DE">
              <a:cs typeface="ＭＳ Ｐゴシック"/>
            </a:endParaRPr>
          </a:p>
        </p:txBody>
      </p:sp>
      <p:sp>
        <p:nvSpPr>
          <p:cNvPr id="34099" name="Line 673"/>
          <p:cNvSpPr>
            <a:spLocks noChangeShapeType="1"/>
          </p:cNvSpPr>
          <p:nvPr/>
        </p:nvSpPr>
        <p:spPr bwMode="auto">
          <a:xfrm>
            <a:off x="3979863" y="2947988"/>
            <a:ext cx="0" cy="984250"/>
          </a:xfrm>
          <a:prstGeom prst="line">
            <a:avLst/>
          </a:prstGeom>
          <a:noFill/>
          <a:ln w="9525" cap="rnd">
            <a:solidFill>
              <a:srgbClr val="395691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grpSp>
        <p:nvGrpSpPr>
          <p:cNvPr id="34100" name="Group 676"/>
          <p:cNvGrpSpPr>
            <a:grpSpLocks/>
          </p:cNvGrpSpPr>
          <p:nvPr/>
        </p:nvGrpSpPr>
        <p:grpSpPr bwMode="auto">
          <a:xfrm>
            <a:off x="3240088" y="2663825"/>
            <a:ext cx="1241425" cy="303213"/>
            <a:chOff x="1283" y="1678"/>
            <a:chExt cx="782" cy="191"/>
          </a:xfrm>
        </p:grpSpPr>
        <p:sp>
          <p:nvSpPr>
            <p:cNvPr id="34109" name="Rectangle 674"/>
            <p:cNvSpPr>
              <a:spLocks noChangeArrowheads="1"/>
            </p:cNvSpPr>
            <p:nvPr/>
          </p:nvSpPr>
          <p:spPr bwMode="auto">
            <a:xfrm>
              <a:off x="1283" y="1678"/>
              <a:ext cx="782" cy="19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  <p:sp>
          <p:nvSpPr>
            <p:cNvPr id="34110" name="Rectangle 675"/>
            <p:cNvSpPr>
              <a:spLocks noChangeArrowheads="1"/>
            </p:cNvSpPr>
            <p:nvPr/>
          </p:nvSpPr>
          <p:spPr bwMode="auto">
            <a:xfrm>
              <a:off x="1283" y="1678"/>
              <a:ext cx="782" cy="191"/>
            </a:xfrm>
            <a:prstGeom prst="rect">
              <a:avLst/>
            </a:prstGeom>
            <a:noFill/>
            <a:ln w="9525" cap="rnd">
              <a:solidFill>
                <a:srgbClr val="395691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de-DE">
                <a:cs typeface="ＭＳ Ｐゴシック"/>
              </a:endParaRPr>
            </a:p>
          </p:txBody>
        </p:sp>
      </p:grpSp>
      <p:sp>
        <p:nvSpPr>
          <p:cNvPr id="34101" name="Rectangle 677"/>
          <p:cNvSpPr>
            <a:spLocks noChangeArrowheads="1"/>
          </p:cNvSpPr>
          <p:nvPr/>
        </p:nvSpPr>
        <p:spPr bwMode="auto">
          <a:xfrm>
            <a:off x="3597275" y="2720975"/>
            <a:ext cx="487363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Participation</a:t>
            </a:r>
            <a:endParaRPr lang="de-DE">
              <a:cs typeface="ＭＳ Ｐゴシック"/>
            </a:endParaRPr>
          </a:p>
        </p:txBody>
      </p:sp>
      <p:sp>
        <p:nvSpPr>
          <p:cNvPr id="34102" name="Rectangle 678"/>
          <p:cNvSpPr>
            <a:spLocks noChangeArrowheads="1"/>
          </p:cNvSpPr>
          <p:nvPr/>
        </p:nvSpPr>
        <p:spPr bwMode="auto">
          <a:xfrm>
            <a:off x="4097338" y="2720975"/>
            <a:ext cx="93662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in </a:t>
            </a:r>
            <a:endParaRPr lang="de-DE">
              <a:cs typeface="ＭＳ Ｐゴシック"/>
            </a:endParaRPr>
          </a:p>
        </p:txBody>
      </p:sp>
      <p:sp>
        <p:nvSpPr>
          <p:cNvPr id="34103" name="Rectangle 679"/>
          <p:cNvSpPr>
            <a:spLocks noChangeArrowheads="1"/>
          </p:cNvSpPr>
          <p:nvPr/>
        </p:nvSpPr>
        <p:spPr bwMode="auto">
          <a:xfrm>
            <a:off x="4192588" y="2720975"/>
            <a:ext cx="227012" cy="10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round</a:t>
            </a:r>
            <a:endParaRPr lang="de-DE">
              <a:cs typeface="ＭＳ Ｐゴシック"/>
            </a:endParaRPr>
          </a:p>
        </p:txBody>
      </p:sp>
      <p:sp>
        <p:nvSpPr>
          <p:cNvPr id="34104" name="Rectangle 680"/>
          <p:cNvSpPr>
            <a:spLocks noChangeArrowheads="1"/>
          </p:cNvSpPr>
          <p:nvPr/>
        </p:nvSpPr>
        <p:spPr bwMode="auto">
          <a:xfrm>
            <a:off x="3597275" y="2814638"/>
            <a:ext cx="7461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3 </a:t>
            </a:r>
            <a:endParaRPr lang="de-DE">
              <a:cs typeface="ＭＳ Ｐゴシック"/>
            </a:endParaRPr>
          </a:p>
        </p:txBody>
      </p:sp>
      <p:sp>
        <p:nvSpPr>
          <p:cNvPr id="34105" name="Rectangle 681"/>
          <p:cNvSpPr>
            <a:spLocks noChangeArrowheads="1"/>
          </p:cNvSpPr>
          <p:nvPr/>
        </p:nvSpPr>
        <p:spPr bwMode="auto">
          <a:xfrm>
            <a:off x="3670300" y="2814638"/>
            <a:ext cx="157163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with</a:t>
            </a:r>
            <a:endParaRPr lang="de-DE">
              <a:cs typeface="ＭＳ Ｐゴシック"/>
            </a:endParaRPr>
          </a:p>
        </p:txBody>
      </p:sp>
      <p:sp>
        <p:nvSpPr>
          <p:cNvPr id="34106" name="Rectangle 682"/>
          <p:cNvSpPr>
            <a:spLocks noChangeArrowheads="1"/>
          </p:cNvSpPr>
          <p:nvPr/>
        </p:nvSpPr>
        <p:spPr bwMode="auto">
          <a:xfrm>
            <a:off x="3848100" y="2814638"/>
            <a:ext cx="128588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JV </a:t>
            </a:r>
            <a:endParaRPr lang="de-DE">
              <a:cs typeface="ＭＳ Ｐゴシック"/>
            </a:endParaRPr>
          </a:p>
        </p:txBody>
      </p:sp>
      <p:sp>
        <p:nvSpPr>
          <p:cNvPr id="34107" name="Rectangle 683"/>
          <p:cNvSpPr>
            <a:spLocks noChangeArrowheads="1"/>
          </p:cNvSpPr>
          <p:nvPr/>
        </p:nvSpPr>
        <p:spPr bwMode="auto">
          <a:xfrm>
            <a:off x="3973513" y="2814638"/>
            <a:ext cx="282575" cy="106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de-DE" sz="700">
                <a:solidFill>
                  <a:srgbClr val="000000"/>
                </a:solidFill>
                <a:cs typeface="ＭＳ Ｐゴシック"/>
              </a:rPr>
              <a:t>partner</a:t>
            </a:r>
            <a:endParaRPr lang="de-DE">
              <a:cs typeface="ＭＳ Ｐゴシック"/>
            </a:endParaRPr>
          </a:p>
        </p:txBody>
      </p:sp>
      <p:pic>
        <p:nvPicPr>
          <p:cNvPr id="34108" name="Picture 684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3276600" y="2698750"/>
            <a:ext cx="212725" cy="125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83" name="Datumsplatzhalter 3"/>
          <p:cNvSpPr txBox="1">
            <a:spLocks/>
          </p:cNvSpPr>
          <p:nvPr/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8677A4-4130-46FA-81F7-E25A519FD343}" type="datetime1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ＭＳ Ｐゴシック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.10.2009</a:t>
            </a:fld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Right Arrow 7"/>
          <p:cNvSpPr>
            <a:spLocks noChangeArrowheads="1"/>
          </p:cNvSpPr>
          <p:nvPr/>
        </p:nvSpPr>
        <p:spPr bwMode="auto">
          <a:xfrm>
            <a:off x="169863" y="3571875"/>
            <a:ext cx="255587" cy="234950"/>
          </a:xfrm>
          <a:prstGeom prst="rightArrow">
            <a:avLst>
              <a:gd name="adj1" fmla="val 50000"/>
              <a:gd name="adj2" fmla="val 49859"/>
            </a:avLst>
          </a:prstGeom>
          <a:noFill/>
          <a:ln w="9525" algn="ctr">
            <a:noFill/>
            <a:round/>
            <a:headEnd/>
            <a:tailEnd/>
          </a:ln>
        </p:spPr>
        <p:txBody>
          <a:bodyPr/>
          <a:lstStyle/>
          <a:p>
            <a:endParaRPr lang="sv-SE">
              <a:cs typeface="ＭＳ Ｐゴシック"/>
            </a:endParaRPr>
          </a:p>
        </p:txBody>
      </p:sp>
      <p:pic>
        <p:nvPicPr>
          <p:cNvPr id="22533" name="Picture 4" descr="wp in der ostsee_klein"/>
          <p:cNvPicPr>
            <a:picLocks noGrp="1" noChangeAspect="1" noChangeArrowheads="1"/>
          </p:cNvPicPr>
          <p:nvPr>
            <p:ph type="body" idx="4294967295"/>
          </p:nvPr>
        </p:nvPicPr>
        <p:blipFill>
          <a:blip r:embed="rId3" cstate="print"/>
          <a:srcRect t="27578"/>
          <a:stretch>
            <a:fillRect/>
          </a:stretch>
        </p:blipFill>
        <p:spPr>
          <a:xfrm>
            <a:off x="4395788" y="1779588"/>
            <a:ext cx="4208462" cy="4281487"/>
          </a:xfr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3555" name="Text Box 31"/>
          <p:cNvSpPr txBox="1">
            <a:spLocks noChangeArrowheads="1"/>
          </p:cNvSpPr>
          <p:nvPr/>
        </p:nvSpPr>
        <p:spPr bwMode="auto">
          <a:xfrm>
            <a:off x="357188" y="1700213"/>
            <a:ext cx="3927475" cy="503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>
              <a:lnSpc>
                <a:spcPct val="120000"/>
              </a:lnSpc>
              <a:buClr>
                <a:srgbClr val="041A7D"/>
              </a:buClr>
              <a:buFont typeface="Wingdings" pitchFamily="2" charset="2"/>
              <a:buChar char="§"/>
            </a:pPr>
            <a:r>
              <a:rPr lang="de-DE" sz="1600">
                <a:cs typeface="ＭＳ Ｐゴシック"/>
              </a:rPr>
              <a:t>Kriegers Flak I (80 turbines)</a:t>
            </a:r>
          </a:p>
          <a:p>
            <a:pPr marL="177800" indent="-177800">
              <a:lnSpc>
                <a:spcPct val="120000"/>
              </a:lnSpc>
              <a:buClr>
                <a:srgbClr val="041A7D"/>
              </a:buClr>
              <a:buFont typeface="Wingdings" pitchFamily="2" charset="2"/>
              <a:buNone/>
            </a:pPr>
            <a:r>
              <a:rPr lang="de-DE" sz="1600" i="1">
                <a:cs typeface="ＭＳ Ｐゴシック"/>
              </a:rPr>
              <a:t>	sold to EnBW</a:t>
            </a:r>
          </a:p>
          <a:p>
            <a:pPr marL="177800" indent="-177800">
              <a:lnSpc>
                <a:spcPct val="120000"/>
              </a:lnSpc>
              <a:buClr>
                <a:srgbClr val="041A7D"/>
              </a:buClr>
              <a:buFont typeface="Wingdings" pitchFamily="2" charset="2"/>
              <a:buChar char="§"/>
            </a:pPr>
            <a:r>
              <a:rPr lang="de-DE" sz="1600">
                <a:cs typeface="ＭＳ Ｐゴシック"/>
              </a:rPr>
              <a:t>Kriegers Flak II (128 turbines)</a:t>
            </a:r>
          </a:p>
          <a:p>
            <a:pPr marL="177800" indent="-177800">
              <a:lnSpc>
                <a:spcPct val="120000"/>
              </a:lnSpc>
              <a:buClr>
                <a:srgbClr val="041A7D"/>
              </a:buClr>
              <a:buFont typeface="Wingdings" pitchFamily="2" charset="2"/>
              <a:buNone/>
            </a:pPr>
            <a:r>
              <a:rPr lang="de-DE" sz="1600">
                <a:cs typeface="ＭＳ Ｐゴシック"/>
              </a:rPr>
              <a:t>	</a:t>
            </a:r>
            <a:r>
              <a:rPr lang="de-DE" sz="1600" i="1">
                <a:cs typeface="ＭＳ Ｐゴシック"/>
              </a:rPr>
              <a:t>sold to Vattenfall</a:t>
            </a:r>
          </a:p>
          <a:p>
            <a:pPr marL="177800" indent="-177800">
              <a:lnSpc>
                <a:spcPct val="120000"/>
              </a:lnSpc>
              <a:buClr>
                <a:srgbClr val="041A7D"/>
              </a:buClr>
              <a:buFont typeface="Wingdings" pitchFamily="2" charset="2"/>
              <a:buChar char="§"/>
            </a:pPr>
            <a:r>
              <a:rPr lang="de-DE" sz="1600">
                <a:cs typeface="ＭＳ Ｐゴシック"/>
              </a:rPr>
              <a:t>Kriegers Flak III (91 turbines)</a:t>
            </a:r>
          </a:p>
          <a:p>
            <a:pPr marL="177800" indent="-177800">
              <a:lnSpc>
                <a:spcPct val="120000"/>
              </a:lnSpc>
              <a:buClr>
                <a:srgbClr val="041A7D"/>
              </a:buClr>
              <a:buFont typeface="Wingdings" pitchFamily="2" charset="2"/>
              <a:buNone/>
            </a:pPr>
            <a:r>
              <a:rPr lang="de-DE" sz="1600" i="1">
                <a:cs typeface="ＭＳ Ｐゴシック"/>
              </a:rPr>
              <a:t>	owned by wpd</a:t>
            </a:r>
          </a:p>
          <a:p>
            <a:pPr marL="177800" indent="-177800">
              <a:buClr>
                <a:srgbClr val="041A7D"/>
              </a:buClr>
              <a:buFont typeface="Wingdings" pitchFamily="2" charset="2"/>
              <a:buChar char="§"/>
            </a:pPr>
            <a:endParaRPr lang="de-DE" sz="1600">
              <a:cs typeface="ＭＳ Ｐゴシック"/>
            </a:endParaRPr>
          </a:p>
          <a:p>
            <a:pPr marL="177800" indent="-177800">
              <a:buClr>
                <a:srgbClr val="041A7D"/>
              </a:buClr>
              <a:buFont typeface="Wingdings" pitchFamily="2" charset="2"/>
              <a:buChar char="§"/>
            </a:pPr>
            <a:r>
              <a:rPr lang="de-DE" sz="1600">
                <a:cs typeface="ＭＳ Ｐゴシック"/>
              </a:rPr>
              <a:t>Total of 320 turbines (up to 1,600 MW)</a:t>
            </a:r>
          </a:p>
          <a:p>
            <a:pPr marL="177800" indent="-177800">
              <a:buClr>
                <a:srgbClr val="041A7D"/>
              </a:buClr>
              <a:buFont typeface="Wingdings" pitchFamily="2" charset="2"/>
              <a:buChar char="§"/>
            </a:pPr>
            <a:endParaRPr lang="de-DE" sz="1600">
              <a:cs typeface="ＭＳ Ｐゴシック"/>
            </a:endParaRPr>
          </a:p>
          <a:p>
            <a:pPr marL="177800" indent="-177800">
              <a:buClr>
                <a:srgbClr val="041A7D"/>
              </a:buClr>
              <a:buFont typeface="Wingdings" pitchFamily="2" charset="2"/>
              <a:buChar char="§"/>
            </a:pPr>
            <a:r>
              <a:rPr lang="de-DE" sz="1600">
                <a:cs typeface="ＭＳ Ｐゴシック"/>
              </a:rPr>
              <a:t>Developed by wpd since 2001</a:t>
            </a:r>
            <a:endParaRPr lang="sv-SE" sz="1600">
              <a:cs typeface="ＭＳ Ｐゴシック"/>
            </a:endParaRPr>
          </a:p>
          <a:p>
            <a:pPr marL="177800" indent="-177800">
              <a:buClr>
                <a:srgbClr val="041A7D"/>
              </a:buClr>
              <a:buFont typeface="Wingdings" pitchFamily="2" charset="2"/>
              <a:buChar char="§"/>
            </a:pPr>
            <a:endParaRPr lang="de-DE" sz="1600">
              <a:cs typeface="ＭＳ Ｐゴシック"/>
            </a:endParaRPr>
          </a:p>
          <a:p>
            <a:pPr marL="177800" indent="-177800">
              <a:buClr>
                <a:srgbClr val="041A7D"/>
              </a:buClr>
              <a:buFont typeface="Wingdings" pitchFamily="2" charset="2"/>
              <a:buChar char="§"/>
            </a:pPr>
            <a:r>
              <a:rPr lang="de-DE" sz="1600">
                <a:cs typeface="ＭＳ Ｐゴシック"/>
              </a:rPr>
              <a:t>Europes largest advanced project area in terms of area, turbines and capacity</a:t>
            </a:r>
          </a:p>
          <a:p>
            <a:pPr marL="177800" indent="-177800">
              <a:buClr>
                <a:srgbClr val="041A7D"/>
              </a:buClr>
              <a:buFont typeface="Wingdings" pitchFamily="2" charset="2"/>
              <a:buNone/>
            </a:pPr>
            <a:endParaRPr lang="de-DE" sz="1600">
              <a:cs typeface="ＭＳ Ｐゴシック"/>
            </a:endParaRPr>
          </a:p>
          <a:p>
            <a:pPr marL="177800" indent="-177800">
              <a:buClr>
                <a:srgbClr val="041A7D"/>
              </a:buClr>
              <a:buFont typeface="Wingdings" pitchFamily="2" charset="2"/>
              <a:buChar char="§"/>
            </a:pPr>
            <a:r>
              <a:rPr lang="de-DE" sz="1600">
                <a:cs typeface="ＭＳ Ｐゴシック"/>
              </a:rPr>
              <a:t>Area in the focus of EU: </a:t>
            </a:r>
            <a:br>
              <a:rPr lang="de-DE" sz="1600">
                <a:cs typeface="ＭＳ Ｐゴシック"/>
              </a:rPr>
            </a:br>
            <a:r>
              <a:rPr lang="de-DE" sz="1600">
                <a:cs typeface="ＭＳ Ｐゴシック"/>
              </a:rPr>
              <a:t>-Adamovitsch´s „best practice area“</a:t>
            </a:r>
            <a:br>
              <a:rPr lang="de-DE" sz="1600">
                <a:cs typeface="ＭＳ Ｐゴシック"/>
              </a:rPr>
            </a:br>
            <a:r>
              <a:rPr lang="de-DE" sz="1600">
                <a:cs typeface="ＭＳ Ｐゴシック"/>
              </a:rPr>
              <a:t>-150m € for grid connection </a:t>
            </a:r>
          </a:p>
          <a:p>
            <a:pPr marL="177800" indent="-177800">
              <a:buClr>
                <a:srgbClr val="041A7D"/>
              </a:buClr>
              <a:buFont typeface="Wingdings" pitchFamily="2" charset="2"/>
              <a:buChar char="§"/>
            </a:pPr>
            <a:endParaRPr lang="de-DE" sz="1600">
              <a:cs typeface="ＭＳ Ｐゴシック"/>
            </a:endParaRPr>
          </a:p>
          <a:p>
            <a:pPr marL="177800" indent="-177800">
              <a:buClr>
                <a:srgbClr val="041A7D"/>
              </a:buClr>
              <a:buFont typeface="Wingdings" pitchFamily="2" charset="2"/>
              <a:buChar char="§"/>
            </a:pPr>
            <a:endParaRPr lang="de-DE" sz="1600">
              <a:cs typeface="ＭＳ Ｐゴシック"/>
            </a:endParaRPr>
          </a:p>
        </p:txBody>
      </p:sp>
      <p:sp>
        <p:nvSpPr>
          <p:cNvPr id="52232" name="Text Box 8"/>
          <p:cNvSpPr txBox="1">
            <a:spLocks noChangeArrowheads="1"/>
          </p:cNvSpPr>
          <p:nvPr/>
        </p:nvSpPr>
        <p:spPr bwMode="auto">
          <a:xfrm>
            <a:off x="539750" y="981075"/>
            <a:ext cx="6335713" cy="366713"/>
          </a:xfrm>
          <a:prstGeom prst="rect">
            <a:avLst/>
          </a:prstGeom>
          <a:gradFill rotWithShape="1">
            <a:gsLst>
              <a:gs pos="0">
                <a:srgbClr val="6281C0"/>
              </a:gs>
              <a:gs pos="100000">
                <a:srgbClr val="9EB1DA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800" b="1">
                <a:solidFill>
                  <a:schemeClr val="bg1"/>
                </a:solidFill>
                <a:cs typeface="ＭＳ Ｐゴシック"/>
              </a:rPr>
              <a:t>Example: Development of Kriegers Flak Area</a:t>
            </a:r>
            <a:endParaRPr lang="de-DE" sz="1800" b="1">
              <a:solidFill>
                <a:schemeClr val="bg1"/>
              </a:solidFill>
              <a:cs typeface="ＭＳ Ｐゴシック"/>
            </a:endParaRPr>
          </a:p>
        </p:txBody>
      </p:sp>
      <p:sp>
        <p:nvSpPr>
          <p:cNvPr id="6" name="Datumsplatzhalter 3"/>
          <p:cNvSpPr txBox="1">
            <a:spLocks/>
          </p:cNvSpPr>
          <p:nvPr/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8677A4-4130-46FA-81F7-E25A519FD343}" type="datetime1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ＭＳ Ｐゴシック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.10.2009</a:t>
            </a:fld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AutoShape 9"/>
          <p:cNvSpPr>
            <a:spLocks noChangeArrowheads="1"/>
          </p:cNvSpPr>
          <p:nvPr/>
        </p:nvSpPr>
        <p:spPr bwMode="auto">
          <a:xfrm>
            <a:off x="706438" y="4138613"/>
            <a:ext cx="360362" cy="360362"/>
          </a:xfrm>
          <a:prstGeom prst="chevron">
            <a:avLst>
              <a:gd name="adj" fmla="val 25000"/>
            </a:avLst>
          </a:prstGeom>
          <a:gradFill rotWithShape="1">
            <a:gsLst>
              <a:gs pos="0">
                <a:srgbClr val="A9C8F5"/>
              </a:gs>
              <a:gs pos="100000">
                <a:srgbClr val="DDDDDD"/>
              </a:gs>
            </a:gsLst>
            <a:lin ang="2700000" scaled="1"/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180975" indent="-180975" algn="ctr" eaLnBrk="0" hangingPunct="0">
              <a:buFont typeface="Arial Unicode MS" pitchFamily="34" charset="-128"/>
              <a:buNone/>
            </a:pPr>
            <a:endParaRPr lang="en-GB" sz="1400" b="1">
              <a:cs typeface="ＭＳ Ｐゴシック"/>
            </a:endParaRPr>
          </a:p>
        </p:txBody>
      </p:sp>
      <p:sp>
        <p:nvSpPr>
          <p:cNvPr id="27661" name="Right Arrow 12"/>
          <p:cNvSpPr>
            <a:spLocks noChangeArrowheads="1"/>
          </p:cNvSpPr>
          <p:nvPr/>
        </p:nvSpPr>
        <p:spPr bwMode="auto">
          <a:xfrm>
            <a:off x="6643688" y="2857500"/>
            <a:ext cx="285750" cy="214313"/>
          </a:xfrm>
          <a:prstGeom prst="right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 eaLnBrk="0" hangingPunct="0"/>
            <a:endParaRPr lang="sv-SE">
              <a:cs typeface="ＭＳ Ｐゴシック"/>
            </a:endParaRPr>
          </a:p>
        </p:txBody>
      </p:sp>
      <p:pic>
        <p:nvPicPr>
          <p:cNvPr id="27662" name="Content Placeholder 15" descr="IMGP9596-2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72250" y="2071688"/>
            <a:ext cx="2109788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Box 16"/>
          <p:cNvSpPr txBox="1">
            <a:spLocks noChangeArrowheads="1"/>
          </p:cNvSpPr>
          <p:nvPr/>
        </p:nvSpPr>
        <p:spPr bwMode="auto">
          <a:xfrm>
            <a:off x="6500813" y="6215063"/>
            <a:ext cx="2087562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1050" i="1" dirty="0">
                <a:ea typeface="ＭＳ Ｐゴシック" pitchFamily="34" charset="-128"/>
              </a:rPr>
              <a:t>Installation of met mast  for </a:t>
            </a:r>
          </a:p>
          <a:p>
            <a:pPr>
              <a:defRPr/>
            </a:pPr>
            <a:r>
              <a:rPr lang="de-DE" sz="1050" i="1" dirty="0">
                <a:ea typeface="ＭＳ Ｐゴシック" pitchFamily="34" charset="-128"/>
              </a:rPr>
              <a:t>Storgrundet (SE), Oktober 2008</a:t>
            </a:r>
            <a:endParaRPr lang="sv-SE" sz="1050" i="1" dirty="0">
              <a:ea typeface="ＭＳ Ｐゴシック" pitchFamily="34" charset="-128"/>
            </a:endParaRPr>
          </a:p>
        </p:txBody>
      </p:sp>
      <p:sp>
        <p:nvSpPr>
          <p:cNvPr id="27664" name="Rectangle 18"/>
          <p:cNvSpPr>
            <a:spLocks noChangeArrowheads="1"/>
          </p:cNvSpPr>
          <p:nvPr/>
        </p:nvSpPr>
        <p:spPr bwMode="auto">
          <a:xfrm>
            <a:off x="1066800" y="4138613"/>
            <a:ext cx="5364163" cy="4333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180975" indent="-180975" eaLnBrk="0" hangingPunct="0">
              <a:buClr>
                <a:srgbClr val="041A7D"/>
              </a:buClr>
              <a:buFont typeface="Wingdings" pitchFamily="2" charset="2"/>
              <a:buChar char="§"/>
            </a:pPr>
            <a:r>
              <a:rPr lang="en-GB" sz="1400">
                <a:cs typeface="Times New Roman" pitchFamily="18" charset="0"/>
              </a:rPr>
              <a:t>Excellent </a:t>
            </a:r>
            <a:r>
              <a:rPr lang="en-GB" sz="1400" b="1">
                <a:cs typeface="Times New Roman" pitchFamily="18" charset="0"/>
              </a:rPr>
              <a:t>relationships with banks</a:t>
            </a:r>
          </a:p>
          <a:p>
            <a:pPr marL="180975" indent="-180975" eaLnBrk="0" hangingPunct="0">
              <a:buClr>
                <a:srgbClr val="041A7D"/>
              </a:buClr>
              <a:buFont typeface="Wingdings" pitchFamily="2" charset="2"/>
              <a:buChar char="§"/>
            </a:pPr>
            <a:r>
              <a:rPr lang="en-GB" sz="1400">
                <a:cs typeface="Times New Roman" pitchFamily="18" charset="0"/>
              </a:rPr>
              <a:t>Background: </a:t>
            </a:r>
            <a:r>
              <a:rPr lang="en-GB" sz="1400" b="1">
                <a:cs typeface="Times New Roman" pitchFamily="18" charset="0"/>
              </a:rPr>
              <a:t>term sheets negotiated for Baltic I project</a:t>
            </a:r>
          </a:p>
        </p:txBody>
      </p:sp>
      <p:sp>
        <p:nvSpPr>
          <p:cNvPr id="2" name="Rectangle 18"/>
          <p:cNvSpPr>
            <a:spLocks noChangeArrowheads="1"/>
          </p:cNvSpPr>
          <p:nvPr/>
        </p:nvSpPr>
        <p:spPr bwMode="auto">
          <a:xfrm>
            <a:off x="642938" y="2000250"/>
            <a:ext cx="5715000" cy="2000250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chemeClr val="bg1"/>
              </a:gs>
            </a:gsLst>
            <a:lin ang="2700000" scaled="1"/>
          </a:gradFill>
          <a:ln w="6350" algn="ctr">
            <a:noFill/>
            <a:miter lim="800000"/>
            <a:headEnd/>
            <a:tailEnd/>
          </a:ln>
          <a:effectLst>
            <a:outerShdw dist="107763" dir="2700000" algn="ctr" rotWithShape="0">
              <a:srgbClr val="808080">
                <a:alpha val="50000"/>
              </a:srgbClr>
            </a:outerShdw>
          </a:effectLst>
        </p:spPr>
        <p:txBody>
          <a:bodyPr lIns="72000" tIns="0" rIns="0" bIns="0" anchor="ctr"/>
          <a:lstStyle/>
          <a:p>
            <a:pPr marL="365125" indent="-182563" eaLnBrk="0" hangingPunct="0">
              <a:lnSpc>
                <a:spcPct val="120000"/>
              </a:lnSpc>
              <a:buClr>
                <a:srgbClr val="041A7D"/>
              </a:buClr>
              <a:buFont typeface="Wingdings" pitchFamily="2" charset="2"/>
              <a:buChar char="§"/>
              <a:defRPr/>
            </a:pPr>
            <a:r>
              <a:rPr lang="en-GB" sz="1400" dirty="0">
                <a:cs typeface="Times New Roman" pitchFamily="18" charset="0"/>
              </a:rPr>
              <a:t>Calculations/ financial modelling</a:t>
            </a:r>
          </a:p>
          <a:p>
            <a:pPr marL="365125" indent="-182563" eaLnBrk="0" hangingPunct="0">
              <a:lnSpc>
                <a:spcPct val="120000"/>
              </a:lnSpc>
              <a:buClr>
                <a:srgbClr val="041A7D"/>
              </a:buClr>
              <a:buFont typeface="Wingdings" pitchFamily="2" charset="2"/>
              <a:buChar char="§"/>
              <a:defRPr/>
            </a:pPr>
            <a:r>
              <a:rPr lang="en-GB" sz="1400" dirty="0">
                <a:cs typeface="Times New Roman" pitchFamily="18" charset="0"/>
              </a:rPr>
              <a:t>Business/deal structuring</a:t>
            </a:r>
          </a:p>
          <a:p>
            <a:pPr marL="365125" indent="-182563" eaLnBrk="0" hangingPunct="0">
              <a:lnSpc>
                <a:spcPct val="120000"/>
              </a:lnSpc>
              <a:buClr>
                <a:srgbClr val="041A7D"/>
              </a:buClr>
              <a:buFont typeface="Wingdings" pitchFamily="2" charset="2"/>
              <a:buChar char="§"/>
              <a:defRPr/>
            </a:pPr>
            <a:r>
              <a:rPr lang="en-GB" sz="1400" dirty="0">
                <a:cs typeface="Times New Roman" pitchFamily="18" charset="0"/>
              </a:rPr>
              <a:t>Preparation of fact books/ project presentations</a:t>
            </a:r>
          </a:p>
          <a:p>
            <a:pPr marL="365125" indent="-182563" eaLnBrk="0" hangingPunct="0">
              <a:lnSpc>
                <a:spcPct val="120000"/>
              </a:lnSpc>
              <a:buClr>
                <a:srgbClr val="041A7D"/>
              </a:buClr>
              <a:buFont typeface="Wingdings" pitchFamily="2" charset="2"/>
              <a:buChar char="§"/>
              <a:defRPr/>
            </a:pPr>
            <a:r>
              <a:rPr lang="en-GB" sz="1400" dirty="0">
                <a:cs typeface="Times New Roman" pitchFamily="18" charset="0"/>
              </a:rPr>
              <a:t>Coordination of approach of and negotiations with banks</a:t>
            </a:r>
          </a:p>
          <a:p>
            <a:pPr marL="365125" indent="-182563" eaLnBrk="0" hangingPunct="0">
              <a:lnSpc>
                <a:spcPct val="120000"/>
              </a:lnSpc>
              <a:buClr>
                <a:srgbClr val="041A7D"/>
              </a:buClr>
              <a:buFont typeface="Wingdings" pitchFamily="2" charset="2"/>
              <a:buChar char="§"/>
              <a:defRPr/>
            </a:pPr>
            <a:r>
              <a:rPr lang="en-GB" sz="1400" dirty="0">
                <a:cs typeface="Times New Roman" pitchFamily="18" charset="0"/>
              </a:rPr>
              <a:t>Syndication of debt facilities</a:t>
            </a:r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633179" y="1086854"/>
            <a:ext cx="937795" cy="468897"/>
          </a:xfrm>
          <a:prstGeom prst="rect">
            <a:avLst/>
          </a:prstGeom>
          <a:solidFill>
            <a:schemeClr val="accent3">
              <a:lumMod val="50000"/>
              <a:alpha val="50000"/>
            </a:scheme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00" b="1" dirty="0">
                <a:solidFill>
                  <a:schemeClr val="bg1"/>
                </a:solidFill>
              </a:rPr>
              <a:t>Project</a:t>
            </a:r>
          </a:p>
          <a:p>
            <a:pPr algn="ctr" eaLnBrk="0" hangingPunct="0">
              <a:defRPr/>
            </a:pPr>
            <a:r>
              <a:rPr lang="de-DE" sz="1000" b="1" dirty="0">
                <a:solidFill>
                  <a:schemeClr val="bg1"/>
                </a:solidFill>
              </a:rPr>
              <a:t>Development</a:t>
            </a:r>
          </a:p>
        </p:txBody>
      </p:sp>
      <p:sp>
        <p:nvSpPr>
          <p:cNvPr id="20" name="Rectangle 12"/>
          <p:cNvSpPr>
            <a:spLocks noChangeArrowheads="1"/>
          </p:cNvSpPr>
          <p:nvPr/>
        </p:nvSpPr>
        <p:spPr bwMode="auto">
          <a:xfrm>
            <a:off x="1663928" y="1086854"/>
            <a:ext cx="937795" cy="468897"/>
          </a:xfrm>
          <a:prstGeom prst="rect">
            <a:avLst/>
          </a:prstGeom>
          <a:solidFill>
            <a:srgbClr val="003399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000" b="1">
                <a:solidFill>
                  <a:schemeClr val="bg1"/>
                </a:solidFill>
              </a:rPr>
              <a:t>IRPP</a:t>
            </a:r>
            <a:endParaRPr lang="de-DE" sz="1000" b="1">
              <a:solidFill>
                <a:schemeClr val="bg1"/>
              </a:solidFill>
            </a:endParaRPr>
          </a:p>
        </p:txBody>
      </p:sp>
      <p:sp>
        <p:nvSpPr>
          <p:cNvPr id="22" name="Rectangle 13"/>
          <p:cNvSpPr>
            <a:spLocks noChangeArrowheads="1"/>
          </p:cNvSpPr>
          <p:nvPr/>
        </p:nvSpPr>
        <p:spPr bwMode="auto">
          <a:xfrm>
            <a:off x="2696742" y="1086854"/>
            <a:ext cx="937795" cy="468897"/>
          </a:xfrm>
          <a:prstGeom prst="rect">
            <a:avLst/>
          </a:prstGeom>
          <a:solidFill>
            <a:srgbClr val="7F7F7F">
              <a:alpha val="5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en-GB" sz="1000" b="1" dirty="0">
                <a:solidFill>
                  <a:schemeClr val="bg1"/>
                </a:solidFill>
              </a:rPr>
              <a:t>Service</a:t>
            </a:r>
            <a:endParaRPr lang="de-DE" sz="1000" b="1" dirty="0">
              <a:solidFill>
                <a:schemeClr val="bg1"/>
              </a:solidFill>
            </a:endParaRPr>
          </a:p>
        </p:txBody>
      </p:sp>
      <p:cxnSp>
        <p:nvCxnSpPr>
          <p:cNvPr id="23" name="AutoShape 17"/>
          <p:cNvCxnSpPr>
            <a:cxnSpLocks noChangeShapeType="1"/>
            <a:endCxn id="19" idx="0"/>
          </p:cNvCxnSpPr>
          <p:nvPr/>
        </p:nvCxnSpPr>
        <p:spPr bwMode="auto">
          <a:xfrm rot="5400000">
            <a:off x="2016117" y="-60602"/>
            <a:ext cx="233416" cy="2061497"/>
          </a:xfrm>
          <a:prstGeom prst="bentConnector3">
            <a:avLst>
              <a:gd name="adj1" fmla="val 49556"/>
            </a:avLst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24" name="AutoShape 18"/>
          <p:cNvCxnSpPr>
            <a:cxnSpLocks noChangeShapeType="1"/>
            <a:stCxn id="20" idx="0"/>
          </p:cNvCxnSpPr>
          <p:nvPr/>
        </p:nvCxnSpPr>
        <p:spPr bwMode="auto">
          <a:xfrm rot="16200000">
            <a:off x="2531492" y="454772"/>
            <a:ext cx="233416" cy="1030749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</p:cxnSp>
      <p:cxnSp>
        <p:nvCxnSpPr>
          <p:cNvPr id="25" name="AutoShape 22"/>
          <p:cNvCxnSpPr>
            <a:cxnSpLocks noChangeShapeType="1"/>
            <a:endCxn id="22" idx="0"/>
          </p:cNvCxnSpPr>
          <p:nvPr/>
        </p:nvCxnSpPr>
        <p:spPr bwMode="auto">
          <a:xfrm rot="16200000" flipH="1">
            <a:off x="3047899" y="969113"/>
            <a:ext cx="233416" cy="2066"/>
          </a:xfrm>
          <a:prstGeom prst="bentConnector3">
            <a:avLst>
              <a:gd name="adj1" fmla="val 49556"/>
            </a:avLst>
          </a:prstGeom>
          <a:noFill/>
          <a:ln w="6350">
            <a:solidFill>
              <a:schemeClr val="tx1"/>
            </a:solidFill>
            <a:miter lim="800000"/>
            <a:headEnd/>
            <a:tailEnd/>
          </a:ln>
        </p:spPr>
      </p:cxnSp>
      <p:sp>
        <p:nvSpPr>
          <p:cNvPr id="27" name="Rectangle 11"/>
          <p:cNvSpPr>
            <a:spLocks noChangeArrowheads="1"/>
          </p:cNvSpPr>
          <p:nvPr/>
        </p:nvSpPr>
        <p:spPr bwMode="auto">
          <a:xfrm>
            <a:off x="2714612" y="357166"/>
            <a:ext cx="928694" cy="506411"/>
          </a:xfrm>
          <a:prstGeom prst="rect">
            <a:avLst/>
          </a:prstGeom>
          <a:solidFill>
            <a:srgbClr val="7F7F7F">
              <a:alpha val="60000"/>
            </a:srgbClr>
          </a:solidFill>
          <a:ln w="9525" algn="ctr">
            <a:noFill/>
            <a:miter lim="800000"/>
            <a:headEnd/>
            <a:tailEnd/>
          </a:ln>
          <a:effectLst>
            <a:outerShdw dist="38100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/>
          <a:p>
            <a:pPr algn="ctr" eaLnBrk="0" hangingPunct="0">
              <a:defRPr/>
            </a:pPr>
            <a:r>
              <a:rPr lang="de-DE" sz="105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pd offshore</a:t>
            </a:r>
            <a:endParaRPr lang="de-DE" sz="105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Datumsplatzhalter 3"/>
          <p:cNvSpPr txBox="1">
            <a:spLocks/>
          </p:cNvSpPr>
          <p:nvPr/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E8677A4-4130-46FA-81F7-E25A519FD343}" type="datetime1">
              <a:rPr kumimoji="0" lang="de-DE" sz="1000" b="0" i="0" u="none" strike="noStrike" kern="1200" cap="none" spc="0" normalizeH="0" baseline="0" noProof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ＭＳ Ｐゴシック"/>
                <a:cs typeface="ＭＳ Ｐゴシック"/>
              </a:rPr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.10.2009</a:t>
            </a:fld>
            <a:endParaRPr kumimoji="0" lang="de-DE" sz="10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Arial" pitchFamily="34" charset="0"/>
              <a:ea typeface="ＭＳ Ｐゴシック"/>
              <a:cs typeface="ＭＳ Ｐゴシック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VMcBWfUrEUiqjLzYFwKtoA"/>
</p:tagLst>
</file>

<file path=ppt/theme/theme1.xml><?xml version="1.0" encoding="utf-8"?>
<a:theme xmlns:a="http://schemas.openxmlformats.org/drawingml/2006/main" name="Leere Präsentation">
  <a:themeElements>
    <a:clrScheme name="Leere Prä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eere Prä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ＭＳ Ｐゴシック" pitchFamily="34" charset="-128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976</Words>
  <Application>Microsoft Office PowerPoint</Application>
  <PresentationFormat>Bildspel på skärmen (4:3)</PresentationFormat>
  <Paragraphs>448</Paragraphs>
  <Slides>20</Slides>
  <Notes>2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Bildrubriker</vt:lpstr>
      </vt:variant>
      <vt:variant>
        <vt:i4>20</vt:i4>
      </vt:variant>
    </vt:vector>
  </HeadingPairs>
  <TitlesOfParts>
    <vt:vector size="21" baseType="lpstr">
      <vt:lpstr>Leere Präsentation</vt:lpstr>
      <vt:lpstr>  development – project management – procurement – construction – operation </vt:lpstr>
      <vt:lpstr> </vt:lpstr>
      <vt:lpstr>Operational wpd onshore projects Europe</vt:lpstr>
      <vt:lpstr>wpd onshore projects worldwide</vt:lpstr>
      <vt:lpstr>Bild 5</vt:lpstr>
      <vt:lpstr>Bild 6</vt:lpstr>
      <vt:lpstr>Bild 7</vt:lpstr>
      <vt:lpstr>Bild 8</vt:lpstr>
      <vt:lpstr>Bild 9</vt:lpstr>
      <vt:lpstr>Project Management</vt:lpstr>
      <vt:lpstr>Project Management</vt:lpstr>
      <vt:lpstr>Design Basis &amp; Certification</vt:lpstr>
      <vt:lpstr>Design Basis &amp; Certification</vt:lpstr>
      <vt:lpstr>Procurement &amp; Contract Management</vt:lpstr>
      <vt:lpstr>Construction Management Design &amp; Manufacturing</vt:lpstr>
      <vt:lpstr>Construction Management Quality Control</vt:lpstr>
      <vt:lpstr>Construction Management Transport &amp; Installation</vt:lpstr>
      <vt:lpstr>Operation Management</vt:lpstr>
      <vt:lpstr>The Team</vt:lpstr>
      <vt:lpstr>contact</vt:lpstr>
    </vt:vector>
  </TitlesOfParts>
  <Company>bk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es ist ein Mustertitel mit einem Musteruntertitel</dc:title>
  <dc:creator>bk</dc:creator>
  <cp:lastModifiedBy>Suzana Johansson</cp:lastModifiedBy>
  <cp:revision>190</cp:revision>
  <dcterms:created xsi:type="dcterms:W3CDTF">2007-07-10T10:32:23Z</dcterms:created>
  <dcterms:modified xsi:type="dcterms:W3CDTF">2009-10-12T13:22:40Z</dcterms:modified>
</cp:coreProperties>
</file>